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2.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3.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4.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6.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7.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8.xml" ContentType="application/vnd.openxmlformats-officedocument.theme+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9.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theme/theme10.xml" ContentType="application/vnd.openxmlformats-officedocument.theme+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07" r:id="rId2"/>
    <p:sldMasterId id="2147483754" r:id="rId3"/>
    <p:sldMasterId id="2147483801" r:id="rId4"/>
    <p:sldMasterId id="2147483847" r:id="rId5"/>
    <p:sldMasterId id="2147483858" r:id="rId6"/>
    <p:sldMasterId id="2147483908" r:id="rId7"/>
    <p:sldMasterId id="2147483915" r:id="rId8"/>
    <p:sldMasterId id="2147483960" r:id="rId9"/>
    <p:sldMasterId id="2147484010" r:id="rId10"/>
    <p:sldMasterId id="2147484057" r:id="rId11"/>
  </p:sldMasterIdLst>
  <p:notesMasterIdLst>
    <p:notesMasterId r:id="rId42"/>
  </p:notesMasterIdLst>
  <p:sldIdLst>
    <p:sldId id="2147473305" r:id="rId12"/>
    <p:sldId id="264" r:id="rId13"/>
    <p:sldId id="2147483588" r:id="rId14"/>
    <p:sldId id="2147482422" r:id="rId15"/>
    <p:sldId id="2147483597" r:id="rId16"/>
    <p:sldId id="2147483598" r:id="rId17"/>
    <p:sldId id="2147479775" r:id="rId18"/>
    <p:sldId id="2147482842" r:id="rId19"/>
    <p:sldId id="258" r:id="rId20"/>
    <p:sldId id="2147483647" r:id="rId21"/>
    <p:sldId id="2147482864" r:id="rId22"/>
    <p:sldId id="2147483605" r:id="rId23"/>
    <p:sldId id="2147470113" r:id="rId24"/>
    <p:sldId id="2147473221" r:id="rId25"/>
    <p:sldId id="2147483603" r:id="rId26"/>
    <p:sldId id="2147483576" r:id="rId27"/>
    <p:sldId id="2147483601" r:id="rId28"/>
    <p:sldId id="2147483604" r:id="rId29"/>
    <p:sldId id="256" r:id="rId30"/>
    <p:sldId id="257" r:id="rId31"/>
    <p:sldId id="260" r:id="rId32"/>
    <p:sldId id="2142532867" r:id="rId33"/>
    <p:sldId id="2147483609" r:id="rId34"/>
    <p:sldId id="2147482892" r:id="rId35"/>
    <p:sldId id="2147482887" r:id="rId36"/>
    <p:sldId id="263" r:id="rId37"/>
    <p:sldId id="270" r:id="rId38"/>
    <p:sldId id="2147473116" r:id="rId39"/>
    <p:sldId id="271" r:id="rId40"/>
    <p:sldId id="259"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10"/>
    <p:restoredTop sz="95728"/>
  </p:normalViewPr>
  <p:slideViewPr>
    <p:cSldViewPr snapToGrid="0">
      <p:cViewPr varScale="1">
        <p:scale>
          <a:sx n="109" d="100"/>
          <a:sy n="109" d="100"/>
        </p:scale>
        <p:origin x="680"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notesMaster" Target="notesMasters/notesMaster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presProps" Target="presProp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tableStyles" Target="tableStyles.xml"/><Relationship Id="rId20" Type="http://schemas.openxmlformats.org/officeDocument/2006/relationships/slide" Target="slides/slide9.xml"/><Relationship Id="rId41" Type="http://schemas.openxmlformats.org/officeDocument/2006/relationships/slide" Target="slides/slide3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rgbClr val="002D9C"/>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0F99-064E-8DA4-BAD7DF70CCBA}"/>
              </c:ext>
            </c:extLst>
          </c:dPt>
          <c:dPt>
            <c:idx val="1"/>
            <c:bubble3D val="0"/>
            <c:spPr>
              <a:solidFill>
                <a:srgbClr val="0F62FE"/>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0F99-064E-8DA4-BAD7DF70CCBA}"/>
              </c:ext>
            </c:extLst>
          </c:dPt>
          <c:dLbls>
            <c:delete val="1"/>
          </c:dLbls>
          <c:cat>
            <c:strRef>
              <c:f>Sheet1!$A$2:$A$3</c:f>
              <c:strCache>
                <c:ptCount val="2"/>
                <c:pt idx="0">
                  <c:v>Automation</c:v>
                </c:pt>
                <c:pt idx="1">
                  <c:v>AI</c:v>
                </c:pt>
              </c:strCache>
            </c:strRef>
          </c:cat>
          <c:val>
            <c:numRef>
              <c:f>Sheet1!$B$2:$B$3</c:f>
              <c:numCache>
                <c:formatCode>0%</c:formatCode>
                <c:ptCount val="2"/>
                <c:pt idx="0">
                  <c:v>0.25</c:v>
                </c:pt>
                <c:pt idx="1">
                  <c:v>0.75</c:v>
                </c:pt>
              </c:numCache>
            </c:numRef>
          </c:val>
          <c:extLst>
            <c:ext xmlns:c16="http://schemas.microsoft.com/office/drawing/2014/chart" uri="{C3380CC4-5D6E-409C-BE32-E72D297353CC}">
              <c16:uniqueId val="{00000004-0F99-064E-8DA4-BAD7DF70CCBA}"/>
            </c:ext>
          </c:extLst>
        </c:ser>
        <c:dLbls>
          <c:dLblPos val="outEnd"/>
          <c:showLegendKey val="0"/>
          <c:showVal val="0"/>
          <c:showCatName val="1"/>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rgbClr val="002D9C"/>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BDB7-5E41-B2C5-F17C6FCA3C65}"/>
              </c:ext>
            </c:extLst>
          </c:dPt>
          <c:dPt>
            <c:idx val="1"/>
            <c:bubble3D val="0"/>
            <c:spPr>
              <a:solidFill>
                <a:srgbClr val="0F62FE"/>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BDB7-5E41-B2C5-F17C6FCA3C65}"/>
              </c:ext>
            </c:extLst>
          </c:dPt>
          <c:dLbls>
            <c:delete val="1"/>
          </c:dLbls>
          <c:cat>
            <c:strRef>
              <c:f>Sheet1!$A$2:$A$3</c:f>
              <c:strCache>
                <c:ptCount val="2"/>
                <c:pt idx="0">
                  <c:v>Automation</c:v>
                </c:pt>
                <c:pt idx="1">
                  <c:v>AI</c:v>
                </c:pt>
              </c:strCache>
            </c:strRef>
          </c:cat>
          <c:val>
            <c:numRef>
              <c:f>Sheet1!$B$2:$B$3</c:f>
              <c:numCache>
                <c:formatCode>_-[$$-409]* #,##0.00_ ;_-[$$-409]* \-#,##0.00\ ;_-[$$-409]* "-"??_ ;_-@_ </c:formatCode>
                <c:ptCount val="2"/>
                <c:pt idx="0">
                  <c:v>500</c:v>
                </c:pt>
                <c:pt idx="1">
                  <c:v>500</c:v>
                </c:pt>
              </c:numCache>
            </c:numRef>
          </c:val>
          <c:extLst>
            <c:ext xmlns:c16="http://schemas.microsoft.com/office/drawing/2014/chart" uri="{C3380CC4-5D6E-409C-BE32-E72D297353CC}">
              <c16:uniqueId val="{00000004-BDB7-5E41-B2C5-F17C6FCA3C65}"/>
            </c:ext>
          </c:extLst>
        </c:ser>
        <c:dLbls>
          <c:dLblPos val="outEnd"/>
          <c:showLegendKey val="0"/>
          <c:showVal val="0"/>
          <c:showCatName val="1"/>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759756-7F7C-904E-8C00-4AEAE9255812}" type="datetimeFigureOut">
              <a:rPr lang="en-US" smtClean="0"/>
              <a:t>9/5/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D6E746-1DA0-314E-BE5C-7BC0098C8A85}" type="slidenum">
              <a:rPr lang="en-US" smtClean="0"/>
              <a:t>‹#›</a:t>
            </a:fld>
            <a:endParaRPr lang="en-US"/>
          </a:p>
        </p:txBody>
      </p:sp>
    </p:spTree>
    <p:extLst>
      <p:ext uri="{BB962C8B-B14F-4D97-AF65-F5344CB8AC3E}">
        <p14:creationId xmlns:p14="http://schemas.microsoft.com/office/powerpoint/2010/main" val="14984908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l" defTabSz="1829379" rtl="0" eaLnBrk="1" fontAlgn="auto" latinLnBrk="0" hangingPunct="1">
                <a:lnSpc>
                  <a:spcPct val="100000"/>
                </a:lnSpc>
                <a:spcBef>
                  <a:spcPts val="0"/>
                </a:spcBef>
                <a:spcAft>
                  <a:spcPts val="0"/>
                </a:spcAft>
                <a:buClrTx/>
                <a:buSzTx/>
                <a:buFontTx/>
                <a:buNone/>
                <a:tabLst/>
                <a:defRPr/>
              </a:pPr>
              <a:t>1</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Group Name / DOC ID / Month XX, 2022 / © 2022 IBM Corporation</a:t>
            </a:r>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23850905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cs typeface="Calibri"/>
            </a:endParaRPr>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Espaço Reservado para Rodapé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Group Name / DOC ID / Month XX, 2022 / © 2022 IBM Corporation</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1281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err="1">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5BD597-0967-4639-A3E6-9BED528FDF6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04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cs typeface="Calibri"/>
            </a:endParaRPr>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Espaço Reservado para Rodapé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Group Name / DOC ID / Month XX, 2022 / © 2022 IBM Corporation</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76580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indent="0">
              <a:buFont typeface="+mj-lt"/>
              <a:buNone/>
            </a:pPr>
            <a:r>
              <a:rPr lang="en-US" dirty="0"/>
              <a:t>In these 1-sliders, we start to brainstorm the differentiating capabilities for each use case, it’s really tied to the prebuilt skills and apps</a:t>
            </a:r>
          </a:p>
          <a:p>
            <a:pPr marL="228600" indent="-228600">
              <a:buFont typeface="+mj-lt"/>
              <a:buAutoNum type="arabicPeriod"/>
            </a:pPr>
            <a:endParaRPr lang="en-US" dirty="0"/>
          </a:p>
          <a:p>
            <a:pPr marL="0" indent="0">
              <a:buFont typeface="+mj-lt"/>
              <a:buNone/>
            </a:pPr>
            <a:r>
              <a:rPr lang="en-US" dirty="0"/>
              <a:t>The team is actually working on this concept of </a:t>
            </a:r>
            <a:r>
              <a:rPr lang="en-US" b="1" dirty="0"/>
              <a:t>use case templates using prebuilt skills</a:t>
            </a:r>
            <a:r>
              <a:rPr lang="en-US" dirty="0"/>
              <a:t>. So, for example, in the TA use case, creating a job req is one use case, scheduling interviews is another, generating a job offer is another. </a:t>
            </a:r>
            <a:r>
              <a:rPr lang="en-US" dirty="0">
                <a:sym typeface="Wingdings" pitchFamily="2" charset="2"/>
              </a:rPr>
              <a:t> NEXT SLIDE</a:t>
            </a:r>
            <a:endParaRPr lang="en-US" dirty="0"/>
          </a:p>
          <a:p>
            <a:pPr marL="228600" indent="-228600">
              <a:buFont typeface="+mj-lt"/>
              <a:buAutoNum type="arabicPeriod"/>
            </a:pPr>
            <a:endParaRPr lang="en-US" dirty="0"/>
          </a:p>
          <a:p>
            <a:pPr marL="228600" indent="-228600">
              <a:buFont typeface="+mj-lt"/>
              <a:buAutoNum type="arabicPeriod"/>
            </a:pPr>
            <a:endParaRPr lang="en-US" dirty="0"/>
          </a:p>
          <a:p>
            <a:pPr marL="228600" indent="-228600">
              <a:buFont typeface="+mj-lt"/>
              <a:buAutoNum type="arabicPeriod"/>
            </a:pPr>
            <a:endParaRPr lang="en-US" dirty="0"/>
          </a:p>
          <a:p>
            <a:pPr marL="228600" indent="-228600">
              <a:buFont typeface="+mj-lt"/>
              <a:buAutoNum type="arabicPeriod"/>
            </a:pPr>
            <a:endParaRPr lang="en-US" dirty="0"/>
          </a:p>
          <a:p>
            <a:pPr marL="0" indent="0">
              <a:buFont typeface="+mj-lt"/>
              <a:buNone/>
            </a:pPr>
            <a:r>
              <a:rPr lang="en-US" sz="900" dirty="0"/>
              <a:t>Sources: </a:t>
            </a:r>
          </a:p>
          <a:p>
            <a:pPr marL="228600" indent="-228600">
              <a:buFont typeface="+mj-lt"/>
              <a:buAutoNum type="arabicPeriod"/>
            </a:pPr>
            <a:r>
              <a:rPr lang="en-US" sz="900" dirty="0"/>
              <a:t>IBM Client 0: </a:t>
            </a:r>
            <a:r>
              <a:rPr lang="en-US" sz="900" dirty="0" err="1"/>
              <a:t>HeRmoine</a:t>
            </a:r>
            <a:r>
              <a:rPr lang="en-US" sz="900" dirty="0"/>
              <a:t> (30 mins to 5 mins hiring manager time)</a:t>
            </a:r>
          </a:p>
          <a:p>
            <a:pPr marL="228600" indent="-228600">
              <a:buFont typeface="+mj-lt"/>
              <a:buAutoNum type="arabicPeriod"/>
            </a:pPr>
            <a:r>
              <a:rPr lang="en-US" sz="900" dirty="0"/>
              <a:t>https://</a:t>
            </a:r>
            <a:r>
              <a:rPr lang="en-US" sz="900" dirty="0" err="1"/>
              <a:t>www.ibm.com</a:t>
            </a:r>
            <a:r>
              <a:rPr lang="en-US" sz="900" dirty="0"/>
              <a:t>/case-studies/sport-clips</a:t>
            </a:r>
          </a:p>
          <a:p>
            <a:pPr marL="228600" indent="-228600">
              <a:buFont typeface="+mj-lt"/>
              <a:buAutoNum type="arabicPeriod"/>
            </a:pPr>
            <a:r>
              <a:rPr lang="en-US" sz="900" dirty="0"/>
              <a:t>3</a:t>
            </a:r>
          </a:p>
          <a:p>
            <a:pPr marL="228600" indent="-228600">
              <a:buFont typeface="+mj-lt"/>
              <a:buAutoNum type="arabicPeriod"/>
            </a:pPr>
            <a:r>
              <a:rPr lang="en-US" sz="900" dirty="0"/>
              <a:t>https://</a:t>
            </a:r>
            <a:r>
              <a:rPr lang="en-US" sz="900" dirty="0" err="1"/>
              <a:t>www.ibm.com</a:t>
            </a:r>
            <a:r>
              <a:rPr lang="en-US" sz="900" dirty="0"/>
              <a:t>/case-studies/avid-solutions-international</a:t>
            </a:r>
          </a:p>
          <a:p>
            <a:pPr marL="228600" indent="-228600">
              <a:buFont typeface="+mj-lt"/>
              <a:buAutoNum type="arabicPeriod"/>
            </a:pPr>
            <a:r>
              <a:rPr lang="en-US" sz="900" dirty="0"/>
              <a:t>https://</a:t>
            </a:r>
            <a:r>
              <a:rPr lang="en-US" sz="900" dirty="0" err="1"/>
              <a:t>www.ibm.com</a:t>
            </a:r>
            <a:r>
              <a:rPr lang="en-US" sz="900" dirty="0"/>
              <a:t>/case-studies/avid-solutions-international</a:t>
            </a:r>
          </a:p>
          <a:p>
            <a:pPr marL="228600" indent="-228600">
              <a:buFont typeface="+mj-lt"/>
              <a:buAutoNum type="arabicPeriod"/>
            </a:pPr>
            <a:r>
              <a:rPr lang="en-US" sz="900" dirty="0"/>
              <a:t>https://</a:t>
            </a:r>
            <a:r>
              <a:rPr lang="en-US" sz="900" dirty="0" err="1"/>
              <a:t>www.ibm.com</a:t>
            </a:r>
            <a:r>
              <a:rPr lang="en-US" sz="900" dirty="0"/>
              <a:t>/case-studies/</a:t>
            </a:r>
            <a:r>
              <a:rPr lang="en-US" sz="900" dirty="0" err="1"/>
              <a:t>tricon</a:t>
            </a:r>
            <a:r>
              <a:rPr lang="en-US" sz="900" dirty="0"/>
              <a:t>-steamship-agency</a:t>
            </a:r>
          </a:p>
          <a:p>
            <a:pPr marL="228600" indent="-228600">
              <a:buFont typeface="+mj-lt"/>
              <a:buAutoNum type="arabicPeriod"/>
            </a:pPr>
            <a:r>
              <a:rPr lang="en-US" sz="900" dirty="0"/>
              <a:t>https://</a:t>
            </a:r>
            <a:r>
              <a:rPr lang="en-US" sz="900" dirty="0" err="1"/>
              <a:t>www.ibm.com</a:t>
            </a:r>
            <a:r>
              <a:rPr lang="en-US" sz="900" dirty="0"/>
              <a:t>/blogs/think/</a:t>
            </a:r>
            <a:r>
              <a:rPr lang="en-US" sz="900" dirty="0" err="1"/>
              <a:t>uk-en</a:t>
            </a:r>
            <a:r>
              <a:rPr lang="en-US" sz="900" dirty="0"/>
              <a:t>/freeing-up-time-for-nhs-frontline-staff-to-focus-on-patients-with-ai-enabled-people-services/?</a:t>
            </a:r>
            <a:r>
              <a:rPr lang="en-US" sz="900" dirty="0" err="1"/>
              <a:t>utm_medium</a:t>
            </a:r>
            <a:r>
              <a:rPr lang="en-US" sz="900" dirty="0"/>
              <a:t>=</a:t>
            </a:r>
            <a:r>
              <a:rPr lang="en-US" sz="900" dirty="0" err="1"/>
              <a:t>OSocial&amp;utm_source</a:t>
            </a:r>
            <a:r>
              <a:rPr lang="en-US" sz="900" dirty="0"/>
              <a:t>=</a:t>
            </a:r>
            <a:r>
              <a:rPr lang="en-US" sz="900" dirty="0" err="1"/>
              <a:t>Linkedin&amp;utm_content</a:t>
            </a:r>
            <a:r>
              <a:rPr lang="en-US" sz="900" dirty="0"/>
              <a:t>=</a:t>
            </a:r>
            <a:r>
              <a:rPr lang="en-US" sz="900" dirty="0" err="1"/>
              <a:t>BTDWW&amp;utm_id</a:t>
            </a:r>
            <a:r>
              <a:rPr lang="en-US" sz="900" dirty="0"/>
              <a:t>=LinkedIn-NHSUKIthinkblog-2024-03-21&amp;social_post=sf187195325&amp;sf187195325=1</a:t>
            </a:r>
          </a:p>
          <a:p>
            <a:pPr marL="228600" indent="-228600">
              <a:buFont typeface="+mj-lt"/>
              <a:buAutoNum type="arabicPeriod"/>
            </a:pPr>
            <a:r>
              <a:rPr lang="en-US" sz="900" dirty="0"/>
              <a:t>IBM Client 0: AskHR</a:t>
            </a:r>
          </a:p>
          <a:p>
            <a:pPr marL="228600" indent="-228600">
              <a:buFont typeface="+mj-lt"/>
              <a:buAutoNum type="arabicPeriod"/>
            </a:pPr>
            <a:r>
              <a:rPr lang="en-US" sz="900" dirty="0"/>
              <a:t>IBM Client 0: AskHR</a:t>
            </a:r>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23</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p>
        </p:txBody>
      </p:sp>
    </p:spTree>
    <p:extLst>
      <p:ext uri="{BB962C8B-B14F-4D97-AF65-F5344CB8AC3E}">
        <p14:creationId xmlns:p14="http://schemas.microsoft.com/office/powerpoint/2010/main" val="15860119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defTabSz="685808">
              <a:defRPr/>
            </a:pPr>
            <a:r>
              <a:rPr lang="en-US" altLang="en-US" sz="1200" kern="0" dirty="0">
                <a:latin typeface="IBM Plex Sans Medium" panose="020B0503050203000203" pitchFamily="34" charset="0"/>
                <a:ea typeface="MS PGothic" charset="-128"/>
              </a:rPr>
              <a:t>Responsible: </a:t>
            </a:r>
            <a:r>
              <a:rPr lang="en-US" altLang="en-US" sz="1200" kern="0" dirty="0">
                <a:latin typeface="+mn-lt"/>
                <a:ea typeface="MS PGothic" charset="-128"/>
              </a:rPr>
              <a:t>Has the duty and the obligation to do the work—as well as the duty to exercise independent judgement to raise appropriate issues</a:t>
            </a:r>
          </a:p>
          <a:p>
            <a:pPr defTabSz="685808">
              <a:defRPr/>
            </a:pPr>
            <a:r>
              <a:rPr lang="en-US" altLang="en-US" sz="1200" kern="0" dirty="0">
                <a:latin typeface="IBM Plex Sans Medium" panose="020B0503050203000203" pitchFamily="34" charset="0"/>
                <a:ea typeface="MS PGothic" charset="-128"/>
              </a:rPr>
              <a:t>Accountable: </a:t>
            </a:r>
            <a:r>
              <a:rPr lang="en-US" altLang="en-US" sz="1200" kern="0" dirty="0">
                <a:latin typeface="+mn-lt"/>
                <a:ea typeface="MS PGothic" charset="-128"/>
              </a:rPr>
              <a:t>Has the authority to decide and is the recipient of any consequences, so there can only be one “A” per process step</a:t>
            </a:r>
          </a:p>
          <a:p>
            <a:pPr defTabSz="685808">
              <a:defRPr/>
            </a:pPr>
            <a:r>
              <a:rPr lang="en-US" altLang="en-US" sz="1200" kern="0" dirty="0">
                <a:latin typeface="IBM Plex Sans Medium" panose="020B0503050203000203" pitchFamily="34" charset="0"/>
                <a:ea typeface="MS PGothic" charset="-128"/>
              </a:rPr>
              <a:t>Consulted: </a:t>
            </a:r>
            <a:r>
              <a:rPr lang="en-US" altLang="en-US" sz="1200" kern="0" dirty="0">
                <a:latin typeface="+mn-lt"/>
                <a:ea typeface="MS PGothic" charset="-128"/>
              </a:rPr>
              <a:t>Must be given the opportunity to influence plans and decisions prior to finalization by the responsible party</a:t>
            </a:r>
          </a:p>
          <a:p>
            <a:pPr defTabSz="685808">
              <a:defRPr/>
            </a:pPr>
            <a:r>
              <a:rPr lang="en-US" altLang="en-US" sz="1200" kern="0" dirty="0">
                <a:latin typeface="IBM Plex Sans Medium" panose="020B0503050203000203" pitchFamily="34" charset="0"/>
                <a:ea typeface="MS PGothic" charset="-128"/>
              </a:rPr>
              <a:t>Informed: </a:t>
            </a:r>
            <a:r>
              <a:rPr lang="en-US" altLang="en-US" sz="1200" kern="0" dirty="0">
                <a:latin typeface="+mn-lt"/>
                <a:ea typeface="MS PGothic" charset="-128"/>
              </a:rPr>
              <a:t>Is informed of progress, key decisions and deliverables by the responsible party</a:t>
            </a:r>
          </a:p>
          <a:p>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24</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IBM Plex Sans Light" panose="020B0503050203000203" pitchFamily="34" charset="0"/>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IBM Plex Sans Light" panose="020B0503050203000203" pitchFamily="34" charset="0"/>
              </a:rPr>
              <a:t>Footer</a:t>
            </a:r>
          </a:p>
        </p:txBody>
      </p:sp>
    </p:spTree>
    <p:extLst>
      <p:ext uri="{BB962C8B-B14F-4D97-AF65-F5344CB8AC3E}">
        <p14:creationId xmlns:p14="http://schemas.microsoft.com/office/powerpoint/2010/main" val="31355484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200" dirty="0">
                <a:cs typeface="Calibri"/>
              </a:rPr>
              <a:t>So these are the 6 domains we are starting with – we know the first 2 are our bread and butter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200" dirty="0">
              <a:cs typeface="Calibri"/>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200" dirty="0">
                <a:cs typeface="Calibri"/>
              </a:rPr>
              <a:t>We decided these are the core use cases within each domain that we are best-suited for right now (e.g., source to pay in procurement, seller enablement like our own </a:t>
            </a:r>
            <a:r>
              <a:rPr lang="en-US" sz="1200" dirty="0" err="1">
                <a:cs typeface="Calibri"/>
              </a:rPr>
              <a:t>AskSales</a:t>
            </a:r>
            <a:r>
              <a:rPr lang="en-US" sz="1200" dirty="0">
                <a:cs typeface="Calibri"/>
              </a:rPr>
              <a:t> in Seismic)</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200" dirty="0">
              <a:cs typeface="Calibri"/>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200" dirty="0">
                <a:cs typeface="Calibri"/>
              </a:rPr>
              <a:t>What’s our right to win from a technical perspective, how many prebuilt skills do we have for this domain today </a:t>
            </a:r>
          </a:p>
          <a:p>
            <a:pPr marL="0" marR="0" lvl="0" indent="0" algn="l" defTabSz="2438522" rtl="0" eaLnBrk="1" fontAlgn="auto" latinLnBrk="0" hangingPunct="1">
              <a:lnSpc>
                <a:spcPct val="110000"/>
              </a:lnSpc>
              <a:spcBef>
                <a:spcPts val="0"/>
              </a:spcBef>
              <a:spcAft>
                <a:spcPts val="0"/>
              </a:spcAft>
              <a:buClrTx/>
              <a:buSzTx/>
              <a:buFontTx/>
              <a:buNone/>
              <a:tabLst/>
              <a:defRPr/>
            </a:pPr>
            <a:r>
              <a:rPr lang="en-US" sz="1200" dirty="0">
                <a:cs typeface="Calibri"/>
              </a:rPr>
              <a:t>And from a GTM / RTM perspective, how well aligned is sales and consulting? Has BPO proven value in this domain? </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25</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IBM Plex Sans Light" panose="020B0503050203000203" pitchFamily="34" charset="0"/>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IBM Plex Sans Light" panose="020B0503050203000203" pitchFamily="34" charset="0"/>
              </a:rPr>
              <a:t>Footer</a:t>
            </a:r>
          </a:p>
        </p:txBody>
      </p:sp>
    </p:spTree>
    <p:extLst>
      <p:ext uri="{BB962C8B-B14F-4D97-AF65-F5344CB8AC3E}">
        <p14:creationId xmlns:p14="http://schemas.microsoft.com/office/powerpoint/2010/main" val="41948583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200" dirty="0">
                <a:cs typeface="Calibri"/>
              </a:rPr>
              <a:t>We’ve built templates of common HR workflows and made them extensible/customizable (swap apps) – Purchase them in the catalog. Makes it much faster to build domain-specific Assistants.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200" dirty="0">
              <a:cs typeface="Calibri"/>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200" dirty="0">
                <a:cs typeface="Calibri"/>
              </a:rPr>
              <a:t>Can continue to use the platform to build custom Assistants</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200" dirty="0">
              <a:cs typeface="Calibri"/>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200" dirty="0">
                <a:cs typeface="Calibri"/>
              </a:rPr>
              <a:t>It all comes together under this unified user interface that allows you to register all of these Assistants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200" dirty="0">
              <a:cs typeface="Calibri"/>
            </a:endParaRP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200" dirty="0">
              <a:cs typeface="Calibri"/>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200" dirty="0">
                <a:cs typeface="Calibri"/>
              </a:rPr>
              <a:t>What are these skill catalog add-ons?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200" dirty="0">
              <a:cs typeface="Calibri"/>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solidFill>
                  <a:srgbClr val="000000"/>
                </a:solidFill>
                <a:effectLst/>
                <a:latin typeface="Helvetica" pitchFamily="2" charset="0"/>
              </a:rPr>
              <a:t>we are templatizing the skill flows from our own </a:t>
            </a:r>
            <a:r>
              <a:rPr lang="en-US" dirty="0" err="1">
                <a:solidFill>
                  <a:srgbClr val="000000"/>
                </a:solidFill>
                <a:effectLst/>
                <a:latin typeface="Helvetica" pitchFamily="2" charset="0"/>
              </a:rPr>
              <a:t>ibm</a:t>
            </a:r>
            <a:r>
              <a:rPr lang="en-US" dirty="0">
                <a:solidFill>
                  <a:srgbClr val="000000"/>
                </a:solidFill>
                <a:effectLst/>
                <a:latin typeface="Helvetica" pitchFamily="2" charset="0"/>
              </a:rPr>
              <a:t> client 0 and all the depth we’ve built there</a:t>
            </a:r>
            <a:endParaRPr lang="en-US" sz="1200" dirty="0">
              <a:cs typeface="Calibri"/>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27</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rPr>
              <a:t>Footer</a:t>
            </a:r>
          </a:p>
        </p:txBody>
      </p:sp>
    </p:spTree>
    <p:extLst>
      <p:ext uri="{BB962C8B-B14F-4D97-AF65-F5344CB8AC3E}">
        <p14:creationId xmlns:p14="http://schemas.microsoft.com/office/powerpoint/2010/main" val="16819307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b="0" dirty="0">
                <a:solidFill>
                  <a:srgbClr val="000000"/>
                </a:solidFill>
                <a:effectLst/>
                <a:latin typeface="Helvetica" pitchFamily="2" charset="0"/>
              </a:rPr>
              <a:t>Number of prebuilt skills is growing. In July alone, we just released new skills for Asana, Slack, Workday HCM, ZoomInfo, Oracle EBS, </a:t>
            </a:r>
            <a:r>
              <a:rPr lang="en-US" b="0" dirty="0" err="1">
                <a:solidFill>
                  <a:srgbClr val="000000"/>
                </a:solidFill>
                <a:effectLst/>
                <a:latin typeface="Helvetica" pitchFamily="2" charset="0"/>
              </a:rPr>
              <a:t>InfoBip</a:t>
            </a:r>
            <a:r>
              <a:rPr lang="en-US" b="0" dirty="0">
                <a:solidFill>
                  <a:srgbClr val="000000"/>
                </a:solidFill>
                <a:effectLst/>
                <a:latin typeface="Helvetica" pitchFamily="2" charset="0"/>
              </a:rPr>
              <a:t>, </a:t>
            </a:r>
            <a:r>
              <a:rPr lang="en-US" b="0" dirty="0" err="1">
                <a:solidFill>
                  <a:srgbClr val="000000"/>
                </a:solidFill>
                <a:effectLst/>
                <a:latin typeface="Helvetica" pitchFamily="2" charset="0"/>
              </a:rPr>
              <a:t>Salesloft</a:t>
            </a:r>
            <a:r>
              <a:rPr lang="en-US" b="0" dirty="0">
                <a:solidFill>
                  <a:srgbClr val="000000"/>
                </a:solidFill>
                <a:effectLst/>
                <a:latin typeface="Helvetica" pitchFamily="2" charset="0"/>
              </a:rPr>
              <a:t>, and more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b="1" dirty="0">
              <a:solidFill>
                <a:srgbClr val="000000"/>
              </a:solidFill>
              <a:effectLst/>
              <a:latin typeface="Helvetica" pitchFamily="2"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solidFill>
                <a:srgbClr val="000000"/>
              </a:solidFill>
              <a:effectLst/>
              <a:latin typeface="Helvetica" pitchFamily="2"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28</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845403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b="1" dirty="0">
                <a:solidFill>
                  <a:srgbClr val="000000"/>
                </a:solidFill>
                <a:effectLst/>
                <a:latin typeface="Helvetica" pitchFamily="2" charset="0"/>
              </a:rPr>
              <a:t>Going from prebuilt skills to skill flow templates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b="1" dirty="0">
              <a:solidFill>
                <a:srgbClr val="000000"/>
              </a:solidFill>
              <a:effectLst/>
              <a:latin typeface="Helvetica" pitchFamily="2"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b="0" dirty="0">
                <a:solidFill>
                  <a:srgbClr val="000000"/>
                </a:solidFill>
                <a:effectLst/>
                <a:latin typeface="Helvetica" pitchFamily="2" charset="0"/>
              </a:rPr>
              <a:t>It’s the orchestration of multiple things – API calls to external systems, decision automations, gen AI automations – all those tied together that drives real ROI.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b="0" dirty="0">
              <a:solidFill>
                <a:srgbClr val="000000"/>
              </a:solidFill>
              <a:effectLst/>
              <a:latin typeface="Helvetica" pitchFamily="2"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b="0" dirty="0">
                <a:solidFill>
                  <a:srgbClr val="000000"/>
                </a:solidFill>
                <a:effectLst/>
                <a:latin typeface="Helvetica" pitchFamily="2" charset="0"/>
              </a:rPr>
              <a:t>We say they’re extendable because think about how easy it is to swap our Workday for SAP SF in this flow in </a:t>
            </a:r>
            <a:r>
              <a:rPr lang="en-US" b="0" dirty="0" err="1">
                <a:solidFill>
                  <a:srgbClr val="000000"/>
                </a:solidFill>
                <a:effectLst/>
                <a:latin typeface="Helvetica" pitchFamily="2" charset="0"/>
              </a:rPr>
              <a:t>wxO</a:t>
            </a:r>
            <a:r>
              <a:rPr lang="en-US" b="0" dirty="0">
                <a:solidFill>
                  <a:srgbClr val="000000"/>
                </a:solidFill>
                <a:effectLst/>
                <a:latin typeface="Helvetica" pitchFamily="2" charset="0"/>
              </a:rPr>
              <a:t>. No-code, clicking buttons. </a:t>
            </a:r>
          </a:p>
          <a:p>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29</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36989348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normAutofit fontScale="92500" lnSpcReduction="10000"/>
          </a:bodyPr>
          <a:lstStyle/>
          <a:p>
            <a:r>
              <a:rPr lang="en-US" dirty="0"/>
              <a:t>Since January of 2023, with the formation of our Transformation &amp; Operations organization and mission, IBM has delivered $1.6B productivity through automation and AI </a:t>
            </a:r>
            <a:r>
              <a:rPr lang="en-US" b="0" dirty="0"/>
              <a:t>across the breadth of IBM, on the way to delivering on our $3 B opportunity, which will leverage the full scope of our transformation initiatives.</a:t>
            </a:r>
          </a:p>
          <a:p>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Whereas we’ve seen automation and AI as technology drivers in equal parts, with explosion of generative AI and </a:t>
            </a:r>
            <a:r>
              <a:rPr lang="en-US" b="0" dirty="0" err="1"/>
              <a:t>watsonx</a:t>
            </a:r>
            <a:r>
              <a:rPr lang="en-US" b="0" dirty="0"/>
              <a:t>, we expect that ratio to shift over time as our rate of generative AI adoption and implementation accelerates. We have more than 20 more </a:t>
            </a:r>
            <a:r>
              <a:rPr lang="en-US" b="0" dirty="0" err="1"/>
              <a:t>watsonx</a:t>
            </a:r>
            <a:r>
              <a:rPr lang="en-US" b="0" dirty="0"/>
              <a:t> use cases in development across all domains and functions, and more on the way.</a:t>
            </a:r>
          </a:p>
          <a:p>
            <a:endParaRPr lang="en-US" b="0" dirty="0"/>
          </a:p>
          <a:p>
            <a:r>
              <a:rPr lang="en-US" b="0" dirty="0"/>
              <a:t>These examples are not all inclusive but highlight areas where we’ve seen and executed on the opportunity to deliver value in our own enterprise. </a:t>
            </a:r>
          </a:p>
          <a:p>
            <a:endParaRPr lang="en-US" b="0" dirty="0"/>
          </a:p>
          <a:p>
            <a:r>
              <a:rPr lang="en-US" b="0" dirty="0"/>
              <a:t>Our Enterprise Performance Management data and AI platform supports and enables our enterprise-ready integration of end-to-end intelligent workflows, infused with AI. This drives revenue and cost savings.</a:t>
            </a:r>
          </a:p>
          <a:p>
            <a:endParaRPr lang="en-US" b="0" dirty="0"/>
          </a:p>
          <a:p>
            <a:r>
              <a:rPr lang="en-US" b="0" strike="noStrike" dirty="0"/>
              <a:t>We’ve modernized our IT infrastructure with Hybrid Cloud; and i</a:t>
            </a:r>
            <a:r>
              <a:rPr lang="en-US" b="0" dirty="0"/>
              <a:t>mplemented cognitive tooling into our workflows, by infusing AI into our Salesforce platform, using digital labor to augment employees service for IT, HR and other support areas, and enabling programmers to more rapidly develop application with code with </a:t>
            </a:r>
            <a:r>
              <a:rPr lang="en-US" b="0" dirty="0" err="1"/>
              <a:t>watsonx</a:t>
            </a:r>
            <a:r>
              <a:rPr lang="en-US" b="0" dirty="0"/>
              <a:t> code assistant and ansible automation.</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2</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IBM Plex Sans Light" panose="020B0503050203000203" pitchFamily="34" charset="0"/>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IBM Plex Sans Light" panose="020B0503050203000203" pitchFamily="34" charset="0"/>
              </a:rPr>
              <a:t>Footer</a:t>
            </a:r>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IBM Plex Sans Light" panose="020B0503050203000203" pitchFamily="34" charset="0"/>
            </a:endParaRPr>
          </a:p>
        </p:txBody>
      </p:sp>
    </p:spTree>
    <p:extLst>
      <p:ext uri="{BB962C8B-B14F-4D97-AF65-F5344CB8AC3E}">
        <p14:creationId xmlns:p14="http://schemas.microsoft.com/office/powerpoint/2010/main" val="34931029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80886-F4FF-534E-B7F6-6AB68DCDB60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6040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F0459E-A124-024A-8BEF-AC8347C5905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59426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latin typeface="+mn-lt"/>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30867540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E794C1-C728-BE42-BA93-FA9F5FE18748}" type="slidenum">
              <a:rPr kumimoji="0" lang="en-US" sz="1200" b="0" i="0" u="none" strike="noStrike" kern="1200" cap="none" spc="0" normalizeH="0" baseline="0" noProof="0" smtClean="0">
                <a:ln>
                  <a:noFill/>
                </a:ln>
                <a:solidFill>
                  <a:prstClr val="black"/>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8421516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7FFD3B4C-50BB-2D42-8B33-1CF2EEFB8B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5180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8000" dirty="0"/>
              <a:t>The advent of Generative AI and the continued evolution of automation technologies, have ushered in a new wave of customer experience transformation. It sees the emergence of AI Assistants (aka co-pilots) that sits alongside consumers and fast-tracks them to that gratifying self-serve moment – the real outcome that we all seek to offer. These AI Assistants need to work with the variety of back-end systems and processes required to automate experiences. Augmented by Gen AI, these AI Assistants offer a path to deliver personalized, contextualized, and business grounded informational help at every step of the way.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8000" dirty="0"/>
          </a:p>
          <a:p>
            <a:pPr marL="0" marR="0" lvl="0" indent="0" algn="l" defTabSz="2438522" rtl="0" eaLnBrk="1" fontAlgn="auto" latinLnBrk="0" hangingPunct="1">
              <a:lnSpc>
                <a:spcPct val="110000"/>
              </a:lnSpc>
              <a:spcBef>
                <a:spcPts val="0"/>
              </a:spcBef>
              <a:spcAft>
                <a:spcPts val="0"/>
              </a:spcAft>
              <a:buClrTx/>
              <a:buSzTx/>
              <a:buFontTx/>
              <a:buNone/>
              <a:tabLst/>
              <a:defRPr/>
            </a:pPr>
            <a:r>
              <a:rPr lang="en-US" sz="8000" dirty="0"/>
              <a:t>The path to adopt these AI Assistants at scale has been paved from years of experience putting into production AI and Automation.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8000"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1</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rPr>
              <a:t>Footer</a:t>
            </a:r>
          </a:p>
        </p:txBody>
      </p:sp>
    </p:spTree>
    <p:extLst>
      <p:ext uri="{BB962C8B-B14F-4D97-AF65-F5344CB8AC3E}">
        <p14:creationId xmlns:p14="http://schemas.microsoft.com/office/powerpoint/2010/main" val="10982983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Linking their moments to the work that we have done</a:t>
            </a:r>
          </a:p>
          <a:p>
            <a:endParaRPr lang="en-US" dirty="0"/>
          </a:p>
          <a:p>
            <a:pPr marL="171450" indent="-171450">
              <a:buFontTx/>
              <a:buChar char="-"/>
            </a:pPr>
            <a:r>
              <a:rPr lang="en-US" b="1" dirty="0"/>
              <a:t>Amex uses the term Colleagues </a:t>
            </a:r>
          </a:p>
          <a:p>
            <a:pPr marL="171450" indent="-171450">
              <a:buFontTx/>
              <a:buChar char="-"/>
            </a:pPr>
            <a:r>
              <a:rPr lang="en-US" b="1" dirty="0"/>
              <a:t>Agents = Customer Care Professionals (CCP)</a:t>
            </a:r>
          </a:p>
          <a:p>
            <a:pPr marL="171450" indent="-171450">
              <a:buFontTx/>
              <a:buChar char="-"/>
            </a:pPr>
            <a:endParaRPr lang="en-US" b="1" dirty="0"/>
          </a:p>
          <a:p>
            <a:pPr marL="171450" indent="-171450">
              <a:buFontTx/>
              <a:buChar char="-"/>
            </a:pPr>
            <a:r>
              <a:rPr lang="en-US" b="1" dirty="0"/>
              <a:t>remove maturity curve</a:t>
            </a:r>
          </a:p>
          <a:p>
            <a:pPr marL="171450" indent="-171450">
              <a:buFontTx/>
              <a:buChar char="-"/>
            </a:pPr>
            <a:r>
              <a:rPr lang="en-US" b="1" dirty="0"/>
              <a:t>How many of these did we cover in AskHR</a:t>
            </a:r>
          </a:p>
          <a:p>
            <a:pPr marL="171450" indent="-171450">
              <a:buFontTx/>
              <a:buChar char="-"/>
            </a:pPr>
            <a:r>
              <a:rPr lang="en-US" b="1" dirty="0"/>
              <a:t>We think of moments that matter within IBM as well– we need </a:t>
            </a:r>
            <a:r>
              <a:rPr lang="en-US" b="1" dirty="0" err="1"/>
              <a:t>askHR</a:t>
            </a:r>
            <a:r>
              <a:rPr lang="en-US" b="1" dirty="0"/>
              <a:t> to solve already for some of these– those can become accelerators </a:t>
            </a:r>
          </a:p>
          <a:p>
            <a:pPr marL="171450" indent="-171450">
              <a:buFontTx/>
              <a:buChar char="-"/>
            </a:pPr>
            <a:r>
              <a:rPr lang="en-US" b="1" dirty="0"/>
              <a:t>Here are some of the moments that matter– playing with messaging and how story will be more powerful</a:t>
            </a:r>
          </a:p>
          <a:p>
            <a:pPr marL="171450" indent="-171450">
              <a:buFontTx/>
              <a:buChar char="-"/>
            </a:pPr>
            <a:r>
              <a:rPr lang="en-US" b="1" dirty="0"/>
              <a:t>We can accelerate your path</a:t>
            </a:r>
          </a:p>
          <a:p>
            <a:pPr marL="171450" indent="-171450">
              <a:buFontTx/>
              <a:buChar char="-"/>
            </a:pPr>
            <a:r>
              <a:rPr lang="en-US" b="1" dirty="0"/>
              <a:t>Maturity slide would be different message</a:t>
            </a:r>
          </a:p>
          <a:p>
            <a:pPr marL="171450" indent="-171450">
              <a:buFontTx/>
              <a:buChar char="-"/>
            </a:pPr>
            <a:endParaRPr lang="en-US" b="1" dirty="0"/>
          </a:p>
          <a:p>
            <a:pPr marL="171450" indent="-171450">
              <a:buFontTx/>
              <a:buChar char="-"/>
            </a:pPr>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D375C6-3597-411B-BB68-93DDF25012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14919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280443" y="6048047"/>
            <a:ext cx="2476178" cy="571500"/>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3327760" y="6000751"/>
            <a:ext cx="2476178" cy="618796"/>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8022960"/>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6367030" y="192025"/>
            <a:ext cx="5536971" cy="4287043"/>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79019503"/>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60614986"/>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210312"/>
            <a:ext cx="8569797" cy="4095750"/>
          </a:xfrm>
        </p:spPr>
        <p:txBody>
          <a:bodyPr/>
          <a:lstStyle>
            <a:lvl1pPr>
              <a:defRPr sz="8598" b="0" i="0">
                <a:solidFill>
                  <a:schemeClr val="tx2"/>
                </a:solidFill>
                <a:latin typeface="IBM Plex Sans ExtraLigh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28976569"/>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224028"/>
            <a:ext cx="5520318" cy="4287044"/>
          </a:xfrm>
        </p:spPr>
        <p:txBody>
          <a:bodyPr/>
          <a:lstStyle>
            <a:lvl1pPr>
              <a:lnSpc>
                <a:spcPct val="100000"/>
              </a:lnSpc>
              <a:spcBef>
                <a:spcPts val="0"/>
              </a:spcBef>
              <a:defRPr sz="3199">
                <a:solidFill>
                  <a:schemeClr val="tx2"/>
                </a:solidFill>
              </a:defRPr>
            </a:lvl1pPr>
            <a:lvl2pPr marL="292549" indent="-292549">
              <a:lnSpc>
                <a:spcPct val="100000"/>
              </a:lnSpc>
              <a:spcBef>
                <a:spcPts val="0"/>
              </a:spcBef>
              <a:defRPr sz="3199">
                <a:solidFill>
                  <a:schemeClr val="tx2"/>
                </a:solidFill>
              </a:defRPr>
            </a:lvl2pPr>
            <a:lvl3pPr marL="548530" indent="-292549">
              <a:lnSpc>
                <a:spcPct val="100000"/>
              </a:lnSpc>
              <a:spcBef>
                <a:spcPts val="0"/>
              </a:spcBef>
              <a:defRPr sz="3199">
                <a:solidFill>
                  <a:schemeClr val="tx2"/>
                </a:solidFill>
              </a:defRPr>
            </a:lvl3pPr>
            <a:lvl4pPr marL="877648">
              <a:lnSpc>
                <a:spcPct val="100000"/>
              </a:lnSpc>
              <a:spcBef>
                <a:spcPts val="0"/>
              </a:spcBef>
              <a:defRPr sz="31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p>
            <a:endParaRPr lang="en-US" dirty="0"/>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82598597"/>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210312"/>
            <a:ext cx="7330121" cy="4858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39323707"/>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649724"/>
            <a:ext cx="5524575" cy="1771650"/>
          </a:xfrm>
        </p:spPr>
        <p:txBody>
          <a:bodyPr anchor="b"/>
          <a:lstStyle>
            <a:lvl1pPr>
              <a:lnSpc>
                <a:spcPct val="90000"/>
              </a:lnSpc>
              <a:spcBef>
                <a:spcPts val="0"/>
              </a:spcBef>
              <a:defRPr sz="12897" b="0" i="0">
                <a:solidFill>
                  <a:schemeClr val="accent1"/>
                </a:solidFill>
                <a:latin typeface="IBM Plex Sans ExtraLight" panose="020B0303050203000203" pitchFamily="34" charset="0"/>
              </a:defRPr>
            </a:lvl1pPr>
          </a:lstStyle>
          <a:p>
            <a:r>
              <a:rPr lang="en-US" dirty="0"/>
              <a:t>↗︎00M</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b="0" i="0">
                <a:solidFill>
                  <a:schemeClr val="accent1"/>
                </a:solidFill>
                <a:latin typeface="IBM Plex Sans ExtraLigh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endParaRPr lang="en-US" dirty="0"/>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83582658"/>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4"/>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endParaRPr lang="en-US" dirty="0"/>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75378887"/>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0" cy="2667794"/>
          </a:xfrm>
        </p:spPr>
        <p:txBody>
          <a:bodyPr/>
          <a:lstStyle>
            <a:lvl1pPr>
              <a:lnSpc>
                <a:spcPct val="100000"/>
              </a:lnSpc>
              <a:defRPr sz="4299">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8"/>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p>
            <a:endParaRPr lang="en-US" dirty="0"/>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48531101"/>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p>
            <a:endParaRPr lang="en-US" dirty="0"/>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79217210"/>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p>
            <a:endParaRPr lang="en-US" dirty="0"/>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0860891"/>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1" name="Straight Connector 20" descr="Vertical column divider ">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2" name="Straight Connector 21" descr="Vertical column divider ">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endParaRPr lang="en-US" dirty="0"/>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18139522"/>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600"/>
            <a:ext cx="7330121" cy="485854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888178544"/>
      </p:ext>
    </p:extLst>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endParaRPr lang="en-US" dirty="0"/>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36454119"/>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p:spPr>
        <p:txBody>
          <a:bodyPr/>
          <a:lstStyle>
            <a:lvl1pPr>
              <a:lnSpc>
                <a:spcPct val="100000"/>
              </a:lnSpc>
              <a:spcBef>
                <a:spcPts val="0"/>
              </a:spcBef>
              <a:defRPr sz="18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dirty="0"/>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p:spPr>
        <p:txBody>
          <a:bodyPr anchor="ctr"/>
          <a:lstStyle>
            <a:lvl1pPr algn="ctr">
              <a:defRPr sz="800">
                <a:solidFill>
                  <a:schemeClr val="tx1"/>
                </a:solidFill>
              </a:defRPr>
            </a:lvl1pPr>
          </a:lstStyle>
          <a:p>
            <a:r>
              <a:rPr lang="en-US" dirty="0"/>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dirty="0"/>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26179807"/>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91949959"/>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65940854"/>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44397130"/>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75824859"/>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15324388"/>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000"/>
          </a:xfrm>
        </p:spPr>
        <p:txBody>
          <a:bodyPr rIns="0"/>
          <a:lstStyle>
            <a:lvl1pPr>
              <a:lnSpc>
                <a:spcPct val="100000"/>
              </a:lnSpc>
              <a:defRPr sz="14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3120514"/>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dirty="0"/>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457776" cy="457200"/>
          </a:xfrm>
        </p:spPr>
        <p:txBody>
          <a:bodyPr anchor="ctr"/>
          <a:lstStyle>
            <a:lvl1pPr algn="ctr">
              <a:defRPr sz="800">
                <a:solidFill>
                  <a:schemeClr val="tx1"/>
                </a:solidFill>
              </a:defRPr>
            </a:lvl1pPr>
          </a:lstStyle>
          <a:p>
            <a:r>
              <a:rPr lang="en-US" dirty="0"/>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3" y="288036"/>
            <a:ext cx="457776" cy="457200"/>
          </a:xfrm>
        </p:spPr>
        <p:txBody>
          <a:bodyPr anchor="ctr"/>
          <a:lstStyle>
            <a:lvl1pPr algn="ctr">
              <a:defRPr sz="800">
                <a:solidFill>
                  <a:schemeClr val="tx1"/>
                </a:solidFill>
              </a:defRPr>
            </a:lvl1pPr>
          </a:lstStyle>
          <a:p>
            <a:r>
              <a:rPr lang="en-US" dirty="0"/>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00872685"/>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dirty="0"/>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p:spPr>
        <p:txBody>
          <a:bodyPr anchor="ctr"/>
          <a:lstStyle>
            <a:lvl1pPr algn="ctr">
              <a:defRPr sz="800"/>
            </a:lvl1pPr>
          </a:lstStyle>
          <a:p>
            <a:r>
              <a:rPr lang="en-US" dirty="0"/>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dirty="0"/>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p:spPr>
        <p:txBody>
          <a:bodyPr anchor="ctr"/>
          <a:lstStyle>
            <a:lvl1pPr algn="ctr">
              <a:defRPr sz="800"/>
            </a:lvl1pPr>
          </a:lstStyle>
          <a:p>
            <a:r>
              <a:rPr lang="en-US" dirty="0"/>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34447912"/>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62" y="4648200"/>
            <a:ext cx="5524575" cy="1771650"/>
          </a:xfrm>
          <a:prstGeom prst="rect">
            <a:avLst/>
          </a:prstGeom>
        </p:spPr>
        <p:txBody>
          <a:bodyPr anchor="b"/>
          <a:lstStyle>
            <a:lvl1pPr>
              <a:lnSpc>
                <a:spcPct val="100000"/>
              </a:lnSpc>
              <a:spcBef>
                <a:spcPts val="0"/>
              </a:spcBef>
              <a:defRPr sz="12897"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79463" y="4648200"/>
            <a:ext cx="5523781" cy="1771650"/>
          </a:xfrm>
          <a:prstGeom prst="rect">
            <a:avLst/>
          </a:prstGeom>
        </p:spPr>
        <p:txBody>
          <a:bodyPr anchor="b"/>
          <a:lstStyle>
            <a:lvl1pPr>
              <a:lnSpc>
                <a:spcPct val="100000"/>
              </a:lnSpc>
              <a:spcBef>
                <a:spcPts val="0"/>
              </a:spcBef>
              <a:defRPr sz="12897"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287300" y="192600"/>
            <a:ext cx="3815591" cy="3144044"/>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6379463" y="192600"/>
            <a:ext cx="3815591" cy="3144044"/>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1661072"/>
      </p:ext>
    </p:extLst>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US" dirty="0"/>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56850065"/>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224028"/>
          </a:xfrm>
        </p:spPr>
        <p:txBody>
          <a:bodyPr/>
          <a:lstStyle>
            <a:lvl1pPr>
              <a:defRPr sz="1400">
                <a:solidFill>
                  <a:schemeClr val="tx2"/>
                </a:solidFill>
              </a:defRPr>
            </a:lvl1pPr>
          </a:lstStyle>
          <a:p>
            <a:pPr lvl="0"/>
            <a:r>
              <a:rPr lang="en-US" dirty="0"/>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10000"/>
              </a:lnSpc>
              <a:defRPr sz="3199">
                <a:solidFill>
                  <a:schemeClr val="tx2"/>
                </a:solidFill>
              </a:defRPr>
            </a:lvl1pPr>
          </a:lstStyle>
          <a:p>
            <a:r>
              <a:rPr lang="en-US" dirty="0"/>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57527488"/>
      </p:ext>
    </p:extLst>
  </p:cSld>
  <p:clrMapOvr>
    <a:masterClrMapping/>
  </p:clrMapOvr>
  <p:transition spd="med"/>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6"/>
            <a:ext cx="2477765" cy="2286794"/>
          </a:xfrm>
        </p:spPr>
        <p:txBody>
          <a:bodyPr/>
          <a:lstStyle>
            <a:lvl1pPr>
              <a:lnSpc>
                <a:spcPct val="100000"/>
              </a:lnSpc>
              <a:defRPr sz="14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21411478"/>
      </p:ext>
    </p:extLst>
  </p:cSld>
  <p:clrMapOvr>
    <a:masterClrMapping/>
  </p:clrMapOvr>
  <p:transition spd="med"/>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71829157"/>
      </p:ext>
    </p:extLst>
  </p:cSld>
  <p:clrMapOvr>
    <a:masterClrMapping/>
  </p:clrMapOvr>
  <p:transition spd="med"/>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7" name="Straight Connector 6" descr="Vertical column divider ">
            <a:extLst>
              <a:ext uri="{FF2B5EF4-FFF2-40B4-BE49-F238E27FC236}">
                <a16:creationId xmlns:a16="http://schemas.microsoft.com/office/drawing/2014/main" id="{1F6D0C9D-C937-48E3-BE84-3DA0D1BC274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8" name="Straight Connector 7" descr="Vertical column divider ">
            <a:extLst>
              <a:ext uri="{FF2B5EF4-FFF2-40B4-BE49-F238E27FC236}">
                <a16:creationId xmlns:a16="http://schemas.microsoft.com/office/drawing/2014/main" id="{0B31714F-DB23-BEBB-75A7-6BFF47AECDDF}"/>
              </a:ext>
            </a:extLst>
          </p:cNvPr>
          <p:cNvCxnSpPr/>
          <p:nvPr userDrawn="1"/>
        </p:nvCxnSpPr>
        <p:spPr bwMode="auto">
          <a:xfrm>
            <a:off x="9146201"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3" name="Straight Connector 2" descr="Horizontal row divider">
            <a:extLst>
              <a:ext uri="{FF2B5EF4-FFF2-40B4-BE49-F238E27FC236}">
                <a16:creationId xmlns:a16="http://schemas.microsoft.com/office/drawing/2014/main" id="{3D492FDB-9D55-98D5-E9DE-229473DD5942}"/>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77965134"/>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en-US" dirty="0"/>
              <a:t>Click to edit Master title style</a:t>
            </a:r>
          </a:p>
        </p:txBody>
      </p:sp>
      <p:cxnSp>
        <p:nvCxnSpPr>
          <p:cNvPr id="24" name="Straight Connector 23" descr="Vertical column divider">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p:spPr>
        <p:txBody>
          <a:bodyPr/>
          <a:lstStyle>
            <a:lvl1pPr>
              <a:defRPr sz="700">
                <a:solidFill>
                  <a:schemeClr val="tx1"/>
                </a:solidFill>
              </a:defRPr>
            </a:lvl1pPr>
          </a:lstStyle>
          <a:p>
            <a:r>
              <a:rPr lang="en-US" dirty="0"/>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dirty="0"/>
              <a:t>Icon</a:t>
            </a:r>
          </a:p>
        </p:txBody>
      </p:sp>
      <p:cxnSp>
        <p:nvCxnSpPr>
          <p:cNvPr id="23" name="Straight Connector 22" descr="Horizontal row divider">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dirty="0"/>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dirty="0"/>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dirty="0"/>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9609647"/>
      </p:ext>
    </p:extLst>
  </p:cSld>
  <p:clrMapOvr>
    <a:masterClrMapping/>
  </p:clrMapOvr>
  <p:transition spd="med"/>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41586667"/>
      </p:ext>
    </p:extLst>
  </p:cSld>
  <p:clrMapOvr>
    <a:masterClrMapping/>
  </p:clrMapOvr>
  <p:transition spd="med"/>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0" cy="1706563"/>
          </a:xfrm>
        </p:spPr>
        <p:txBody>
          <a:bodyPr rIns="0"/>
          <a:lstStyle>
            <a:lvl1pPr>
              <a:lnSpc>
                <a:spcPct val="110000"/>
              </a:lnSpc>
              <a:defRPr sz="1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2"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descr="Horizontal row divider">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descr="Vertical column divider">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descr="Vertical column divider">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descr="Vertical column divider">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65448794"/>
      </p:ext>
    </p:extLst>
  </p:cSld>
  <p:clrMapOvr>
    <a:masterClrMapping/>
  </p:clrMapOvr>
  <p:transition spd="med"/>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375878994"/>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dirty="0"/>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3080231034"/>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192600"/>
            <a:ext cx="2474590" cy="953294"/>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192600"/>
            <a:ext cx="2474590" cy="951707"/>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953956"/>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00000"/>
              </a:lnSpc>
              <a:spcBef>
                <a:spcPts val="0"/>
              </a:spcBef>
              <a:defRPr sz="800" b="0" i="0">
                <a:solidFill>
                  <a:schemeClr val="tx1"/>
                </a:solidFill>
                <a:latin typeface="IBM Plex Sans Light" panose="020B0403050203000203" pitchFamily="34" charset="0"/>
              </a:defRPr>
            </a:lvl2pPr>
            <a:lvl3pPr marL="146275" indent="-73137">
              <a:lnSpc>
                <a:spcPct val="100000"/>
              </a:lnSpc>
              <a:spcBef>
                <a:spcPts val="0"/>
              </a:spcBef>
              <a:defRPr sz="800" b="0" i="0">
                <a:solidFill>
                  <a:schemeClr val="tx1"/>
                </a:solidFill>
                <a:latin typeface="IBM Plex Sans Light" panose="020B0403050203000203" pitchFamily="34" charset="0"/>
              </a:defRPr>
            </a:lvl3pPr>
            <a:lvl4pPr marL="219412" indent="-73137">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6534"/>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4"/>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528582459"/>
      </p:ext>
    </p:extLst>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6"/>
            <a:ext cx="8574559" cy="6289675"/>
          </a:xfrm>
          <a:solidFill>
            <a:srgbClr val="E0E0E0"/>
          </a:solidFill>
        </p:spPr>
        <p:txBody>
          <a:bodyPr anchor="ctr"/>
          <a:lstStyle>
            <a:lvl1pPr algn="ctr">
              <a:defRPr>
                <a:solidFill>
                  <a:schemeClr val="accent5"/>
                </a:solidFill>
              </a:defRPr>
            </a:lvl1pPr>
          </a:lstStyle>
          <a:p>
            <a:r>
              <a:rPr lang="en-US" dirty="0"/>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162054607"/>
      </p:ext>
    </p:extLst>
  </p:cSld>
  <p:clrMapOvr>
    <a:masterClrMapping/>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dirty="0"/>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1222333407"/>
      </p:ext>
    </p:extLst>
  </p:cSld>
  <p:clrMapOvr>
    <a:masterClrMapping/>
  </p:clrMapOvr>
  <p:transition spd="med"/>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56680326"/>
      </p:ext>
    </p:extLst>
  </p:cSld>
  <p:clrMapOvr>
    <a:masterClrMapping/>
  </p:clrMapOvr>
  <p:transition spd="med"/>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64119321"/>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70881904"/>
      </p:ext>
    </p:extLst>
  </p:cSld>
  <p:clrMapOvr>
    <a:masterClrMapping/>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50147091"/>
      </p:ext>
    </p:extLst>
  </p:cSld>
  <p:clrMapOvr>
    <a:masterClrMapping/>
  </p:clrMapOvr>
  <p:transition spd="med"/>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96537979"/>
      </p:ext>
    </p:extLst>
  </p:cSld>
  <p:clrMapOvr>
    <a:masterClrMapping/>
  </p:clrMapOvr>
  <p:transition spd="med"/>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p>
            <a:endParaRPr lang="en-US" dirty="0"/>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98053320"/>
      </p:ext>
    </p:extLst>
  </p:cSld>
  <p:clrMapOvr>
    <a:masterClrMapping/>
  </p:clrMapOvr>
  <p:transition spd="med"/>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1150249389"/>
      </p:ext>
    </p:extLst>
  </p:cSld>
  <p:clrMapOvr>
    <a:masterClrMapping/>
  </p:clrMapOvr>
  <p:transition spd="med"/>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C98A8E3-2634-613C-1D78-6E1230A9051F}"/>
              </a:ext>
            </a:extLst>
          </p:cNvPr>
          <p:cNvSpPr>
            <a:spLocks noGrp="1"/>
          </p:cNvSpPr>
          <p:nvPr>
            <p:ph type="title"/>
          </p:nvPr>
        </p:nvSpPr>
        <p:spPr>
          <a:xfrm>
            <a:off x="353952" y="278856"/>
            <a:ext cx="5869369" cy="56515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r>
              <a:rPr lang="en-US" sz="2800" dirty="0">
                <a:solidFill>
                  <a:srgbClr val="000000"/>
                </a:solidFill>
                <a:latin typeface="IBM Plex Sans" panose="020B0503050203000203" pitchFamily="34" charset="0"/>
              </a:rPr>
              <a:t>Title </a:t>
            </a:r>
          </a:p>
        </p:txBody>
      </p:sp>
      <p:pic>
        <p:nvPicPr>
          <p:cNvPr id="6" name="Picture 5">
            <a:extLst>
              <a:ext uri="{FF2B5EF4-FFF2-40B4-BE49-F238E27FC236}">
                <a16:creationId xmlns:a16="http://schemas.microsoft.com/office/drawing/2014/main" id="{DCDA7E42-926B-C75F-CC8C-D3DF47ADAA28}"/>
              </a:ext>
            </a:extLst>
          </p:cNvPr>
          <p:cNvPicPr>
            <a:picLocks noChangeAspect="1"/>
          </p:cNvPicPr>
          <p:nvPr userDrawn="1"/>
        </p:nvPicPr>
        <p:blipFill>
          <a:blip r:embed="rId2"/>
          <a:stretch>
            <a:fillRect/>
          </a:stretch>
        </p:blipFill>
        <p:spPr>
          <a:xfrm>
            <a:off x="10712453" y="203222"/>
            <a:ext cx="1218193" cy="640784"/>
          </a:xfrm>
          <a:prstGeom prst="rect">
            <a:avLst/>
          </a:prstGeom>
        </p:spPr>
      </p:pic>
    </p:spTree>
    <p:extLst>
      <p:ext uri="{BB962C8B-B14F-4D97-AF65-F5344CB8AC3E}">
        <p14:creationId xmlns:p14="http://schemas.microsoft.com/office/powerpoint/2010/main" val="13179994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192600"/>
            <a:ext cx="2474590" cy="2667794"/>
          </a:xfrm>
        </p:spPr>
        <p:txBody>
          <a:bodyPr/>
          <a:lstStyle>
            <a:lvl1pPr>
              <a:lnSpc>
                <a:spcPct val="100000"/>
              </a:lnSpc>
              <a:defRPr sz="4299"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192600"/>
            <a:ext cx="5523781" cy="2667794"/>
          </a:xfrm>
          <a:prstGeom prst="rect">
            <a:avLst/>
          </a:prstGeom>
        </p:spPr>
        <p:txBody>
          <a:bodyPr/>
          <a:lstStyle>
            <a:lvl1pPr>
              <a:lnSpc>
                <a:spcPct val="100000"/>
              </a:lnSpc>
              <a:spcBef>
                <a:spcPts val="0"/>
              </a:spcBef>
              <a:defRPr sz="4299" b="0" i="0">
                <a:solidFill>
                  <a:schemeClr val="tx1"/>
                </a:solidFill>
                <a:latin typeface="IBM Plex Sans Light" panose="020B0403050203000203" pitchFamily="34" charset="0"/>
              </a:defRPr>
            </a:lvl1pPr>
            <a:lvl2pPr marL="163767" indent="-163767">
              <a:lnSpc>
                <a:spcPct val="100000"/>
              </a:lnSpc>
              <a:spcBef>
                <a:spcPts val="0"/>
              </a:spcBef>
              <a:defRPr sz="4299" b="0" i="0">
                <a:solidFill>
                  <a:schemeClr val="tx1"/>
                </a:solidFill>
                <a:latin typeface="IBM Plex Sans Light" panose="020B0403050203000203" pitchFamily="34" charset="0"/>
              </a:defRPr>
            </a:lvl2pPr>
            <a:lvl3pPr marL="329334" indent="-163767">
              <a:lnSpc>
                <a:spcPct val="100000"/>
              </a:lnSpc>
              <a:spcBef>
                <a:spcPts val="0"/>
              </a:spcBef>
              <a:defRPr sz="4299" b="0" i="0">
                <a:solidFill>
                  <a:schemeClr val="tx1"/>
                </a:solidFill>
                <a:latin typeface="IBM Plex Sans Light" panose="020B0403050203000203" pitchFamily="34" charset="0"/>
              </a:defRPr>
            </a:lvl3pPr>
            <a:lvl4pPr marL="493101" indent="-163767">
              <a:lnSpc>
                <a:spcPct val="100000"/>
              </a:lnSpc>
              <a:spcBef>
                <a:spcPts val="0"/>
              </a:spcBef>
              <a:defRPr sz="4299" b="0" i="0">
                <a:solidFill>
                  <a:schemeClr val="tx1"/>
                </a:solidFill>
                <a:latin typeface="IBM Plex Sans Light" panose="020B0403050203000203" pitchFamily="34" charset="0"/>
              </a:defRPr>
            </a:lvl4pPr>
            <a:lvl5pPr>
              <a:lnSpc>
                <a:spcPct val="100000"/>
              </a:lnSpc>
              <a:spcBef>
                <a:spcPts val="0"/>
              </a:spcBef>
              <a:defRPr sz="4299">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a:prstGeom prst="rect">
            <a:avLst/>
          </a:prstGeom>
        </p:spPr>
        <p:txBody>
          <a:bodyPr/>
          <a:lstStyle>
            <a:lvl1pPr>
              <a:lnSpc>
                <a:spcPct val="100000"/>
              </a:lnSpc>
              <a:defRPr sz="4299" b="0" i="0">
                <a:solidFill>
                  <a:schemeClr val="accent1"/>
                </a:solidFill>
                <a:latin typeface="IBM Plex Sans Light" panose="020B0403050203000203" pitchFamily="34" charset="0"/>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a:prstGeom prst="rect">
            <a:avLst/>
          </a:prstGeom>
        </p:spPr>
        <p:txBody>
          <a:bodyPr/>
          <a:lstStyle>
            <a:lvl1pPr>
              <a:lnSpc>
                <a:spcPct val="100000"/>
              </a:lnSpc>
              <a:spcBef>
                <a:spcPts val="0"/>
              </a:spcBef>
              <a:defRPr sz="4299" b="0" i="0">
                <a:solidFill>
                  <a:schemeClr val="tx1"/>
                </a:solidFill>
                <a:latin typeface="IBM Plex Sans Light" panose="020B0403050203000203" pitchFamily="34" charset="0"/>
              </a:defRPr>
            </a:lvl1pPr>
            <a:lvl2pPr marL="163767" indent="-163767">
              <a:lnSpc>
                <a:spcPct val="100000"/>
              </a:lnSpc>
              <a:spcBef>
                <a:spcPts val="0"/>
              </a:spcBef>
              <a:defRPr sz="4299" b="0" i="0">
                <a:solidFill>
                  <a:schemeClr val="tx1"/>
                </a:solidFill>
                <a:latin typeface="IBM Plex Sans Light" panose="020B0403050203000203" pitchFamily="34" charset="0"/>
              </a:defRPr>
            </a:lvl2pPr>
            <a:lvl3pPr marL="329334" indent="-163767">
              <a:lnSpc>
                <a:spcPct val="100000"/>
              </a:lnSpc>
              <a:spcBef>
                <a:spcPts val="0"/>
              </a:spcBef>
              <a:defRPr sz="4299" b="0" i="0">
                <a:solidFill>
                  <a:schemeClr val="tx1"/>
                </a:solidFill>
                <a:latin typeface="IBM Plex Sans Light" panose="020B0403050203000203" pitchFamily="34" charset="0"/>
              </a:defRPr>
            </a:lvl3pPr>
            <a:lvl4pPr marL="493101" indent="-163767">
              <a:lnSpc>
                <a:spcPct val="100000"/>
              </a:lnSpc>
              <a:spcBef>
                <a:spcPts val="0"/>
              </a:spcBef>
              <a:defRPr sz="4299" b="0" i="0">
                <a:solidFill>
                  <a:schemeClr val="tx1"/>
                </a:solidFill>
                <a:latin typeface="IBM Plex Sans Light" panose="020B0403050203000203" pitchFamily="34" charset="0"/>
              </a:defRPr>
            </a:lvl4pPr>
            <a:lvl5pPr>
              <a:lnSpc>
                <a:spcPct val="100000"/>
              </a:lnSpc>
              <a:spcBef>
                <a:spcPts val="0"/>
              </a:spcBef>
              <a:defRPr sz="4299">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172608805"/>
      </p:ext>
    </p:extLst>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3" name="Picture 50">
            <a:extLst>
              <a:ext uri="{FF2B5EF4-FFF2-40B4-BE49-F238E27FC236}">
                <a16:creationId xmlns:a16="http://schemas.microsoft.com/office/drawing/2014/main" id="{218B194E-7D7F-4EC0-956A-8729AC4134B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50" y="0"/>
            <a:ext cx="12179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a:extLst>
              <a:ext uri="{FF2B5EF4-FFF2-40B4-BE49-F238E27FC236}">
                <a16:creationId xmlns:a16="http://schemas.microsoft.com/office/drawing/2014/main" id="{2CE35491-A45C-4B88-9A05-A30E7FD93C7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191875" y="6273800"/>
            <a:ext cx="69532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C66A39DC-64FC-496B-8362-398312C00956}"/>
              </a:ext>
            </a:extLst>
          </p:cNvPr>
          <p:cNvSpPr>
            <a:spLocks noGrp="1"/>
          </p:cNvSpPr>
          <p:nvPr>
            <p:ph type="ftr" sz="quarter" idx="10"/>
          </p:nvPr>
        </p:nvSpPr>
        <p:spPr/>
        <p:txBody>
          <a:bodyPr/>
          <a:lstStyle>
            <a:lvl1pPr>
              <a:defRPr>
                <a:solidFill>
                  <a:schemeClr val="tx1"/>
                </a:solidFill>
              </a:defRPr>
            </a:lvl1pPr>
          </a:lstStyle>
          <a:p>
            <a:pPr>
              <a:defRPr/>
            </a:pPr>
            <a:r>
              <a:rPr lang="en-US"/>
              <a:t>Group Name / DOC ID / Month XX, 2022 / © 2022 IBM Corporation</a:t>
            </a:r>
          </a:p>
        </p:txBody>
      </p:sp>
    </p:spTree>
    <p:extLst>
      <p:ext uri="{BB962C8B-B14F-4D97-AF65-F5344CB8AC3E}">
        <p14:creationId xmlns:p14="http://schemas.microsoft.com/office/powerpoint/2010/main" val="341259004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3" name="Picture 50">
            <a:extLst>
              <a:ext uri="{FF2B5EF4-FFF2-40B4-BE49-F238E27FC236}">
                <a16:creationId xmlns:a16="http://schemas.microsoft.com/office/drawing/2014/main" id="{53EE3663-AD46-4F90-9952-0A131ECDC4D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50" y="0"/>
            <a:ext cx="12179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a:extLst>
              <a:ext uri="{FF2B5EF4-FFF2-40B4-BE49-F238E27FC236}">
                <a16:creationId xmlns:a16="http://schemas.microsoft.com/office/drawing/2014/main" id="{838709FF-C5F0-4AEE-A332-0269ED46367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191875" y="6273800"/>
            <a:ext cx="69532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327F8517-6E75-4FA8-8726-DFC1ADED6300}"/>
              </a:ext>
            </a:extLst>
          </p:cNvPr>
          <p:cNvSpPr>
            <a:spLocks noGrp="1"/>
          </p:cNvSpPr>
          <p:nvPr>
            <p:ph type="ftr" sz="quarter" idx="10"/>
          </p:nvPr>
        </p:nvSpPr>
        <p:spPr/>
        <p:txBody>
          <a:bodyPr/>
          <a:lstStyle>
            <a:lvl1pPr>
              <a:defRPr>
                <a:solidFill>
                  <a:schemeClr val="tx1"/>
                </a:solidFill>
              </a:defRPr>
            </a:lvl1pPr>
          </a:lstStyle>
          <a:p>
            <a:pPr>
              <a:defRPr/>
            </a:pPr>
            <a:r>
              <a:rPr lang="en-US"/>
              <a:t>Group Name / DOC ID / Month XX, 2022 / © 2022 IBM Corporation</a:t>
            </a:r>
          </a:p>
        </p:txBody>
      </p:sp>
    </p:spTree>
    <p:extLst>
      <p:ext uri="{BB962C8B-B14F-4D97-AF65-F5344CB8AC3E}">
        <p14:creationId xmlns:p14="http://schemas.microsoft.com/office/powerpoint/2010/main" val="22770263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3" name="Picture 50">
            <a:extLst>
              <a:ext uri="{FF2B5EF4-FFF2-40B4-BE49-F238E27FC236}">
                <a16:creationId xmlns:a16="http://schemas.microsoft.com/office/drawing/2014/main" id="{92ED733D-EC9C-4B2C-99FE-CB9052C8F03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50" y="0"/>
            <a:ext cx="12179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a:extLst>
              <a:ext uri="{FF2B5EF4-FFF2-40B4-BE49-F238E27FC236}">
                <a16:creationId xmlns:a16="http://schemas.microsoft.com/office/drawing/2014/main" id="{2BAFD861-EB1D-401B-856D-F86DF2150BF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191875" y="6273800"/>
            <a:ext cx="69532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AE55F00C-B154-44B4-90D4-E712E4E83F91}"/>
              </a:ext>
            </a:extLst>
          </p:cNvPr>
          <p:cNvSpPr>
            <a:spLocks noGrp="1"/>
          </p:cNvSpPr>
          <p:nvPr>
            <p:ph type="ftr" sz="quarter" idx="10"/>
          </p:nvPr>
        </p:nvSpPr>
        <p:spPr/>
        <p:txBody>
          <a:bodyPr/>
          <a:lstStyle>
            <a:lvl1pPr>
              <a:defRPr>
                <a:solidFill>
                  <a:schemeClr val="tx1"/>
                </a:solidFill>
              </a:defRPr>
            </a:lvl1pPr>
          </a:lstStyle>
          <a:p>
            <a:pPr>
              <a:defRPr/>
            </a:pPr>
            <a:r>
              <a:rPr lang="en-US"/>
              <a:t>Group Name / DOC ID / Month XX, 2022 / © 2022 IBM Corporation</a:t>
            </a:r>
          </a:p>
        </p:txBody>
      </p:sp>
    </p:spTree>
    <p:extLst>
      <p:ext uri="{BB962C8B-B14F-4D97-AF65-F5344CB8AC3E}">
        <p14:creationId xmlns:p14="http://schemas.microsoft.com/office/powerpoint/2010/main" val="243106669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3" name="Picture 50">
            <a:extLst>
              <a:ext uri="{FF2B5EF4-FFF2-40B4-BE49-F238E27FC236}">
                <a16:creationId xmlns:a16="http://schemas.microsoft.com/office/drawing/2014/main" id="{46EA837E-336E-47CE-BD94-C15456D818D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50" y="0"/>
            <a:ext cx="12179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a:extLst>
              <a:ext uri="{FF2B5EF4-FFF2-40B4-BE49-F238E27FC236}">
                <a16:creationId xmlns:a16="http://schemas.microsoft.com/office/drawing/2014/main" id="{B1319C40-F1EB-4ADD-8D53-F0F8F674AF3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191875" y="6273800"/>
            <a:ext cx="69532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2515281F-33F1-4755-BF7C-9672131461E0}"/>
              </a:ext>
            </a:extLst>
          </p:cNvPr>
          <p:cNvSpPr>
            <a:spLocks noGrp="1"/>
          </p:cNvSpPr>
          <p:nvPr>
            <p:ph type="ftr" sz="quarter" idx="10"/>
          </p:nvPr>
        </p:nvSpPr>
        <p:spPr/>
        <p:txBody>
          <a:bodyPr/>
          <a:lstStyle>
            <a:lvl1pPr>
              <a:defRPr>
                <a:solidFill>
                  <a:schemeClr val="tx1"/>
                </a:solidFill>
              </a:defRPr>
            </a:lvl1pPr>
          </a:lstStyle>
          <a:p>
            <a:pPr>
              <a:defRPr/>
            </a:pPr>
            <a:r>
              <a:rPr lang="en-US"/>
              <a:t>Group Name / DOC ID / Month XX, 2022 / © 2022 IBM Corporation</a:t>
            </a:r>
          </a:p>
        </p:txBody>
      </p:sp>
    </p:spTree>
    <p:extLst>
      <p:ext uri="{BB962C8B-B14F-4D97-AF65-F5344CB8AC3E}">
        <p14:creationId xmlns:p14="http://schemas.microsoft.com/office/powerpoint/2010/main" val="426756618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3" name="Picture 50">
            <a:extLst>
              <a:ext uri="{FF2B5EF4-FFF2-40B4-BE49-F238E27FC236}">
                <a16:creationId xmlns:a16="http://schemas.microsoft.com/office/drawing/2014/main" id="{73CD686D-7872-488C-8262-94C9C075AA2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6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a:extLst>
              <a:ext uri="{FF2B5EF4-FFF2-40B4-BE49-F238E27FC236}">
                <a16:creationId xmlns:a16="http://schemas.microsoft.com/office/drawing/2014/main" id="{21CF7A4B-7090-44F4-88E1-0621AAC058E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191875" y="6273800"/>
            <a:ext cx="69532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E761144B-5C7A-48C7-8C2F-837CB8A3A557}"/>
              </a:ext>
            </a:extLst>
          </p:cNvPr>
          <p:cNvSpPr>
            <a:spLocks noGrp="1"/>
          </p:cNvSpPr>
          <p:nvPr>
            <p:ph type="ftr" sz="quarter" idx="10"/>
          </p:nvPr>
        </p:nvSpPr>
        <p:spPr/>
        <p:txBody>
          <a:bodyPr/>
          <a:lstStyle>
            <a:lvl1pPr>
              <a:defRPr/>
            </a:lvl1pPr>
          </a:lstStyle>
          <a:p>
            <a:pPr>
              <a:defRPr/>
            </a:pPr>
            <a:r>
              <a:rPr lang="en-US"/>
              <a:t>Group Name / DOC ID / Month XX, 2022 / © 2022 IBM Corporation</a:t>
            </a:r>
          </a:p>
        </p:txBody>
      </p:sp>
    </p:spTree>
    <p:extLst>
      <p:ext uri="{BB962C8B-B14F-4D97-AF65-F5344CB8AC3E}">
        <p14:creationId xmlns:p14="http://schemas.microsoft.com/office/powerpoint/2010/main" val="402710342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3" name="Picture 50">
            <a:extLst>
              <a:ext uri="{FF2B5EF4-FFF2-40B4-BE49-F238E27FC236}">
                <a16:creationId xmlns:a16="http://schemas.microsoft.com/office/drawing/2014/main" id="{A08116FC-B706-47DE-9C55-F37A2AF0D68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288" y="4763"/>
            <a:ext cx="12171362" cy="685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a:extLst>
              <a:ext uri="{FF2B5EF4-FFF2-40B4-BE49-F238E27FC236}">
                <a16:creationId xmlns:a16="http://schemas.microsoft.com/office/drawing/2014/main" id="{2B74A906-6A17-428E-997D-4A263E63C21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191875" y="6273800"/>
            <a:ext cx="69532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4CC489C6-7654-4D91-90E1-5537BE5D4E6D}"/>
              </a:ext>
            </a:extLst>
          </p:cNvPr>
          <p:cNvSpPr>
            <a:spLocks noGrp="1"/>
          </p:cNvSpPr>
          <p:nvPr>
            <p:ph type="ftr" sz="quarter" idx="10"/>
          </p:nvPr>
        </p:nvSpPr>
        <p:spPr/>
        <p:txBody>
          <a:bodyPr/>
          <a:lstStyle>
            <a:lvl1pPr>
              <a:defRPr>
                <a:solidFill>
                  <a:schemeClr val="tx1"/>
                </a:solidFill>
              </a:defRPr>
            </a:lvl1pPr>
          </a:lstStyle>
          <a:p>
            <a:pPr>
              <a:defRPr/>
            </a:pPr>
            <a:r>
              <a:rPr lang="en-US"/>
              <a:t>Group Name / DOC ID / Month XX, 2022 / © 2022 IBM Corporation</a:t>
            </a:r>
          </a:p>
        </p:txBody>
      </p:sp>
    </p:spTree>
    <p:extLst>
      <p:ext uri="{BB962C8B-B14F-4D97-AF65-F5344CB8AC3E}">
        <p14:creationId xmlns:p14="http://schemas.microsoft.com/office/powerpoint/2010/main" val="177485117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3" name="Picture 50">
            <a:extLst>
              <a:ext uri="{FF2B5EF4-FFF2-40B4-BE49-F238E27FC236}">
                <a16:creationId xmlns:a16="http://schemas.microsoft.com/office/drawing/2014/main" id="{F387E86B-954C-4D0F-A5B7-411BCDA09C5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50" y="0"/>
            <a:ext cx="12179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a:extLst>
              <a:ext uri="{FF2B5EF4-FFF2-40B4-BE49-F238E27FC236}">
                <a16:creationId xmlns:a16="http://schemas.microsoft.com/office/drawing/2014/main" id="{4599E6AE-0F57-44CD-B150-8F7C36F3E6E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191875" y="6273800"/>
            <a:ext cx="69532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1947C8CE-2F36-4E7E-81C6-19E21184F567}"/>
              </a:ext>
            </a:extLst>
          </p:cNvPr>
          <p:cNvSpPr>
            <a:spLocks noGrp="1"/>
          </p:cNvSpPr>
          <p:nvPr>
            <p:ph type="ftr" sz="quarter" idx="10"/>
          </p:nvPr>
        </p:nvSpPr>
        <p:spPr/>
        <p:txBody>
          <a:bodyPr/>
          <a:lstStyle>
            <a:lvl1pPr>
              <a:defRPr>
                <a:solidFill>
                  <a:schemeClr val="tx1"/>
                </a:solidFill>
              </a:defRPr>
            </a:lvl1pPr>
          </a:lstStyle>
          <a:p>
            <a:pPr>
              <a:defRPr/>
            </a:pPr>
            <a:r>
              <a:rPr lang="en-US"/>
              <a:t>Group Name / DOC ID / Month XX, 2022 / © 2022 IBM Corporation</a:t>
            </a:r>
          </a:p>
        </p:txBody>
      </p:sp>
    </p:spTree>
    <p:extLst>
      <p:ext uri="{BB962C8B-B14F-4D97-AF65-F5344CB8AC3E}">
        <p14:creationId xmlns:p14="http://schemas.microsoft.com/office/powerpoint/2010/main" val="341622271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3" name="Picture 50">
            <a:extLst>
              <a:ext uri="{FF2B5EF4-FFF2-40B4-BE49-F238E27FC236}">
                <a16:creationId xmlns:a16="http://schemas.microsoft.com/office/drawing/2014/main" id="{7A0B253E-5DD6-4219-8539-509A87BD1BA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50" y="0"/>
            <a:ext cx="12179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a:extLst>
              <a:ext uri="{FF2B5EF4-FFF2-40B4-BE49-F238E27FC236}">
                <a16:creationId xmlns:a16="http://schemas.microsoft.com/office/drawing/2014/main" id="{0303A6FA-36C6-4E80-B2B6-114ABAD9C32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191875" y="6273800"/>
            <a:ext cx="69532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A242B7CB-B93A-4EE1-89AC-317D48B31AAB}"/>
              </a:ext>
            </a:extLst>
          </p:cNvPr>
          <p:cNvSpPr>
            <a:spLocks noGrp="1"/>
          </p:cNvSpPr>
          <p:nvPr>
            <p:ph type="ftr" sz="quarter" idx="10"/>
          </p:nvPr>
        </p:nvSpPr>
        <p:spPr/>
        <p:txBody>
          <a:bodyPr/>
          <a:lstStyle>
            <a:lvl1pPr>
              <a:defRPr>
                <a:solidFill>
                  <a:schemeClr val="tx1"/>
                </a:solidFill>
              </a:defRPr>
            </a:lvl1pPr>
          </a:lstStyle>
          <a:p>
            <a:pPr>
              <a:defRPr/>
            </a:pPr>
            <a:r>
              <a:rPr lang="en-US"/>
              <a:t>Group Name / DOC ID / Month XX, 2022 / © 2022 IBM Corporation</a:t>
            </a:r>
          </a:p>
        </p:txBody>
      </p:sp>
    </p:spTree>
    <p:extLst>
      <p:ext uri="{BB962C8B-B14F-4D97-AF65-F5344CB8AC3E}">
        <p14:creationId xmlns:p14="http://schemas.microsoft.com/office/powerpoint/2010/main" val="405559529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a:extLst>
              <a:ext uri="{FF2B5EF4-FFF2-40B4-BE49-F238E27FC236}">
                <a16:creationId xmlns:a16="http://schemas.microsoft.com/office/drawing/2014/main" id="{D90435DC-37FD-42F5-99A0-96018342F7F3}"/>
              </a:ext>
            </a:extLst>
          </p:cNvPr>
          <p:cNvSpPr>
            <a:spLocks noGrp="1"/>
          </p:cNvSpPr>
          <p:nvPr>
            <p:ph type="ftr" sz="quarter" idx="10"/>
          </p:nvPr>
        </p:nvSpPr>
        <p:spPr/>
        <p:txBody>
          <a:bodyPr/>
          <a:lstStyle>
            <a:lvl1pPr>
              <a:defRPr/>
            </a:lvl1pPr>
          </a:lstStyle>
          <a:p>
            <a:pPr>
              <a:defRPr/>
            </a:pPr>
            <a:r>
              <a:rPr lang="en-US"/>
              <a:t>Group Name / DOC ID / Month XX, 2022 / © 2022 IBM Corporation</a:t>
            </a:r>
          </a:p>
        </p:txBody>
      </p:sp>
      <p:sp>
        <p:nvSpPr>
          <p:cNvPr id="4" name="Slide Number Placeholder">
            <a:extLst>
              <a:ext uri="{FF2B5EF4-FFF2-40B4-BE49-F238E27FC236}">
                <a16:creationId xmlns:a16="http://schemas.microsoft.com/office/drawing/2014/main" id="{F2021722-2F35-467F-B725-871A047CE65C}"/>
              </a:ext>
            </a:extLst>
          </p:cNvPr>
          <p:cNvSpPr>
            <a:spLocks noGrp="1"/>
          </p:cNvSpPr>
          <p:nvPr>
            <p:ph type="sldNum" sz="quarter" idx="11"/>
          </p:nvPr>
        </p:nvSpPr>
        <p:spPr/>
        <p:txBody>
          <a:bodyPr/>
          <a:lstStyle>
            <a:lvl1pPr>
              <a:defRPr/>
            </a:lvl1pPr>
          </a:lstStyle>
          <a:p>
            <a:pPr>
              <a:defRPr/>
            </a:pPr>
            <a:fld id="{87CB68E2-39FA-4B2E-BC74-94306B8E3DAE}" type="slidenum">
              <a:rPr lang="en-US"/>
              <a:pPr>
                <a:defRPr/>
              </a:pPr>
              <a:t>‹#›</a:t>
            </a:fld>
            <a:endParaRPr lang="en-US"/>
          </a:p>
        </p:txBody>
      </p:sp>
    </p:spTree>
    <p:extLst>
      <p:ext uri="{BB962C8B-B14F-4D97-AF65-F5344CB8AC3E}">
        <p14:creationId xmlns:p14="http://schemas.microsoft.com/office/powerpoint/2010/main" val="218697287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13" indent="0">
              <a:buNone/>
              <a:defRPr/>
            </a:lvl3pPr>
            <a:lvl4pPr marL="579960" indent="0">
              <a:buNone/>
              <a:defRPr/>
            </a:lvl4pPr>
            <a:lvl5pPr marL="8424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13" indent="0">
              <a:buNone/>
              <a:defRPr/>
            </a:lvl3pPr>
            <a:lvl4pPr marL="579960" indent="0">
              <a:buNone/>
              <a:defRPr/>
            </a:lvl4pPr>
            <a:lvl5pPr marL="8424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a:extLst>
              <a:ext uri="{FF2B5EF4-FFF2-40B4-BE49-F238E27FC236}">
                <a16:creationId xmlns:a16="http://schemas.microsoft.com/office/drawing/2014/main" id="{C13078E5-20D0-4F64-A389-10EA450D83B5}"/>
              </a:ext>
            </a:extLst>
          </p:cNvPr>
          <p:cNvSpPr>
            <a:spLocks noGrp="1"/>
          </p:cNvSpPr>
          <p:nvPr>
            <p:ph type="ftr" sz="quarter" idx="14"/>
          </p:nvPr>
        </p:nvSpPr>
        <p:spPr/>
        <p:txBody>
          <a:bodyPr/>
          <a:lstStyle>
            <a:lvl1pPr>
              <a:defRPr/>
            </a:lvl1pPr>
          </a:lstStyle>
          <a:p>
            <a:pPr>
              <a:defRPr/>
            </a:pPr>
            <a:r>
              <a:rPr lang="en-US"/>
              <a:t>Group Name / DOC ID / Month XX, 2022 / © 2022 IBM Corporation</a:t>
            </a:r>
          </a:p>
        </p:txBody>
      </p:sp>
      <p:sp>
        <p:nvSpPr>
          <p:cNvPr id="7" name="Slide Number Placeholder">
            <a:extLst>
              <a:ext uri="{FF2B5EF4-FFF2-40B4-BE49-F238E27FC236}">
                <a16:creationId xmlns:a16="http://schemas.microsoft.com/office/drawing/2014/main" id="{D468D4C3-39D4-4EC9-A32A-37EEB2AA486C}"/>
              </a:ext>
            </a:extLst>
          </p:cNvPr>
          <p:cNvSpPr>
            <a:spLocks noGrp="1"/>
          </p:cNvSpPr>
          <p:nvPr>
            <p:ph type="sldNum" sz="quarter" idx="15"/>
          </p:nvPr>
        </p:nvSpPr>
        <p:spPr/>
        <p:txBody>
          <a:bodyPr/>
          <a:lstStyle>
            <a:lvl1pPr>
              <a:defRPr/>
            </a:lvl1pPr>
          </a:lstStyle>
          <a:p>
            <a:pPr>
              <a:defRPr/>
            </a:pPr>
            <a:fld id="{EEEB802C-7237-4AF5-AF98-2B169110C96A}" type="slidenum">
              <a:rPr lang="en-US"/>
              <a:pPr>
                <a:defRPr/>
              </a:pPr>
              <a:t>‹#›</a:t>
            </a:fld>
            <a:endParaRPr lang="en-US"/>
          </a:p>
        </p:txBody>
      </p:sp>
    </p:spTree>
    <p:extLst>
      <p:ext uri="{BB962C8B-B14F-4D97-AF65-F5344CB8AC3E}">
        <p14:creationId xmlns:p14="http://schemas.microsoft.com/office/powerpoint/2010/main" val="4429383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1429544"/>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a:lnSpc>
                <a:spcPct val="100000"/>
              </a:lnSpc>
              <a:spcBef>
                <a:spcPts val="0"/>
              </a:spcBef>
              <a:defRPr sz="800" b="0" i="0">
                <a:solidFill>
                  <a:schemeClr val="tx1"/>
                </a:solidFill>
                <a:latin typeface="IBM Plex Sans Light" panose="020B0403050203000203" pitchFamily="34" charset="0"/>
              </a:defRPr>
            </a:lvl2pPr>
            <a:lvl3pPr>
              <a:lnSpc>
                <a:spcPct val="100000"/>
              </a:lnSpc>
              <a:spcBef>
                <a:spcPts val="0"/>
              </a:spcBef>
              <a:defRPr sz="800" b="0" i="0">
                <a:solidFill>
                  <a:schemeClr val="tx1"/>
                </a:solidFill>
                <a:latin typeface="IBM Plex Sans Light" panose="020B0403050203000203" pitchFamily="34" charset="0"/>
              </a:defRPr>
            </a:lvl3pPr>
            <a:lvl4pPr>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192600"/>
            <a:ext cx="3809504" cy="1429544"/>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093976"/>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01668"/>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744496531"/>
      </p:ext>
    </p:extLst>
  </p:cSld>
  <p:clrMapOvr>
    <a:masterClrMapping/>
  </p:clrMapOvr>
  <p:transition spd="med"/>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a:t>Click to edit Master text styles</a:t>
            </a:r>
          </a:p>
        </p:txBody>
      </p:sp>
      <p:sp>
        <p:nvSpPr>
          <p:cNvPr id="4" name="Footer Placeholder">
            <a:extLst>
              <a:ext uri="{FF2B5EF4-FFF2-40B4-BE49-F238E27FC236}">
                <a16:creationId xmlns:a16="http://schemas.microsoft.com/office/drawing/2014/main" id="{6F6D0AD5-2D85-4B40-8F39-28C01914B592}"/>
              </a:ext>
            </a:extLst>
          </p:cNvPr>
          <p:cNvSpPr>
            <a:spLocks noGrp="1"/>
          </p:cNvSpPr>
          <p:nvPr>
            <p:ph type="ftr" sz="quarter" idx="13"/>
          </p:nvPr>
        </p:nvSpPr>
        <p:spPr/>
        <p:txBody>
          <a:bodyPr/>
          <a:lstStyle>
            <a:lvl1pPr>
              <a:defRPr/>
            </a:lvl1pPr>
          </a:lstStyle>
          <a:p>
            <a:pPr>
              <a:defRPr/>
            </a:pPr>
            <a:r>
              <a:rPr lang="en-US"/>
              <a:t>Group Name / DOC ID / Month XX, 2022 / © 2022 IBM Corporation</a:t>
            </a:r>
          </a:p>
        </p:txBody>
      </p:sp>
      <p:sp>
        <p:nvSpPr>
          <p:cNvPr id="5" name="Slide Number Placeholder">
            <a:extLst>
              <a:ext uri="{FF2B5EF4-FFF2-40B4-BE49-F238E27FC236}">
                <a16:creationId xmlns:a16="http://schemas.microsoft.com/office/drawing/2014/main" id="{50321A91-F271-4C56-B59D-B67DBEECA02D}"/>
              </a:ext>
            </a:extLst>
          </p:cNvPr>
          <p:cNvSpPr>
            <a:spLocks noGrp="1"/>
          </p:cNvSpPr>
          <p:nvPr>
            <p:ph type="sldNum" sz="quarter" idx="14"/>
          </p:nvPr>
        </p:nvSpPr>
        <p:spPr/>
        <p:txBody>
          <a:bodyPr/>
          <a:lstStyle>
            <a:lvl1pPr>
              <a:defRPr/>
            </a:lvl1pPr>
          </a:lstStyle>
          <a:p>
            <a:pPr>
              <a:defRPr/>
            </a:pPr>
            <a:fld id="{11F386E3-780F-494B-8137-AA970F813943}" type="slidenum">
              <a:rPr lang="en-US"/>
              <a:pPr>
                <a:defRPr/>
              </a:pPr>
              <a:t>‹#›</a:t>
            </a:fld>
            <a:endParaRPr lang="en-US"/>
          </a:p>
        </p:txBody>
      </p:sp>
    </p:spTree>
    <p:extLst>
      <p:ext uri="{BB962C8B-B14F-4D97-AF65-F5344CB8AC3E}">
        <p14:creationId xmlns:p14="http://schemas.microsoft.com/office/powerpoint/2010/main" val="208159023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rtlCol="0">
            <a:noAutofit/>
          </a:bodyPr>
          <a:lstStyle>
            <a:lvl1pPr>
              <a:defRPr b="0" i="0" baseline="0">
                <a:solidFill>
                  <a:schemeClr val="tx1"/>
                </a:solidFill>
                <a:latin typeface="IBM Plex Sans Light" panose="020B0403050203000203" pitchFamily="34" charset="0"/>
              </a:defRPr>
            </a:lvl1pPr>
          </a:lstStyle>
          <a:p>
            <a:pPr lvl="0"/>
            <a:r>
              <a:rPr lang="en-US" noProof="0"/>
              <a:t>Click icon to add picture</a:t>
            </a:r>
          </a:p>
        </p:txBody>
      </p:sp>
      <p:sp>
        <p:nvSpPr>
          <p:cNvPr id="5" name="Footer Placeholder">
            <a:extLst>
              <a:ext uri="{FF2B5EF4-FFF2-40B4-BE49-F238E27FC236}">
                <a16:creationId xmlns:a16="http://schemas.microsoft.com/office/drawing/2014/main" id="{2548A171-12AB-44FC-8ABF-62BFB88BD7ED}"/>
              </a:ext>
            </a:extLst>
          </p:cNvPr>
          <p:cNvSpPr>
            <a:spLocks noGrp="1"/>
          </p:cNvSpPr>
          <p:nvPr>
            <p:ph type="ftr" sz="quarter" idx="14"/>
          </p:nvPr>
        </p:nvSpPr>
        <p:spPr/>
        <p:txBody>
          <a:bodyPr/>
          <a:lstStyle>
            <a:lvl1pPr>
              <a:defRPr/>
            </a:lvl1pPr>
          </a:lstStyle>
          <a:p>
            <a:pPr>
              <a:defRPr/>
            </a:pPr>
            <a:r>
              <a:rPr lang="en-US"/>
              <a:t>Group Name / DOC ID / Month XX, 2022 / © 2022 IBM Corporation</a:t>
            </a:r>
          </a:p>
        </p:txBody>
      </p:sp>
      <p:sp>
        <p:nvSpPr>
          <p:cNvPr id="8" name="Slide Number Placeholder">
            <a:extLst>
              <a:ext uri="{FF2B5EF4-FFF2-40B4-BE49-F238E27FC236}">
                <a16:creationId xmlns:a16="http://schemas.microsoft.com/office/drawing/2014/main" id="{E79F5868-533A-4D35-932B-15FE93A48095}"/>
              </a:ext>
            </a:extLst>
          </p:cNvPr>
          <p:cNvSpPr>
            <a:spLocks noGrp="1"/>
          </p:cNvSpPr>
          <p:nvPr>
            <p:ph type="sldNum" sz="quarter" idx="15"/>
          </p:nvPr>
        </p:nvSpPr>
        <p:spPr/>
        <p:txBody>
          <a:bodyPr/>
          <a:lstStyle>
            <a:lvl1pPr>
              <a:defRPr/>
            </a:lvl1pPr>
          </a:lstStyle>
          <a:p>
            <a:pPr>
              <a:defRPr/>
            </a:pPr>
            <a:fld id="{8B36855B-4A4A-4761-8903-A81D6D2F82F8}" type="slidenum">
              <a:rPr lang="en-US"/>
              <a:pPr>
                <a:defRPr/>
              </a:pPr>
              <a:t>‹#›</a:t>
            </a:fld>
            <a:endParaRPr lang="en-US"/>
          </a:p>
        </p:txBody>
      </p:sp>
    </p:spTree>
    <p:extLst>
      <p:ext uri="{BB962C8B-B14F-4D97-AF65-F5344CB8AC3E}">
        <p14:creationId xmlns:p14="http://schemas.microsoft.com/office/powerpoint/2010/main" val="67187742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a:extLst>
              <a:ext uri="{FF2B5EF4-FFF2-40B4-BE49-F238E27FC236}">
                <a16:creationId xmlns:a16="http://schemas.microsoft.com/office/drawing/2014/main" id="{669DBB66-F752-4162-89C9-F33DAC8E697E}"/>
              </a:ext>
            </a:extLst>
          </p:cNvPr>
          <p:cNvSpPr>
            <a:spLocks noGrp="1"/>
          </p:cNvSpPr>
          <p:nvPr>
            <p:ph type="ftr" sz="quarter" idx="10"/>
          </p:nvPr>
        </p:nvSpPr>
        <p:spPr/>
        <p:txBody>
          <a:bodyPr/>
          <a:lstStyle>
            <a:lvl1pPr>
              <a:defRPr/>
            </a:lvl1pPr>
          </a:lstStyle>
          <a:p>
            <a:pPr>
              <a:defRPr/>
            </a:pPr>
            <a:r>
              <a:rPr lang="en-US"/>
              <a:t>Group Name / DOC ID / Month XX, 2022 / © 2022 IBM Corporation</a:t>
            </a:r>
          </a:p>
        </p:txBody>
      </p:sp>
      <p:sp>
        <p:nvSpPr>
          <p:cNvPr id="4" name="Slide Number Placeholder">
            <a:extLst>
              <a:ext uri="{FF2B5EF4-FFF2-40B4-BE49-F238E27FC236}">
                <a16:creationId xmlns:a16="http://schemas.microsoft.com/office/drawing/2014/main" id="{C8B337A3-7E77-4338-AD20-B39560721920}"/>
              </a:ext>
            </a:extLst>
          </p:cNvPr>
          <p:cNvSpPr>
            <a:spLocks noGrp="1"/>
          </p:cNvSpPr>
          <p:nvPr>
            <p:ph type="sldNum" sz="quarter" idx="11"/>
          </p:nvPr>
        </p:nvSpPr>
        <p:spPr/>
        <p:txBody>
          <a:bodyPr/>
          <a:lstStyle>
            <a:lvl1pPr>
              <a:defRPr/>
            </a:lvl1pPr>
          </a:lstStyle>
          <a:p>
            <a:pPr>
              <a:defRPr/>
            </a:pPr>
            <a:fld id="{33209091-DD23-4C23-B6E7-79773A587BEE}" type="slidenum">
              <a:rPr lang="en-US"/>
              <a:pPr>
                <a:defRPr/>
              </a:pPr>
              <a:t>‹#›</a:t>
            </a:fld>
            <a:endParaRPr lang="en-US"/>
          </a:p>
        </p:txBody>
      </p:sp>
    </p:spTree>
    <p:extLst>
      <p:ext uri="{BB962C8B-B14F-4D97-AF65-F5344CB8AC3E}">
        <p14:creationId xmlns:p14="http://schemas.microsoft.com/office/powerpoint/2010/main" val="418399103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lvl1pPr>
              <a:defRPr>
                <a:solidFill>
                  <a:schemeClr val="accent2"/>
                </a:solidFill>
              </a:defRPr>
            </a:lvl1pPr>
          </a:lstStyle>
          <a:p>
            <a:r>
              <a:rPr lang="en-US"/>
              <a:t>Click to edit Master title style</a:t>
            </a:r>
            <a:endParaRPr lang="en-US" dirty="0"/>
          </a:p>
        </p:txBody>
      </p:sp>
      <p:sp>
        <p:nvSpPr>
          <p:cNvPr id="3" name="Footer Placeholder">
            <a:extLst>
              <a:ext uri="{FF2B5EF4-FFF2-40B4-BE49-F238E27FC236}">
                <a16:creationId xmlns:a16="http://schemas.microsoft.com/office/drawing/2014/main" id="{7E30E97F-228E-4B50-8F3B-14C657DEA6D2}"/>
              </a:ext>
            </a:extLst>
          </p:cNvPr>
          <p:cNvSpPr>
            <a:spLocks noGrp="1"/>
          </p:cNvSpPr>
          <p:nvPr>
            <p:ph type="ftr" sz="quarter" idx="10"/>
          </p:nvPr>
        </p:nvSpPr>
        <p:spPr/>
        <p:txBody>
          <a:bodyPr/>
          <a:lstStyle>
            <a:lvl1pPr>
              <a:defRPr/>
            </a:lvl1pPr>
          </a:lstStyle>
          <a:p>
            <a:pPr>
              <a:defRPr/>
            </a:pPr>
            <a:r>
              <a:rPr lang="en-US"/>
              <a:t>Group Name / DOC ID / Month XX, 2022 / © 2022 IBM Corporation</a:t>
            </a:r>
          </a:p>
        </p:txBody>
      </p:sp>
      <p:sp>
        <p:nvSpPr>
          <p:cNvPr id="4" name="Slide Number Placeholder">
            <a:extLst>
              <a:ext uri="{FF2B5EF4-FFF2-40B4-BE49-F238E27FC236}">
                <a16:creationId xmlns:a16="http://schemas.microsoft.com/office/drawing/2014/main" id="{A3A5B287-4ECC-47C7-A333-A8466CBCE00A}"/>
              </a:ext>
            </a:extLst>
          </p:cNvPr>
          <p:cNvSpPr>
            <a:spLocks noGrp="1"/>
          </p:cNvSpPr>
          <p:nvPr>
            <p:ph type="sldNum" sz="quarter" idx="11"/>
          </p:nvPr>
        </p:nvSpPr>
        <p:spPr/>
        <p:txBody>
          <a:bodyPr/>
          <a:lstStyle>
            <a:lvl1pPr>
              <a:defRPr/>
            </a:lvl1pPr>
          </a:lstStyle>
          <a:p>
            <a:pPr>
              <a:defRPr/>
            </a:pPr>
            <a:fld id="{83799256-CC8E-43DB-800E-602F4C4CC74C}" type="slidenum">
              <a:rPr lang="en-US"/>
              <a:pPr>
                <a:defRPr/>
              </a:pPr>
              <a:t>‹#›</a:t>
            </a:fld>
            <a:endParaRPr lang="en-US"/>
          </a:p>
        </p:txBody>
      </p:sp>
    </p:spTree>
    <p:extLst>
      <p:ext uri="{BB962C8B-B14F-4D97-AF65-F5344CB8AC3E}">
        <p14:creationId xmlns:p14="http://schemas.microsoft.com/office/powerpoint/2010/main" val="332731413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a:extLst>
              <a:ext uri="{FF2B5EF4-FFF2-40B4-BE49-F238E27FC236}">
                <a16:creationId xmlns:a16="http://schemas.microsoft.com/office/drawing/2014/main" id="{39DAF9B1-649C-4CB1-9D0A-D06B79E30858}"/>
              </a:ext>
            </a:extLst>
          </p:cNvPr>
          <p:cNvSpPr>
            <a:spLocks noGrp="1"/>
          </p:cNvSpPr>
          <p:nvPr>
            <p:ph type="ftr" sz="quarter" idx="13"/>
          </p:nvPr>
        </p:nvSpPr>
        <p:spPr/>
        <p:txBody>
          <a:bodyPr/>
          <a:lstStyle>
            <a:lvl1pPr>
              <a:defRPr/>
            </a:lvl1pPr>
          </a:lstStyle>
          <a:p>
            <a:pPr>
              <a:defRPr/>
            </a:pPr>
            <a:r>
              <a:rPr lang="en-US"/>
              <a:t>Group Name / DOC ID / Month XX, 2022 / © 2022 IBM Corporation</a:t>
            </a:r>
          </a:p>
        </p:txBody>
      </p:sp>
      <p:sp>
        <p:nvSpPr>
          <p:cNvPr id="5" name="Slide Number Placeholder">
            <a:extLst>
              <a:ext uri="{FF2B5EF4-FFF2-40B4-BE49-F238E27FC236}">
                <a16:creationId xmlns:a16="http://schemas.microsoft.com/office/drawing/2014/main" id="{6217C387-6D1A-43B9-B858-7B84710CAC10}"/>
              </a:ext>
            </a:extLst>
          </p:cNvPr>
          <p:cNvSpPr>
            <a:spLocks noGrp="1"/>
          </p:cNvSpPr>
          <p:nvPr>
            <p:ph type="sldNum" sz="quarter" idx="14"/>
          </p:nvPr>
        </p:nvSpPr>
        <p:spPr/>
        <p:txBody>
          <a:bodyPr/>
          <a:lstStyle>
            <a:lvl1pPr>
              <a:defRPr/>
            </a:lvl1pPr>
          </a:lstStyle>
          <a:p>
            <a:pPr>
              <a:defRPr/>
            </a:pPr>
            <a:fld id="{DC254CFD-2EC2-40EA-90A3-E85A52A30F08}" type="slidenum">
              <a:rPr lang="en-US"/>
              <a:pPr>
                <a:defRPr/>
              </a:pPr>
              <a:t>‹#›</a:t>
            </a:fld>
            <a:endParaRPr lang="en-US"/>
          </a:p>
        </p:txBody>
      </p:sp>
    </p:spTree>
    <p:extLst>
      <p:ext uri="{BB962C8B-B14F-4D97-AF65-F5344CB8AC3E}">
        <p14:creationId xmlns:p14="http://schemas.microsoft.com/office/powerpoint/2010/main" val="418321960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10" y="1658112"/>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a:extLst>
              <a:ext uri="{FF2B5EF4-FFF2-40B4-BE49-F238E27FC236}">
                <a16:creationId xmlns:a16="http://schemas.microsoft.com/office/drawing/2014/main" id="{BD2B4EC8-48B8-4162-9140-21304DD8F684}"/>
              </a:ext>
            </a:extLst>
          </p:cNvPr>
          <p:cNvSpPr>
            <a:spLocks noGrp="1"/>
          </p:cNvSpPr>
          <p:nvPr>
            <p:ph type="ftr" sz="quarter" idx="14"/>
          </p:nvPr>
        </p:nvSpPr>
        <p:spPr/>
        <p:txBody>
          <a:bodyPr/>
          <a:lstStyle>
            <a:lvl1pPr>
              <a:defRPr/>
            </a:lvl1pPr>
          </a:lstStyle>
          <a:p>
            <a:pPr>
              <a:defRPr/>
            </a:pPr>
            <a:r>
              <a:rPr lang="en-US"/>
              <a:t>Group Name / DOC ID / Month XX, 2022 / © 2022 IBM Corporation</a:t>
            </a:r>
          </a:p>
        </p:txBody>
      </p:sp>
      <p:sp>
        <p:nvSpPr>
          <p:cNvPr id="7" name="Slide Number Placeholder">
            <a:extLst>
              <a:ext uri="{FF2B5EF4-FFF2-40B4-BE49-F238E27FC236}">
                <a16:creationId xmlns:a16="http://schemas.microsoft.com/office/drawing/2014/main" id="{18FC6D29-EB5F-443B-815A-1149DAC7DBB0}"/>
              </a:ext>
            </a:extLst>
          </p:cNvPr>
          <p:cNvSpPr>
            <a:spLocks noGrp="1"/>
          </p:cNvSpPr>
          <p:nvPr>
            <p:ph type="sldNum" sz="quarter" idx="15"/>
          </p:nvPr>
        </p:nvSpPr>
        <p:spPr/>
        <p:txBody>
          <a:bodyPr/>
          <a:lstStyle>
            <a:lvl1pPr>
              <a:defRPr/>
            </a:lvl1pPr>
          </a:lstStyle>
          <a:p>
            <a:pPr>
              <a:defRPr/>
            </a:pPr>
            <a:fld id="{B1547720-969A-409D-A0FE-F7B794F1ED80}" type="slidenum">
              <a:rPr lang="en-US"/>
              <a:pPr>
                <a:defRPr/>
              </a:pPr>
              <a:t>‹#›</a:t>
            </a:fld>
            <a:endParaRPr lang="en-US"/>
          </a:p>
        </p:txBody>
      </p:sp>
    </p:spTree>
    <p:extLst>
      <p:ext uri="{BB962C8B-B14F-4D97-AF65-F5344CB8AC3E}">
        <p14:creationId xmlns:p14="http://schemas.microsoft.com/office/powerpoint/2010/main" val="268149728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2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a:extLst>
              <a:ext uri="{FF2B5EF4-FFF2-40B4-BE49-F238E27FC236}">
                <a16:creationId xmlns:a16="http://schemas.microsoft.com/office/drawing/2014/main" id="{E48813CE-5A09-4B26-B6BB-0B08DAE396F3}"/>
              </a:ext>
            </a:extLst>
          </p:cNvPr>
          <p:cNvSpPr>
            <a:spLocks noGrp="1"/>
          </p:cNvSpPr>
          <p:nvPr>
            <p:ph type="ftr" sz="quarter" idx="14"/>
          </p:nvPr>
        </p:nvSpPr>
        <p:spPr/>
        <p:txBody>
          <a:bodyPr/>
          <a:lstStyle>
            <a:lvl1pPr>
              <a:defRPr/>
            </a:lvl1pPr>
          </a:lstStyle>
          <a:p>
            <a:pPr>
              <a:defRPr/>
            </a:pPr>
            <a:r>
              <a:rPr lang="en-US"/>
              <a:t>Group Name / DOC ID / Month XX, 2022 / © 2022 IBM Corporation</a:t>
            </a:r>
          </a:p>
        </p:txBody>
      </p:sp>
      <p:sp>
        <p:nvSpPr>
          <p:cNvPr id="8" name="Slide Number Placeholder">
            <a:extLst>
              <a:ext uri="{FF2B5EF4-FFF2-40B4-BE49-F238E27FC236}">
                <a16:creationId xmlns:a16="http://schemas.microsoft.com/office/drawing/2014/main" id="{D7D025D5-9C90-4A3F-8BFB-539D4940C612}"/>
              </a:ext>
            </a:extLst>
          </p:cNvPr>
          <p:cNvSpPr>
            <a:spLocks noGrp="1"/>
          </p:cNvSpPr>
          <p:nvPr>
            <p:ph type="sldNum" sz="quarter" idx="15"/>
          </p:nvPr>
        </p:nvSpPr>
        <p:spPr/>
        <p:txBody>
          <a:bodyPr/>
          <a:lstStyle>
            <a:lvl1pPr>
              <a:defRPr/>
            </a:lvl1pPr>
          </a:lstStyle>
          <a:p>
            <a:pPr>
              <a:defRPr/>
            </a:pPr>
            <a:fld id="{60496E6B-C487-4D60-A8F3-528020D97A5A}" type="slidenum">
              <a:rPr lang="en-US"/>
              <a:pPr>
                <a:defRPr/>
              </a:pPr>
              <a:t>‹#›</a:t>
            </a:fld>
            <a:endParaRPr lang="en-US"/>
          </a:p>
        </p:txBody>
      </p:sp>
    </p:spTree>
    <p:extLst>
      <p:ext uri="{BB962C8B-B14F-4D97-AF65-F5344CB8AC3E}">
        <p14:creationId xmlns:p14="http://schemas.microsoft.com/office/powerpoint/2010/main" val="154568184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a:extLst>
              <a:ext uri="{FF2B5EF4-FFF2-40B4-BE49-F238E27FC236}">
                <a16:creationId xmlns:a16="http://schemas.microsoft.com/office/drawing/2014/main" id="{0A73E127-050F-4ED3-B461-CF41BCD77AE9}"/>
              </a:ext>
            </a:extLst>
          </p:cNvPr>
          <p:cNvSpPr>
            <a:spLocks noGrp="1"/>
          </p:cNvSpPr>
          <p:nvPr>
            <p:ph type="ftr" sz="quarter" idx="16"/>
          </p:nvPr>
        </p:nvSpPr>
        <p:spPr/>
        <p:txBody>
          <a:bodyPr/>
          <a:lstStyle>
            <a:lvl1pPr>
              <a:defRPr/>
            </a:lvl1pPr>
          </a:lstStyle>
          <a:p>
            <a:pPr>
              <a:defRPr/>
            </a:pPr>
            <a:r>
              <a:rPr lang="en-US"/>
              <a:t>Group Name / DOC ID / Month XX, 2022 / © 2022 IBM Corporation</a:t>
            </a:r>
          </a:p>
        </p:txBody>
      </p:sp>
      <p:sp>
        <p:nvSpPr>
          <p:cNvPr id="9" name="Slide Number Placeholder">
            <a:extLst>
              <a:ext uri="{FF2B5EF4-FFF2-40B4-BE49-F238E27FC236}">
                <a16:creationId xmlns:a16="http://schemas.microsoft.com/office/drawing/2014/main" id="{9504E5E9-EC41-4A95-BF82-B5243271681B}"/>
              </a:ext>
            </a:extLst>
          </p:cNvPr>
          <p:cNvSpPr>
            <a:spLocks noGrp="1"/>
          </p:cNvSpPr>
          <p:nvPr>
            <p:ph type="sldNum" sz="quarter" idx="17"/>
          </p:nvPr>
        </p:nvSpPr>
        <p:spPr/>
        <p:txBody>
          <a:bodyPr/>
          <a:lstStyle>
            <a:lvl1pPr>
              <a:defRPr/>
            </a:lvl1pPr>
          </a:lstStyle>
          <a:p>
            <a:pPr>
              <a:defRPr/>
            </a:pPr>
            <a:fld id="{6CBCF755-B6E5-486C-A42A-55F2A3BBE24E}" type="slidenum">
              <a:rPr lang="en-US"/>
              <a:pPr>
                <a:defRPr/>
              </a:pPr>
              <a:t>‹#›</a:t>
            </a:fld>
            <a:endParaRPr lang="en-US"/>
          </a:p>
        </p:txBody>
      </p:sp>
    </p:spTree>
    <p:extLst>
      <p:ext uri="{BB962C8B-B14F-4D97-AF65-F5344CB8AC3E}">
        <p14:creationId xmlns:p14="http://schemas.microsoft.com/office/powerpoint/2010/main" val="176067326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rtlCol="0">
            <a:noAutofit/>
          </a:bodyPr>
          <a:lstStyle>
            <a:lvl1pPr>
              <a:defRPr>
                <a:solidFill>
                  <a:schemeClr val="tx1"/>
                </a:solidFill>
              </a:defRPr>
            </a:lvl1pPr>
          </a:lstStyle>
          <a:p>
            <a:pPr lvl="0"/>
            <a:r>
              <a:rPr lang="en-US" noProof="0"/>
              <a:t>Click icon to add picture</a:t>
            </a:r>
          </a:p>
        </p:txBody>
      </p:sp>
      <p:sp>
        <p:nvSpPr>
          <p:cNvPr id="5" name="Footer Placeholder">
            <a:extLst>
              <a:ext uri="{FF2B5EF4-FFF2-40B4-BE49-F238E27FC236}">
                <a16:creationId xmlns:a16="http://schemas.microsoft.com/office/drawing/2014/main" id="{B0295887-6107-4B40-A49E-9D8D367E6A72}"/>
              </a:ext>
            </a:extLst>
          </p:cNvPr>
          <p:cNvSpPr>
            <a:spLocks noGrp="1"/>
          </p:cNvSpPr>
          <p:nvPr>
            <p:ph type="ftr" sz="quarter" idx="15"/>
          </p:nvPr>
        </p:nvSpPr>
        <p:spPr/>
        <p:txBody>
          <a:bodyPr/>
          <a:lstStyle>
            <a:lvl1pPr>
              <a:defRPr/>
            </a:lvl1pPr>
          </a:lstStyle>
          <a:p>
            <a:pPr>
              <a:defRPr/>
            </a:pPr>
            <a:r>
              <a:rPr lang="en-US"/>
              <a:t>Group Name / DOC ID / Month XX, 2022 / © 2022 IBM Corporation</a:t>
            </a:r>
          </a:p>
        </p:txBody>
      </p:sp>
      <p:sp>
        <p:nvSpPr>
          <p:cNvPr id="6" name="Slide Number Placeholder">
            <a:extLst>
              <a:ext uri="{FF2B5EF4-FFF2-40B4-BE49-F238E27FC236}">
                <a16:creationId xmlns:a16="http://schemas.microsoft.com/office/drawing/2014/main" id="{FDF06D54-B05C-40D4-9416-D59424C595AC}"/>
              </a:ext>
            </a:extLst>
          </p:cNvPr>
          <p:cNvSpPr>
            <a:spLocks noGrp="1"/>
          </p:cNvSpPr>
          <p:nvPr>
            <p:ph type="sldNum" sz="quarter" idx="16"/>
          </p:nvPr>
        </p:nvSpPr>
        <p:spPr/>
        <p:txBody>
          <a:bodyPr/>
          <a:lstStyle>
            <a:lvl1pPr>
              <a:defRPr/>
            </a:lvl1pPr>
          </a:lstStyle>
          <a:p>
            <a:pPr>
              <a:defRPr/>
            </a:pPr>
            <a:fld id="{395474C0-356E-4A6F-8E9A-A41AE6D6FFE6}" type="slidenum">
              <a:rPr lang="en-US"/>
              <a:pPr>
                <a:defRPr/>
              </a:pPr>
              <a:t>‹#›</a:t>
            </a:fld>
            <a:endParaRPr lang="en-US"/>
          </a:p>
        </p:txBody>
      </p:sp>
    </p:spTree>
    <p:extLst>
      <p:ext uri="{BB962C8B-B14F-4D97-AF65-F5344CB8AC3E}">
        <p14:creationId xmlns:p14="http://schemas.microsoft.com/office/powerpoint/2010/main" val="151305328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6388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a:extLst>
              <a:ext uri="{FF2B5EF4-FFF2-40B4-BE49-F238E27FC236}">
                <a16:creationId xmlns:a16="http://schemas.microsoft.com/office/drawing/2014/main" id="{2242325E-524B-4C24-B94B-D7EE62CBC81E}"/>
              </a:ext>
            </a:extLst>
          </p:cNvPr>
          <p:cNvSpPr>
            <a:spLocks noGrp="1"/>
          </p:cNvSpPr>
          <p:nvPr>
            <p:ph type="ftr" sz="quarter" idx="14"/>
          </p:nvPr>
        </p:nvSpPr>
        <p:spPr/>
        <p:txBody>
          <a:bodyPr/>
          <a:lstStyle>
            <a:lvl1pPr>
              <a:defRPr/>
            </a:lvl1pPr>
          </a:lstStyle>
          <a:p>
            <a:pPr>
              <a:defRPr/>
            </a:pPr>
            <a:r>
              <a:rPr lang="en-US"/>
              <a:t>Group Name / DOC ID / Month XX, 2022 / © 2022 IBM Corporation</a:t>
            </a:r>
          </a:p>
        </p:txBody>
      </p:sp>
      <p:sp>
        <p:nvSpPr>
          <p:cNvPr id="8" name="Slide Number Placeholder">
            <a:extLst>
              <a:ext uri="{FF2B5EF4-FFF2-40B4-BE49-F238E27FC236}">
                <a16:creationId xmlns:a16="http://schemas.microsoft.com/office/drawing/2014/main" id="{C6AC7E24-6E74-4B94-AAB7-8D9FDA1E676D}"/>
              </a:ext>
            </a:extLst>
          </p:cNvPr>
          <p:cNvSpPr>
            <a:spLocks noGrp="1"/>
          </p:cNvSpPr>
          <p:nvPr>
            <p:ph type="sldNum" sz="quarter" idx="15"/>
          </p:nvPr>
        </p:nvSpPr>
        <p:spPr/>
        <p:txBody>
          <a:bodyPr/>
          <a:lstStyle>
            <a:lvl1pPr>
              <a:defRPr/>
            </a:lvl1pPr>
          </a:lstStyle>
          <a:p>
            <a:pPr>
              <a:defRPr/>
            </a:pPr>
            <a:fld id="{EE631CAC-37C3-45E6-BA39-F11929A903F2}" type="slidenum">
              <a:rPr lang="en-US"/>
              <a:pPr>
                <a:defRPr/>
              </a:pPr>
              <a:t>‹#›</a:t>
            </a:fld>
            <a:endParaRPr lang="en-US"/>
          </a:p>
        </p:txBody>
      </p:sp>
    </p:spTree>
    <p:extLst>
      <p:ext uri="{BB962C8B-B14F-4D97-AF65-F5344CB8AC3E}">
        <p14:creationId xmlns:p14="http://schemas.microsoft.com/office/powerpoint/2010/main" val="36208375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360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33475046"/>
      </p:ext>
    </p:extLst>
  </p:cSld>
  <p:clrMapOvr>
    <a:masterClrMapping/>
  </p:clrMapOvr>
  <p:transition spd="med"/>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4" name="Black rectangle" descr="&quot;&quot;">
            <a:extLst>
              <a:ext uri="{FF2B5EF4-FFF2-40B4-BE49-F238E27FC236}">
                <a16:creationId xmlns:a16="http://schemas.microsoft.com/office/drawing/2014/main" id="{A179A38F-AFC8-4DE4-9DCF-A8EE0234AC6A}"/>
              </a:ext>
            </a:extLst>
          </p:cNvPr>
          <p:cNvSpPr>
            <a:spLocks noChangeArrowheads="1"/>
          </p:cNvSpPr>
          <p:nvPr userDrawn="1"/>
        </p:nvSpPr>
        <p:spPr bwMode="auto">
          <a:xfrm>
            <a:off x="6096000" y="0"/>
            <a:ext cx="6096000" cy="6858000"/>
          </a:xfrm>
          <a:prstGeom prst="rect">
            <a:avLst/>
          </a:prstGeom>
          <a:solidFill>
            <a:schemeClr val="tx2"/>
          </a:solidFill>
          <a:ln>
            <a:noFill/>
          </a:ln>
        </p:spPr>
        <p:txBody>
          <a:bodyPr lIns="0" tIns="0" rIns="0" bIns="0" anchor="ctr"/>
          <a:lstStyle>
            <a:lvl1pPr>
              <a:defRPr>
                <a:solidFill>
                  <a:schemeClr val="tx1"/>
                </a:solidFill>
                <a:latin typeface="IBM Plex Sans Light" panose="020B0403050203000203" pitchFamily="34" charset="0"/>
              </a:defRPr>
            </a:lvl1pPr>
            <a:lvl2pPr marL="742950" indent="-285750">
              <a:defRPr>
                <a:solidFill>
                  <a:schemeClr val="tx1"/>
                </a:solidFill>
                <a:latin typeface="IBM Plex Sans Light" panose="020B0403050203000203" pitchFamily="34" charset="0"/>
              </a:defRPr>
            </a:lvl2pPr>
            <a:lvl3pPr marL="1143000" indent="-228600">
              <a:defRPr>
                <a:solidFill>
                  <a:schemeClr val="tx1"/>
                </a:solidFill>
                <a:latin typeface="IBM Plex Sans Light" panose="020B0403050203000203" pitchFamily="34" charset="0"/>
              </a:defRPr>
            </a:lvl3pPr>
            <a:lvl4pPr marL="1600200" indent="-228600">
              <a:defRPr>
                <a:solidFill>
                  <a:schemeClr val="tx1"/>
                </a:solidFill>
                <a:latin typeface="IBM Plex Sans Light" panose="020B0403050203000203" pitchFamily="34" charset="0"/>
              </a:defRPr>
            </a:lvl4pPr>
            <a:lvl5pPr marL="2057400" indent="-228600">
              <a:defRPr>
                <a:solidFill>
                  <a:schemeClr val="tx1"/>
                </a:solidFill>
                <a:latin typeface="IBM Plex Sans Light" panose="020B0403050203000203" pitchFamily="34" charset="0"/>
              </a:defRPr>
            </a:lvl5pPr>
            <a:lvl6pPr marL="2514600" indent="-228600" fontAlgn="base">
              <a:spcBef>
                <a:spcPct val="0"/>
              </a:spcBef>
              <a:spcAft>
                <a:spcPct val="0"/>
              </a:spcAft>
              <a:defRPr>
                <a:solidFill>
                  <a:schemeClr val="tx1"/>
                </a:solidFill>
                <a:latin typeface="IBM Plex Sans Light" panose="020B0403050203000203" pitchFamily="34" charset="0"/>
              </a:defRPr>
            </a:lvl6pPr>
            <a:lvl7pPr marL="2971800" indent="-228600" fontAlgn="base">
              <a:spcBef>
                <a:spcPct val="0"/>
              </a:spcBef>
              <a:spcAft>
                <a:spcPct val="0"/>
              </a:spcAft>
              <a:defRPr>
                <a:solidFill>
                  <a:schemeClr val="tx1"/>
                </a:solidFill>
                <a:latin typeface="IBM Plex Sans Light" panose="020B0403050203000203" pitchFamily="34" charset="0"/>
              </a:defRPr>
            </a:lvl7pPr>
            <a:lvl8pPr marL="3429000" indent="-228600" fontAlgn="base">
              <a:spcBef>
                <a:spcPct val="0"/>
              </a:spcBef>
              <a:spcAft>
                <a:spcPct val="0"/>
              </a:spcAft>
              <a:defRPr>
                <a:solidFill>
                  <a:schemeClr val="tx1"/>
                </a:solidFill>
                <a:latin typeface="IBM Plex Sans Light" panose="020B0403050203000203" pitchFamily="34" charset="0"/>
              </a:defRPr>
            </a:lvl8pPr>
            <a:lvl9pPr marL="3886200" indent="-228600" fontAlgn="base">
              <a:spcBef>
                <a:spcPct val="0"/>
              </a:spcBef>
              <a:spcAft>
                <a:spcPct val="0"/>
              </a:spcAft>
              <a:defRPr>
                <a:solidFill>
                  <a:schemeClr val="tx1"/>
                </a:solidFill>
                <a:latin typeface="IBM Plex Sans Light" panose="020B0403050203000203" pitchFamily="34" charset="0"/>
              </a:defRPr>
            </a:lvl9pPr>
          </a:lstStyle>
          <a:p>
            <a:pPr algn="ctr" eaLnBrk="1" hangingPunct="1">
              <a:defRPr/>
            </a:pPr>
            <a:endParaRPr lang="en-US" altLang="en-US" sz="1600">
              <a:ea typeface="IBM Plex Sans Light" panose="020B0403050203000203" pitchFamily="34" charset="0"/>
              <a:cs typeface="IBM Plex Sans Light" panose="020B0403050203000203" pitchFamily="34" charset="0"/>
            </a:endParaRPr>
          </a:p>
        </p:txBody>
      </p:sp>
      <p:sp>
        <p:nvSpPr>
          <p:cNvPr id="2" name="Title"/>
          <p:cNvSpPr>
            <a:spLocks noGrp="1"/>
          </p:cNvSpPr>
          <p:nvPr>
            <p:ph type="title"/>
          </p:nvPr>
        </p:nvSpPr>
        <p:spPr>
          <a:xfrm>
            <a:off x="280418" y="268224"/>
            <a:ext cx="5522885"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a:extLst>
              <a:ext uri="{FF2B5EF4-FFF2-40B4-BE49-F238E27FC236}">
                <a16:creationId xmlns:a16="http://schemas.microsoft.com/office/drawing/2014/main" id="{09EA9A77-CBB2-44A6-AA38-E547129868E9}"/>
              </a:ext>
            </a:extLst>
          </p:cNvPr>
          <p:cNvSpPr>
            <a:spLocks noGrp="1"/>
          </p:cNvSpPr>
          <p:nvPr>
            <p:ph type="ftr" sz="quarter" idx="13"/>
          </p:nvPr>
        </p:nvSpPr>
        <p:spPr/>
        <p:txBody>
          <a:bodyPr/>
          <a:lstStyle>
            <a:lvl1pPr>
              <a:defRPr>
                <a:solidFill>
                  <a:schemeClr val="tx1"/>
                </a:solidFill>
              </a:defRPr>
            </a:lvl1pPr>
          </a:lstStyle>
          <a:p>
            <a:pPr>
              <a:defRPr/>
            </a:pPr>
            <a:r>
              <a:rPr lang="en-US"/>
              <a:t>Group Name / DOC ID / Month XX, 2022 / © 2022 IBM Corporation</a:t>
            </a:r>
          </a:p>
        </p:txBody>
      </p:sp>
      <p:sp>
        <p:nvSpPr>
          <p:cNvPr id="7" name="Slide Number Placeholder">
            <a:extLst>
              <a:ext uri="{FF2B5EF4-FFF2-40B4-BE49-F238E27FC236}">
                <a16:creationId xmlns:a16="http://schemas.microsoft.com/office/drawing/2014/main" id="{494AF2DA-E39A-4DF2-AB69-BE588A45A0DD}"/>
              </a:ext>
            </a:extLst>
          </p:cNvPr>
          <p:cNvSpPr>
            <a:spLocks noGrp="1"/>
          </p:cNvSpPr>
          <p:nvPr>
            <p:ph type="sldNum" sz="quarter" idx="14"/>
          </p:nvPr>
        </p:nvSpPr>
        <p:spPr/>
        <p:txBody>
          <a:bodyPr/>
          <a:lstStyle>
            <a:lvl1pPr>
              <a:defRPr>
                <a:solidFill>
                  <a:schemeClr val="tx1"/>
                </a:solidFill>
              </a:defRPr>
            </a:lvl1pPr>
          </a:lstStyle>
          <a:p>
            <a:pPr>
              <a:defRPr/>
            </a:pPr>
            <a:fld id="{F020ECC6-5410-4270-9DE3-33B2BBD8ACC6}" type="slidenum">
              <a:rPr lang="en-US"/>
              <a:pPr>
                <a:defRPr/>
              </a:pPr>
              <a:t>‹#›</a:t>
            </a:fld>
            <a:endParaRPr lang="en-US"/>
          </a:p>
        </p:txBody>
      </p:sp>
      <p:pic>
        <p:nvPicPr>
          <p:cNvPr id="3" name="Picture 2">
            <a:extLst>
              <a:ext uri="{FF2B5EF4-FFF2-40B4-BE49-F238E27FC236}">
                <a16:creationId xmlns:a16="http://schemas.microsoft.com/office/drawing/2014/main" id="{85A57B3B-DE2A-7232-5704-D5C9A65C9C37}"/>
              </a:ext>
            </a:extLst>
          </p:cNvPr>
          <p:cNvPicPr>
            <a:picLocks noChangeAspect="1"/>
          </p:cNvPicPr>
          <p:nvPr userDrawn="1"/>
        </p:nvPicPr>
        <p:blipFill>
          <a:blip r:embed="rId2"/>
          <a:stretch>
            <a:fillRect/>
          </a:stretch>
        </p:blipFill>
        <p:spPr>
          <a:xfrm>
            <a:off x="10853724" y="185767"/>
            <a:ext cx="1178020" cy="640080"/>
          </a:xfrm>
          <a:prstGeom prst="rect">
            <a:avLst/>
          </a:prstGeom>
        </p:spPr>
      </p:pic>
    </p:spTree>
    <p:extLst>
      <p:ext uri="{BB962C8B-B14F-4D97-AF65-F5344CB8AC3E}">
        <p14:creationId xmlns:p14="http://schemas.microsoft.com/office/powerpoint/2010/main" val="338357860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rtlCol="0">
            <a:noAutofit/>
          </a:bodyPr>
          <a:lstStyle>
            <a:lvl1pPr>
              <a:defRPr>
                <a:solidFill>
                  <a:schemeClr val="tx1"/>
                </a:solidFill>
              </a:defRPr>
            </a:lvl1pPr>
          </a:lstStyle>
          <a:p>
            <a:pPr lvl="0"/>
            <a:r>
              <a:rPr lang="en-US" noProof="0"/>
              <a:t>Click icon to add picture</a:t>
            </a:r>
          </a:p>
        </p:txBody>
      </p:sp>
      <p:sp>
        <p:nvSpPr>
          <p:cNvPr id="4" name="Footer Placeholder">
            <a:extLst>
              <a:ext uri="{FF2B5EF4-FFF2-40B4-BE49-F238E27FC236}">
                <a16:creationId xmlns:a16="http://schemas.microsoft.com/office/drawing/2014/main" id="{BD7289B4-91EB-4B1E-A464-27330AB01167}"/>
              </a:ext>
            </a:extLst>
          </p:cNvPr>
          <p:cNvSpPr>
            <a:spLocks noGrp="1"/>
          </p:cNvSpPr>
          <p:nvPr>
            <p:ph type="ftr" sz="quarter" idx="15"/>
          </p:nvPr>
        </p:nvSpPr>
        <p:spPr/>
        <p:txBody>
          <a:bodyPr/>
          <a:lstStyle>
            <a:lvl1pPr>
              <a:defRPr/>
            </a:lvl1pPr>
          </a:lstStyle>
          <a:p>
            <a:pPr>
              <a:defRPr/>
            </a:pPr>
            <a:r>
              <a:rPr lang="en-US"/>
              <a:t>Group Name / DOC ID / Month XX, 2022 / © 2022 IBM Corporation</a:t>
            </a:r>
          </a:p>
        </p:txBody>
      </p:sp>
      <p:sp>
        <p:nvSpPr>
          <p:cNvPr id="5" name="Slide Number Placeholder">
            <a:extLst>
              <a:ext uri="{FF2B5EF4-FFF2-40B4-BE49-F238E27FC236}">
                <a16:creationId xmlns:a16="http://schemas.microsoft.com/office/drawing/2014/main" id="{C4E55706-3AA7-4AB9-8D39-400E800B27FB}"/>
              </a:ext>
            </a:extLst>
          </p:cNvPr>
          <p:cNvSpPr>
            <a:spLocks noGrp="1"/>
          </p:cNvSpPr>
          <p:nvPr>
            <p:ph type="sldNum" sz="quarter" idx="16"/>
          </p:nvPr>
        </p:nvSpPr>
        <p:spPr/>
        <p:txBody>
          <a:bodyPr/>
          <a:lstStyle>
            <a:lvl1pPr>
              <a:defRPr/>
            </a:lvl1pPr>
          </a:lstStyle>
          <a:p>
            <a:pPr>
              <a:defRPr/>
            </a:pPr>
            <a:fld id="{A038113F-76A1-4120-B846-573D5F5298A7}" type="slidenum">
              <a:rPr lang="en-US"/>
              <a:pPr>
                <a:defRPr/>
              </a:pPr>
              <a:t>‹#›</a:t>
            </a:fld>
            <a:endParaRPr lang="en-US"/>
          </a:p>
        </p:txBody>
      </p:sp>
    </p:spTree>
    <p:extLst>
      <p:ext uri="{BB962C8B-B14F-4D97-AF65-F5344CB8AC3E}">
        <p14:creationId xmlns:p14="http://schemas.microsoft.com/office/powerpoint/2010/main" val="139198320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3" name="Footer Placeholder">
            <a:extLst>
              <a:ext uri="{FF2B5EF4-FFF2-40B4-BE49-F238E27FC236}">
                <a16:creationId xmlns:a16="http://schemas.microsoft.com/office/drawing/2014/main" id="{9E48F97A-B97B-4C39-BC0C-B81D40EC2DA9}"/>
              </a:ext>
            </a:extLst>
          </p:cNvPr>
          <p:cNvSpPr>
            <a:spLocks noGrp="1"/>
          </p:cNvSpPr>
          <p:nvPr>
            <p:ph type="ftr" sz="quarter" idx="10"/>
          </p:nvPr>
        </p:nvSpPr>
        <p:spPr/>
        <p:txBody>
          <a:bodyPr/>
          <a:lstStyle>
            <a:lvl1pPr>
              <a:defRPr/>
            </a:lvl1pPr>
          </a:lstStyle>
          <a:p>
            <a:pPr>
              <a:defRPr/>
            </a:pPr>
            <a:r>
              <a:rPr lang="en-US"/>
              <a:t>Group Name / DOC ID / Month XX, 2022 / © 2022 IBM Corporation</a:t>
            </a:r>
          </a:p>
        </p:txBody>
      </p:sp>
      <p:sp>
        <p:nvSpPr>
          <p:cNvPr id="4" name="Slide Number Placeholder">
            <a:extLst>
              <a:ext uri="{FF2B5EF4-FFF2-40B4-BE49-F238E27FC236}">
                <a16:creationId xmlns:a16="http://schemas.microsoft.com/office/drawing/2014/main" id="{F4ACB0EB-969B-4CA1-ACC9-E2CA28B75613}"/>
              </a:ext>
            </a:extLst>
          </p:cNvPr>
          <p:cNvSpPr>
            <a:spLocks noGrp="1"/>
          </p:cNvSpPr>
          <p:nvPr>
            <p:ph type="sldNum" sz="quarter" idx="11"/>
          </p:nvPr>
        </p:nvSpPr>
        <p:spPr/>
        <p:txBody>
          <a:bodyPr/>
          <a:lstStyle>
            <a:lvl1pPr>
              <a:defRPr/>
            </a:lvl1pPr>
          </a:lstStyle>
          <a:p>
            <a:pPr>
              <a:defRPr/>
            </a:pPr>
            <a:fld id="{EDBEC1A5-3DD6-4988-9D3E-42B9BE267753}" type="slidenum">
              <a:rPr lang="en-US"/>
              <a:pPr>
                <a:defRPr/>
              </a:pPr>
              <a:t>‹#›</a:t>
            </a:fld>
            <a:endParaRPr lang="en-US"/>
          </a:p>
        </p:txBody>
      </p:sp>
    </p:spTree>
    <p:extLst>
      <p:ext uri="{BB962C8B-B14F-4D97-AF65-F5344CB8AC3E}">
        <p14:creationId xmlns:p14="http://schemas.microsoft.com/office/powerpoint/2010/main" val="385097811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3" name="Footer Placeholder">
            <a:extLst>
              <a:ext uri="{FF2B5EF4-FFF2-40B4-BE49-F238E27FC236}">
                <a16:creationId xmlns:a16="http://schemas.microsoft.com/office/drawing/2014/main" id="{69FFD68D-0EC3-4CF2-80DC-71A014871BA7}"/>
              </a:ext>
            </a:extLst>
          </p:cNvPr>
          <p:cNvSpPr>
            <a:spLocks noGrp="1"/>
          </p:cNvSpPr>
          <p:nvPr>
            <p:ph type="ftr" sz="quarter" idx="10"/>
          </p:nvPr>
        </p:nvSpPr>
        <p:spPr/>
        <p:txBody>
          <a:bodyPr/>
          <a:lstStyle>
            <a:lvl1pPr>
              <a:defRPr/>
            </a:lvl1pPr>
          </a:lstStyle>
          <a:p>
            <a:pPr>
              <a:defRPr/>
            </a:pPr>
            <a:r>
              <a:rPr lang="en-US"/>
              <a:t>Group Name / DOC ID / Month XX, 2022 / © 2022 IBM Corporation</a:t>
            </a:r>
          </a:p>
        </p:txBody>
      </p:sp>
      <p:sp>
        <p:nvSpPr>
          <p:cNvPr id="4" name="Slide Number Placeholder">
            <a:extLst>
              <a:ext uri="{FF2B5EF4-FFF2-40B4-BE49-F238E27FC236}">
                <a16:creationId xmlns:a16="http://schemas.microsoft.com/office/drawing/2014/main" id="{7DDDBEBD-DF60-45D9-B888-589853AA07D4}"/>
              </a:ext>
            </a:extLst>
          </p:cNvPr>
          <p:cNvSpPr>
            <a:spLocks noGrp="1"/>
          </p:cNvSpPr>
          <p:nvPr>
            <p:ph type="sldNum" sz="quarter" idx="11"/>
          </p:nvPr>
        </p:nvSpPr>
        <p:spPr/>
        <p:txBody>
          <a:bodyPr/>
          <a:lstStyle>
            <a:lvl1pPr>
              <a:defRPr/>
            </a:lvl1pPr>
          </a:lstStyle>
          <a:p>
            <a:pPr>
              <a:defRPr/>
            </a:pPr>
            <a:fld id="{EE3F03C1-7338-4CFB-A581-9ABAFB03B4CC}" type="slidenum">
              <a:rPr lang="en-US"/>
              <a:pPr>
                <a:defRPr/>
              </a:pPr>
              <a:t>‹#›</a:t>
            </a:fld>
            <a:endParaRPr lang="en-US"/>
          </a:p>
        </p:txBody>
      </p:sp>
    </p:spTree>
    <p:extLst>
      <p:ext uri="{BB962C8B-B14F-4D97-AF65-F5344CB8AC3E}">
        <p14:creationId xmlns:p14="http://schemas.microsoft.com/office/powerpoint/2010/main" val="372538566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89EE3F1-AFF5-4ABD-91E8-B67F7C893F5C}"/>
              </a:ext>
            </a:extLst>
          </p:cNvPr>
          <p:cNvCxnSpPr/>
          <p:nvPr userDrawn="1"/>
        </p:nvCxnSpPr>
        <p:spPr bwMode="auto">
          <a:xfrm flipV="1">
            <a:off x="6096000" y="312738"/>
            <a:ext cx="0" cy="568166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C93B46E5-4993-4608-8F4E-B7C4BEC1B2DB}"/>
              </a:ext>
            </a:extLst>
          </p:cNvPr>
          <p:cNvCxnSpPr>
            <a:cxnSpLocks/>
          </p:cNvCxnSpPr>
          <p:nvPr userDrawn="1"/>
        </p:nvCxnSpPr>
        <p:spPr bwMode="auto">
          <a:xfrm flipV="1">
            <a:off x="9139238" y="312738"/>
            <a:ext cx="0" cy="282257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C6A884CA-2AB5-4251-AB14-938AC90846D0}"/>
              </a:ext>
            </a:extLst>
          </p:cNvPr>
          <p:cNvCxnSpPr>
            <a:cxnSpLocks/>
          </p:cNvCxnSpPr>
          <p:nvPr userDrawn="1"/>
        </p:nvCxnSpPr>
        <p:spPr bwMode="auto">
          <a:xfrm>
            <a:off x="6389688" y="3427413"/>
            <a:ext cx="5486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4" name="Footer Placeholder">
            <a:extLst>
              <a:ext uri="{FF2B5EF4-FFF2-40B4-BE49-F238E27FC236}">
                <a16:creationId xmlns:a16="http://schemas.microsoft.com/office/drawing/2014/main" id="{3369C554-D657-4997-81D9-572D1E926817}"/>
              </a:ext>
            </a:extLst>
          </p:cNvPr>
          <p:cNvSpPr>
            <a:spLocks noGrp="1"/>
          </p:cNvSpPr>
          <p:nvPr>
            <p:ph type="ftr" sz="quarter" idx="20"/>
          </p:nvPr>
        </p:nvSpPr>
        <p:spPr/>
        <p:txBody>
          <a:bodyPr/>
          <a:lstStyle>
            <a:lvl1pPr>
              <a:defRPr>
                <a:solidFill>
                  <a:schemeClr val="tx1"/>
                </a:solidFill>
              </a:defRPr>
            </a:lvl1pPr>
          </a:lstStyle>
          <a:p>
            <a:pPr>
              <a:defRPr/>
            </a:pPr>
            <a:r>
              <a:rPr lang="en-US"/>
              <a:t>Group Name / DOC ID / Month XX, 2022 / © 2022 IBM Corporation</a:t>
            </a:r>
          </a:p>
        </p:txBody>
      </p:sp>
      <p:sp>
        <p:nvSpPr>
          <p:cNvPr id="15" name="Slide Number Placeholder">
            <a:extLst>
              <a:ext uri="{FF2B5EF4-FFF2-40B4-BE49-F238E27FC236}">
                <a16:creationId xmlns:a16="http://schemas.microsoft.com/office/drawing/2014/main" id="{1DBA183F-F387-4E2A-AF8B-7CCF83FC6C25}"/>
              </a:ext>
            </a:extLst>
          </p:cNvPr>
          <p:cNvSpPr>
            <a:spLocks noGrp="1"/>
          </p:cNvSpPr>
          <p:nvPr>
            <p:ph type="sldNum" sz="quarter" idx="21"/>
          </p:nvPr>
        </p:nvSpPr>
        <p:spPr/>
        <p:txBody>
          <a:bodyPr/>
          <a:lstStyle>
            <a:lvl1pPr>
              <a:defRPr>
                <a:solidFill>
                  <a:schemeClr val="tx1"/>
                </a:solidFill>
              </a:defRPr>
            </a:lvl1pPr>
          </a:lstStyle>
          <a:p>
            <a:pPr>
              <a:defRPr/>
            </a:pPr>
            <a:fld id="{590F26F3-DB02-4823-80DE-B9CF0C4BDCC3}" type="slidenum">
              <a:rPr lang="en-US"/>
              <a:pPr>
                <a:defRPr/>
              </a:pPr>
              <a:t>‹#›</a:t>
            </a:fld>
            <a:endParaRPr lang="en-US"/>
          </a:p>
        </p:txBody>
      </p:sp>
    </p:spTree>
    <p:extLst>
      <p:ext uri="{BB962C8B-B14F-4D97-AF65-F5344CB8AC3E}">
        <p14:creationId xmlns:p14="http://schemas.microsoft.com/office/powerpoint/2010/main" val="65344581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84D9E6E5-505A-4271-BD13-FA778203A102}"/>
              </a:ext>
            </a:extLst>
          </p:cNvPr>
          <p:cNvCxnSpPr/>
          <p:nvPr userDrawn="1"/>
        </p:nvCxnSpPr>
        <p:spPr bwMode="auto">
          <a:xfrm flipV="1">
            <a:off x="6096000" y="312738"/>
            <a:ext cx="0" cy="568166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4AFBE9E9-043D-4F70-845D-25C53124B373}"/>
              </a:ext>
            </a:extLst>
          </p:cNvPr>
          <p:cNvCxnSpPr>
            <a:cxnSpLocks/>
          </p:cNvCxnSpPr>
          <p:nvPr userDrawn="1"/>
        </p:nvCxnSpPr>
        <p:spPr bwMode="auto">
          <a:xfrm>
            <a:off x="304800" y="3422650"/>
            <a:ext cx="5486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434A3DA0-3E24-441B-B784-40F7878043BD}"/>
              </a:ext>
            </a:extLst>
          </p:cNvPr>
          <p:cNvCxnSpPr>
            <a:cxnSpLocks/>
          </p:cNvCxnSpPr>
          <p:nvPr userDrawn="1"/>
        </p:nvCxnSpPr>
        <p:spPr bwMode="auto">
          <a:xfrm>
            <a:off x="6389688" y="3422650"/>
            <a:ext cx="5486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5E304A4F-62CD-41F3-B656-34FD00EDC83B}"/>
              </a:ext>
            </a:extLst>
          </p:cNvPr>
          <p:cNvCxnSpPr>
            <a:cxnSpLocks/>
          </p:cNvCxnSpPr>
          <p:nvPr userDrawn="1"/>
        </p:nvCxnSpPr>
        <p:spPr bwMode="auto">
          <a:xfrm flipV="1">
            <a:off x="9140825" y="312738"/>
            <a:ext cx="0" cy="282257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p:cNvSpPr>
            <a:spLocks noGrp="1"/>
          </p:cNvSpPr>
          <p:nvPr>
            <p:ph type="title"/>
          </p:nvPr>
        </p:nvSpPr>
        <p:spPr>
          <a:xfrm>
            <a:off x="0" y="-1"/>
            <a:ext cx="6096000" cy="3429001"/>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3" name="Footer Placeholder">
            <a:extLst>
              <a:ext uri="{FF2B5EF4-FFF2-40B4-BE49-F238E27FC236}">
                <a16:creationId xmlns:a16="http://schemas.microsoft.com/office/drawing/2014/main" id="{18657255-0A5E-4D50-A8C0-AC4A108B9C12}"/>
              </a:ext>
            </a:extLst>
          </p:cNvPr>
          <p:cNvSpPr>
            <a:spLocks noGrp="1"/>
          </p:cNvSpPr>
          <p:nvPr>
            <p:ph type="ftr" sz="quarter" idx="21"/>
          </p:nvPr>
        </p:nvSpPr>
        <p:spPr/>
        <p:txBody>
          <a:bodyPr/>
          <a:lstStyle>
            <a:lvl1pPr>
              <a:defRPr>
                <a:solidFill>
                  <a:schemeClr val="tx1"/>
                </a:solidFill>
              </a:defRPr>
            </a:lvl1pPr>
          </a:lstStyle>
          <a:p>
            <a:pPr>
              <a:defRPr/>
            </a:pPr>
            <a:r>
              <a:rPr lang="en-US"/>
              <a:t>Group Name / DOC ID / Month XX, 2022 / © 2022 IBM Corporation</a:t>
            </a:r>
          </a:p>
        </p:txBody>
      </p:sp>
      <p:sp>
        <p:nvSpPr>
          <p:cNvPr id="15" name="Slide Number Placeholder">
            <a:extLst>
              <a:ext uri="{FF2B5EF4-FFF2-40B4-BE49-F238E27FC236}">
                <a16:creationId xmlns:a16="http://schemas.microsoft.com/office/drawing/2014/main" id="{C7E57EE4-D20B-459B-8973-CE0FEDC468E6}"/>
              </a:ext>
            </a:extLst>
          </p:cNvPr>
          <p:cNvSpPr>
            <a:spLocks noGrp="1"/>
          </p:cNvSpPr>
          <p:nvPr>
            <p:ph type="sldNum" sz="quarter" idx="22"/>
          </p:nvPr>
        </p:nvSpPr>
        <p:spPr/>
        <p:txBody>
          <a:bodyPr/>
          <a:lstStyle>
            <a:lvl1pPr>
              <a:defRPr>
                <a:solidFill>
                  <a:schemeClr val="tx1"/>
                </a:solidFill>
              </a:defRPr>
            </a:lvl1pPr>
          </a:lstStyle>
          <a:p>
            <a:pPr>
              <a:defRPr/>
            </a:pPr>
            <a:fld id="{80344994-4CB0-44BA-884B-24154A97ECD8}" type="slidenum">
              <a:rPr lang="en-US"/>
              <a:pPr>
                <a:defRPr/>
              </a:pPr>
              <a:t>‹#›</a:t>
            </a:fld>
            <a:endParaRPr lang="en-US"/>
          </a:p>
        </p:txBody>
      </p:sp>
    </p:spTree>
    <p:extLst>
      <p:ext uri="{BB962C8B-B14F-4D97-AF65-F5344CB8AC3E}">
        <p14:creationId xmlns:p14="http://schemas.microsoft.com/office/powerpoint/2010/main" val="202342674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2E40B1AA-02EB-41CA-9BAC-CB06FD6A90AB}"/>
              </a:ext>
            </a:extLst>
          </p:cNvPr>
          <p:cNvCxnSpPr>
            <a:cxnSpLocks/>
          </p:cNvCxnSpPr>
          <p:nvPr userDrawn="1"/>
        </p:nvCxnSpPr>
        <p:spPr bwMode="auto">
          <a:xfrm flipV="1">
            <a:off x="3048000" y="3722688"/>
            <a:ext cx="0" cy="22717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FEB76FAE-3144-4A31-B763-BB589F5F2EC2}"/>
              </a:ext>
            </a:extLst>
          </p:cNvPr>
          <p:cNvCxnSpPr>
            <a:cxnSpLocks/>
          </p:cNvCxnSpPr>
          <p:nvPr userDrawn="1"/>
        </p:nvCxnSpPr>
        <p:spPr bwMode="auto">
          <a:xfrm flipV="1">
            <a:off x="6096000" y="3722688"/>
            <a:ext cx="0" cy="22717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103D5C1B-E322-4571-8ADD-2A9072E82359}"/>
              </a:ext>
            </a:extLst>
          </p:cNvPr>
          <p:cNvCxnSpPr>
            <a:cxnSpLocks/>
          </p:cNvCxnSpPr>
          <p:nvPr userDrawn="1"/>
        </p:nvCxnSpPr>
        <p:spPr bwMode="auto">
          <a:xfrm flipV="1">
            <a:off x="9144000" y="3722688"/>
            <a:ext cx="0" cy="22717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1FB898A4-7045-4BF5-AE00-D57DB34611A2}"/>
              </a:ext>
            </a:extLst>
          </p:cNvPr>
          <p:cNvCxnSpPr/>
          <p:nvPr userDrawn="1"/>
        </p:nvCxnSpPr>
        <p:spPr bwMode="auto">
          <a:xfrm>
            <a:off x="304800" y="3429000"/>
            <a:ext cx="11582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p:cNvSpPr>
            <a:spLocks noGrp="1"/>
          </p:cNvSpPr>
          <p:nvPr>
            <p:ph type="title"/>
          </p:nvPr>
        </p:nvSpPr>
        <p:spPr>
          <a:xfrm>
            <a:off x="0" y="1"/>
            <a:ext cx="12192000" cy="3425951"/>
          </a:xfrm>
          <a:noFill/>
        </p:spPr>
        <p:txBody>
          <a:bodyPr lIns="182880" tIns="164592" rIns="228600" bIns="228600"/>
          <a:lstStyle>
            <a:lvl1pPr>
              <a:defRPr sz="64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3426885"/>
            <a:ext cx="3048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5"/>
            <a:ext cx="3048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5" name="Footer Placeholder">
            <a:extLst>
              <a:ext uri="{FF2B5EF4-FFF2-40B4-BE49-F238E27FC236}">
                <a16:creationId xmlns:a16="http://schemas.microsoft.com/office/drawing/2014/main" id="{4F46EBEB-B28A-45DF-84A8-F3A202D6F0CB}"/>
              </a:ext>
            </a:extLst>
          </p:cNvPr>
          <p:cNvSpPr>
            <a:spLocks noGrp="1"/>
          </p:cNvSpPr>
          <p:nvPr>
            <p:ph type="ftr" sz="quarter" idx="21"/>
          </p:nvPr>
        </p:nvSpPr>
        <p:spPr/>
        <p:txBody>
          <a:bodyPr/>
          <a:lstStyle>
            <a:lvl1pPr>
              <a:defRPr>
                <a:solidFill>
                  <a:schemeClr val="tx1"/>
                </a:solidFill>
              </a:defRPr>
            </a:lvl1pPr>
          </a:lstStyle>
          <a:p>
            <a:pPr>
              <a:defRPr/>
            </a:pPr>
            <a:r>
              <a:rPr lang="en-US"/>
              <a:t>Group Name / DOC ID / Month XX, 2022 / © 2022 IBM Corporation</a:t>
            </a:r>
          </a:p>
        </p:txBody>
      </p:sp>
      <p:sp>
        <p:nvSpPr>
          <p:cNvPr id="16" name="Slide Number Placeholder">
            <a:extLst>
              <a:ext uri="{FF2B5EF4-FFF2-40B4-BE49-F238E27FC236}">
                <a16:creationId xmlns:a16="http://schemas.microsoft.com/office/drawing/2014/main" id="{EA646863-FA42-4933-AFED-5E801435077B}"/>
              </a:ext>
            </a:extLst>
          </p:cNvPr>
          <p:cNvSpPr>
            <a:spLocks noGrp="1"/>
          </p:cNvSpPr>
          <p:nvPr>
            <p:ph type="sldNum" sz="quarter" idx="22"/>
          </p:nvPr>
        </p:nvSpPr>
        <p:spPr/>
        <p:txBody>
          <a:bodyPr/>
          <a:lstStyle>
            <a:lvl1pPr>
              <a:defRPr>
                <a:solidFill>
                  <a:schemeClr val="tx1"/>
                </a:solidFill>
              </a:defRPr>
            </a:lvl1pPr>
          </a:lstStyle>
          <a:p>
            <a:pPr>
              <a:defRPr/>
            </a:pPr>
            <a:fld id="{568B6EA2-3096-40B5-BDFE-465B5A995AA8}" type="slidenum">
              <a:rPr lang="en-US"/>
              <a:pPr>
                <a:defRPr/>
              </a:pPr>
              <a:t>‹#›</a:t>
            </a:fld>
            <a:endParaRPr lang="en-US"/>
          </a:p>
        </p:txBody>
      </p:sp>
    </p:spTree>
    <p:extLst>
      <p:ext uri="{BB962C8B-B14F-4D97-AF65-F5344CB8AC3E}">
        <p14:creationId xmlns:p14="http://schemas.microsoft.com/office/powerpoint/2010/main" val="367069912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rtlCol="0">
            <a:noAutofit/>
          </a:bodyPr>
          <a:lstStyle>
            <a:lvl1pPr>
              <a:defRPr>
                <a:solidFill>
                  <a:schemeClr val="tx1"/>
                </a:solidFill>
              </a:defRPr>
            </a:lvl1pPr>
          </a:lstStyle>
          <a:p>
            <a:pPr lvl="0"/>
            <a:r>
              <a:rPr lang="en-US" noProof="0"/>
              <a:t>Click icon to add picture</a:t>
            </a:r>
          </a:p>
        </p:txBody>
      </p:sp>
      <p:sp>
        <p:nvSpPr>
          <p:cNvPr id="4" name="Footer Placeholder">
            <a:extLst>
              <a:ext uri="{FF2B5EF4-FFF2-40B4-BE49-F238E27FC236}">
                <a16:creationId xmlns:a16="http://schemas.microsoft.com/office/drawing/2014/main" id="{9FB89ED0-669D-441B-9F12-176C2B5D37E2}"/>
              </a:ext>
            </a:extLst>
          </p:cNvPr>
          <p:cNvSpPr>
            <a:spLocks noGrp="1"/>
          </p:cNvSpPr>
          <p:nvPr>
            <p:ph type="ftr" sz="quarter" idx="13"/>
          </p:nvPr>
        </p:nvSpPr>
        <p:spPr/>
        <p:txBody>
          <a:bodyPr/>
          <a:lstStyle>
            <a:lvl1pPr>
              <a:defRPr/>
            </a:lvl1pPr>
          </a:lstStyle>
          <a:p>
            <a:pPr>
              <a:defRPr/>
            </a:pPr>
            <a:r>
              <a:rPr lang="en-US"/>
              <a:t>Group Name / DOC ID / Month XX, 2022 / © 2022 IBM Corporation</a:t>
            </a:r>
          </a:p>
        </p:txBody>
      </p:sp>
      <p:sp>
        <p:nvSpPr>
          <p:cNvPr id="5" name="Slide Number Placeholder">
            <a:extLst>
              <a:ext uri="{FF2B5EF4-FFF2-40B4-BE49-F238E27FC236}">
                <a16:creationId xmlns:a16="http://schemas.microsoft.com/office/drawing/2014/main" id="{E708EEE3-A7C5-4079-8C38-968130EE87E7}"/>
              </a:ext>
            </a:extLst>
          </p:cNvPr>
          <p:cNvSpPr>
            <a:spLocks noGrp="1"/>
          </p:cNvSpPr>
          <p:nvPr>
            <p:ph type="sldNum" sz="quarter" idx="14"/>
          </p:nvPr>
        </p:nvSpPr>
        <p:spPr/>
        <p:txBody>
          <a:bodyPr/>
          <a:lstStyle>
            <a:lvl1pPr>
              <a:defRPr/>
            </a:lvl1pPr>
          </a:lstStyle>
          <a:p>
            <a:pPr>
              <a:defRPr/>
            </a:pPr>
            <a:fld id="{03DA64A8-EA48-4F10-8096-938C13A79515}" type="slidenum">
              <a:rPr lang="en-US"/>
              <a:pPr>
                <a:defRPr/>
              </a:pPr>
              <a:t>‹#›</a:t>
            </a:fld>
            <a:endParaRPr lang="en-US"/>
          </a:p>
        </p:txBody>
      </p:sp>
    </p:spTree>
    <p:extLst>
      <p:ext uri="{BB962C8B-B14F-4D97-AF65-F5344CB8AC3E}">
        <p14:creationId xmlns:p14="http://schemas.microsoft.com/office/powerpoint/2010/main" val="378887104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rtlCol="0">
            <a:noAutofit/>
          </a:bodyPr>
          <a:lstStyle>
            <a:lvl1pPr>
              <a:defRPr>
                <a:solidFill>
                  <a:schemeClr val="tx1"/>
                </a:solidFill>
              </a:defRPr>
            </a:lvl1pPr>
          </a:lstStyle>
          <a:p>
            <a:pPr lvl="0"/>
            <a:r>
              <a:rPr lang="en-US" noProof="0"/>
              <a:t>Click icon to add picture</a:t>
            </a:r>
          </a:p>
        </p:txBody>
      </p:sp>
      <p:sp>
        <p:nvSpPr>
          <p:cNvPr id="6" name="Text Placeholder"/>
          <p:cNvSpPr>
            <a:spLocks noGrp="1"/>
          </p:cNvSpPr>
          <p:nvPr>
            <p:ph type="body" sz="quarter" idx="12"/>
          </p:nvPr>
        </p:nvSpPr>
        <p:spPr>
          <a:xfrm>
            <a:off x="-3" y="3429000"/>
            <a:ext cx="3048004" cy="3429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333">
                <a:solidFill>
                  <a:schemeClr val="tx1"/>
                </a:solidFill>
              </a:defRPr>
            </a:lvl2pPr>
            <a:lvl3pPr>
              <a:buClr>
                <a:srgbClr val="001141"/>
              </a:buClr>
              <a:defRPr sz="1333">
                <a:solidFill>
                  <a:schemeClr val="tx1"/>
                </a:solidFill>
              </a:defRPr>
            </a:lvl3pPr>
            <a:lvl4pPr>
              <a:buClr>
                <a:srgbClr val="001141"/>
              </a:buClr>
              <a:defRPr sz="1333">
                <a:solidFill>
                  <a:schemeClr val="tx1"/>
                </a:solidFill>
              </a:defRPr>
            </a:lvl4pPr>
            <a:lvl5pPr>
              <a:buClr>
                <a:srgbClr val="001141"/>
              </a:buCl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a:extLst>
              <a:ext uri="{FF2B5EF4-FFF2-40B4-BE49-F238E27FC236}">
                <a16:creationId xmlns:a16="http://schemas.microsoft.com/office/drawing/2014/main" id="{034C4978-2B3E-4DD8-999A-28750AE033E0}"/>
              </a:ext>
            </a:extLst>
          </p:cNvPr>
          <p:cNvSpPr>
            <a:spLocks noGrp="1"/>
          </p:cNvSpPr>
          <p:nvPr>
            <p:ph type="ftr" sz="quarter" idx="15"/>
          </p:nvPr>
        </p:nvSpPr>
        <p:spPr/>
        <p:txBody>
          <a:bodyPr/>
          <a:lstStyle>
            <a:lvl1pPr>
              <a:defRPr/>
            </a:lvl1pPr>
          </a:lstStyle>
          <a:p>
            <a:pPr>
              <a:defRPr/>
            </a:pPr>
            <a:r>
              <a:rPr lang="en-US"/>
              <a:t>Group Name / DOC ID / Month XX, 2022 / © 2022 IBM Corporation</a:t>
            </a:r>
          </a:p>
        </p:txBody>
      </p:sp>
      <p:sp>
        <p:nvSpPr>
          <p:cNvPr id="5" name="Slide Number Placeholder">
            <a:extLst>
              <a:ext uri="{FF2B5EF4-FFF2-40B4-BE49-F238E27FC236}">
                <a16:creationId xmlns:a16="http://schemas.microsoft.com/office/drawing/2014/main" id="{A1866A89-9813-48EF-A26E-BBF48078F7AA}"/>
              </a:ext>
            </a:extLst>
          </p:cNvPr>
          <p:cNvSpPr>
            <a:spLocks noGrp="1"/>
          </p:cNvSpPr>
          <p:nvPr>
            <p:ph type="sldNum" sz="quarter" idx="16"/>
          </p:nvPr>
        </p:nvSpPr>
        <p:spPr/>
        <p:txBody>
          <a:bodyPr/>
          <a:lstStyle>
            <a:lvl1pPr>
              <a:defRPr/>
            </a:lvl1pPr>
          </a:lstStyle>
          <a:p>
            <a:pPr>
              <a:defRPr/>
            </a:pPr>
            <a:fld id="{D1959E4E-175D-4F70-82E8-64F574AF5910}" type="slidenum">
              <a:rPr lang="en-US"/>
              <a:pPr>
                <a:defRPr/>
              </a:pPr>
              <a:t>‹#›</a:t>
            </a:fld>
            <a:endParaRPr lang="en-US"/>
          </a:p>
        </p:txBody>
      </p:sp>
    </p:spTree>
    <p:extLst>
      <p:ext uri="{BB962C8B-B14F-4D97-AF65-F5344CB8AC3E}">
        <p14:creationId xmlns:p14="http://schemas.microsoft.com/office/powerpoint/2010/main" val="331201159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0B6B6D8-35F8-4C2C-9FBD-4F527C7501BA}"/>
              </a:ext>
            </a:extLst>
          </p:cNvPr>
          <p:cNvCxnSpPr/>
          <p:nvPr userDrawn="1"/>
        </p:nvCxnSpPr>
        <p:spPr bwMode="auto">
          <a:xfrm flipV="1">
            <a:off x="6096000" y="312738"/>
            <a:ext cx="0" cy="568166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8D9FEF4E-A7EF-4625-ACB2-C28CBD3BE5B3}"/>
              </a:ext>
            </a:extLst>
          </p:cNvPr>
          <p:cNvCxnSpPr/>
          <p:nvPr userDrawn="1"/>
        </p:nvCxnSpPr>
        <p:spPr bwMode="auto">
          <a:xfrm flipV="1">
            <a:off x="3044825" y="312738"/>
            <a:ext cx="0" cy="568166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D3BD62C2-8368-4E2E-9533-21399A0A738F}"/>
              </a:ext>
            </a:extLst>
          </p:cNvPr>
          <p:cNvCxnSpPr/>
          <p:nvPr userDrawn="1"/>
        </p:nvCxnSpPr>
        <p:spPr bwMode="auto">
          <a:xfrm flipV="1">
            <a:off x="9140825" y="312738"/>
            <a:ext cx="0" cy="568166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Content Placeholder 1"/>
          <p:cNvSpPr>
            <a:spLocks noGrp="1"/>
          </p:cNvSpPr>
          <p:nvPr>
            <p:ph sz="quarter" idx="12"/>
          </p:nvPr>
        </p:nvSpPr>
        <p:spPr>
          <a:xfrm>
            <a:off x="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a:extLst>
              <a:ext uri="{FF2B5EF4-FFF2-40B4-BE49-F238E27FC236}">
                <a16:creationId xmlns:a16="http://schemas.microsoft.com/office/drawing/2014/main" id="{8D94E2C6-36A0-49EC-A09F-85E238B84F40}"/>
              </a:ext>
            </a:extLst>
          </p:cNvPr>
          <p:cNvSpPr>
            <a:spLocks noGrp="1"/>
          </p:cNvSpPr>
          <p:nvPr>
            <p:ph type="ftr" sz="quarter" idx="16"/>
          </p:nvPr>
        </p:nvSpPr>
        <p:spPr/>
        <p:txBody>
          <a:bodyPr/>
          <a:lstStyle>
            <a:lvl1pPr>
              <a:defRPr>
                <a:solidFill>
                  <a:schemeClr val="tx1"/>
                </a:solidFill>
              </a:defRPr>
            </a:lvl1pPr>
          </a:lstStyle>
          <a:p>
            <a:pPr>
              <a:defRPr/>
            </a:pPr>
            <a:r>
              <a:rPr lang="en-US"/>
              <a:t>Group Name / DOC ID / Month XX, 2022 / © 2022 IBM Corporation</a:t>
            </a:r>
          </a:p>
        </p:txBody>
      </p:sp>
      <p:sp>
        <p:nvSpPr>
          <p:cNvPr id="10" name="Slide Number Placeholder">
            <a:extLst>
              <a:ext uri="{FF2B5EF4-FFF2-40B4-BE49-F238E27FC236}">
                <a16:creationId xmlns:a16="http://schemas.microsoft.com/office/drawing/2014/main" id="{3246D62F-22D8-486A-8103-1A9D508710CB}"/>
              </a:ext>
            </a:extLst>
          </p:cNvPr>
          <p:cNvSpPr>
            <a:spLocks noGrp="1"/>
          </p:cNvSpPr>
          <p:nvPr>
            <p:ph type="sldNum" sz="quarter" idx="17"/>
          </p:nvPr>
        </p:nvSpPr>
        <p:spPr/>
        <p:txBody>
          <a:bodyPr/>
          <a:lstStyle>
            <a:lvl1pPr>
              <a:defRPr>
                <a:solidFill>
                  <a:schemeClr val="tx1"/>
                </a:solidFill>
              </a:defRPr>
            </a:lvl1pPr>
          </a:lstStyle>
          <a:p>
            <a:pPr>
              <a:defRPr/>
            </a:pPr>
            <a:fld id="{4974EEB8-87B7-4F6C-A881-6B4E1D1C728F}" type="slidenum">
              <a:rPr lang="en-US"/>
              <a:pPr>
                <a:defRPr/>
              </a:pPr>
              <a:t>‹#›</a:t>
            </a:fld>
            <a:endParaRPr lang="en-US"/>
          </a:p>
        </p:txBody>
      </p:sp>
    </p:spTree>
    <p:extLst>
      <p:ext uri="{BB962C8B-B14F-4D97-AF65-F5344CB8AC3E}">
        <p14:creationId xmlns:p14="http://schemas.microsoft.com/office/powerpoint/2010/main" val="1171857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192600"/>
            <a:ext cx="2477765" cy="762794"/>
          </a:xfrm>
          <a:prstGeom prst="rect">
            <a:avLst/>
          </a:prstGeom>
        </p:spPr>
        <p:txBody>
          <a:bodyPr/>
          <a:lstStyle>
            <a:lvl1pPr>
              <a:lnSpc>
                <a:spcPct val="100000"/>
              </a:lnSpc>
              <a:spcBef>
                <a:spcPts val="0"/>
              </a:spcBef>
              <a:defRPr sz="1000" b="0" i="0">
                <a:solidFill>
                  <a:schemeClr val="tx1"/>
                </a:solidFill>
                <a:latin typeface="IBM Plex Sans Light" panose="020B0403050203000203" pitchFamily="34" charset="0"/>
              </a:defRPr>
            </a:lvl1pPr>
            <a:lvl2pPr marL="91422" indent="-91422">
              <a:lnSpc>
                <a:spcPct val="100000"/>
              </a:lnSpc>
              <a:spcBef>
                <a:spcPts val="0"/>
              </a:spcBef>
              <a:defRPr sz="1000" b="0" i="0">
                <a:solidFill>
                  <a:schemeClr val="tx1"/>
                </a:solidFill>
                <a:latin typeface="IBM Plex Sans Light" panose="020B0403050203000203" pitchFamily="34" charset="0"/>
              </a:defRPr>
            </a:lvl2pPr>
            <a:lvl3pPr marL="182843" indent="-91422">
              <a:lnSpc>
                <a:spcPct val="100000"/>
              </a:lnSpc>
              <a:spcBef>
                <a:spcPts val="0"/>
              </a:spcBef>
              <a:defRPr sz="1000" b="0" i="0">
                <a:solidFill>
                  <a:schemeClr val="tx1"/>
                </a:solidFill>
                <a:latin typeface="IBM Plex Sans Light" panose="020B0403050203000203" pitchFamily="34" charset="0"/>
              </a:defRPr>
            </a:lvl3pPr>
            <a:lvl4pPr marL="274265" indent="-91422">
              <a:lnSpc>
                <a:spcPct val="100000"/>
              </a:lnSpc>
              <a:spcBef>
                <a:spcPts val="0"/>
              </a:spcBef>
              <a:defRPr sz="1000" b="0" i="0">
                <a:solidFill>
                  <a:schemeClr val="tx1"/>
                </a:solidFill>
                <a:latin typeface="IBM Plex Sans Light" panose="020B04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360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6189207"/>
      </p:ext>
    </p:extLst>
  </p:cSld>
  <p:clrMapOvr>
    <a:masterClrMapping/>
  </p:clrMapOvr>
  <p:transition spd="med"/>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a:extLst>
              <a:ext uri="{FF2B5EF4-FFF2-40B4-BE49-F238E27FC236}">
                <a16:creationId xmlns:a16="http://schemas.microsoft.com/office/drawing/2014/main" id="{F7ABF06C-2BDF-4C77-A5C0-3CDDF2C58222}"/>
              </a:ext>
            </a:extLst>
          </p:cNvPr>
          <p:cNvSpPr>
            <a:spLocks noGrp="1"/>
          </p:cNvSpPr>
          <p:nvPr>
            <p:ph type="ftr" sz="quarter" idx="14"/>
          </p:nvPr>
        </p:nvSpPr>
        <p:spPr/>
        <p:txBody>
          <a:bodyPr/>
          <a:lstStyle>
            <a:lvl1pPr>
              <a:defRPr/>
            </a:lvl1pPr>
          </a:lstStyle>
          <a:p>
            <a:pPr>
              <a:defRPr/>
            </a:pPr>
            <a:r>
              <a:rPr lang="en-US"/>
              <a:t>Group Name / DOC ID / Month XX, 2022 / © 2022 IBM Corporation</a:t>
            </a:r>
          </a:p>
        </p:txBody>
      </p:sp>
      <p:sp>
        <p:nvSpPr>
          <p:cNvPr id="8" name="Slide Number Placeholder">
            <a:extLst>
              <a:ext uri="{FF2B5EF4-FFF2-40B4-BE49-F238E27FC236}">
                <a16:creationId xmlns:a16="http://schemas.microsoft.com/office/drawing/2014/main" id="{91E62679-E3C6-492D-8AE8-40788EFCA7CA}"/>
              </a:ext>
            </a:extLst>
          </p:cNvPr>
          <p:cNvSpPr>
            <a:spLocks noGrp="1"/>
          </p:cNvSpPr>
          <p:nvPr>
            <p:ph type="sldNum" sz="quarter" idx="15"/>
          </p:nvPr>
        </p:nvSpPr>
        <p:spPr/>
        <p:txBody>
          <a:bodyPr/>
          <a:lstStyle>
            <a:lvl1pPr>
              <a:defRPr/>
            </a:lvl1pPr>
          </a:lstStyle>
          <a:p>
            <a:pPr>
              <a:defRPr/>
            </a:pPr>
            <a:fld id="{5110DF91-ACF2-44D6-B869-A214B2E52BB2}" type="slidenum">
              <a:rPr lang="en-US"/>
              <a:pPr>
                <a:defRPr/>
              </a:pPr>
              <a:t>‹#›</a:t>
            </a:fld>
            <a:endParaRPr lang="en-US"/>
          </a:p>
        </p:txBody>
      </p:sp>
    </p:spTree>
    <p:extLst>
      <p:ext uri="{BB962C8B-B14F-4D97-AF65-F5344CB8AC3E}">
        <p14:creationId xmlns:p14="http://schemas.microsoft.com/office/powerpoint/2010/main" val="320686668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a:extLst>
              <a:ext uri="{FF2B5EF4-FFF2-40B4-BE49-F238E27FC236}">
                <a16:creationId xmlns:a16="http://schemas.microsoft.com/office/drawing/2014/main" id="{2F224623-1D64-47CB-8CC5-D95385B0F8DC}"/>
              </a:ext>
            </a:extLst>
          </p:cNvPr>
          <p:cNvSpPr>
            <a:spLocks noGrp="1"/>
          </p:cNvSpPr>
          <p:nvPr>
            <p:ph type="ftr" sz="quarter" idx="13"/>
          </p:nvPr>
        </p:nvSpPr>
        <p:spPr/>
        <p:txBody>
          <a:bodyPr/>
          <a:lstStyle>
            <a:lvl1pPr>
              <a:defRPr/>
            </a:lvl1pPr>
          </a:lstStyle>
          <a:p>
            <a:pPr>
              <a:defRPr/>
            </a:pPr>
            <a:r>
              <a:rPr lang="en-US"/>
              <a:t>Group Name / DOC ID / Month XX, 2022 / © 2022 IBM Corporation</a:t>
            </a:r>
          </a:p>
        </p:txBody>
      </p:sp>
      <p:sp>
        <p:nvSpPr>
          <p:cNvPr id="5" name="Slide Number Placeholder">
            <a:extLst>
              <a:ext uri="{FF2B5EF4-FFF2-40B4-BE49-F238E27FC236}">
                <a16:creationId xmlns:a16="http://schemas.microsoft.com/office/drawing/2014/main" id="{B3A1904C-AD58-4907-AD86-DD034740925D}"/>
              </a:ext>
            </a:extLst>
          </p:cNvPr>
          <p:cNvSpPr>
            <a:spLocks noGrp="1"/>
          </p:cNvSpPr>
          <p:nvPr>
            <p:ph type="sldNum" sz="quarter" idx="14"/>
          </p:nvPr>
        </p:nvSpPr>
        <p:spPr/>
        <p:txBody>
          <a:bodyPr/>
          <a:lstStyle>
            <a:lvl1pPr>
              <a:defRPr/>
            </a:lvl1pPr>
          </a:lstStyle>
          <a:p>
            <a:pPr>
              <a:defRPr/>
            </a:pPr>
            <a:fld id="{96609690-3083-4FE0-8AF2-86BC2BA4D905}" type="slidenum">
              <a:rPr lang="en-US"/>
              <a:pPr>
                <a:defRPr/>
              </a:pPr>
              <a:t>‹#›</a:t>
            </a:fld>
            <a:endParaRPr lang="en-US"/>
          </a:p>
        </p:txBody>
      </p:sp>
    </p:spTree>
    <p:extLst>
      <p:ext uri="{BB962C8B-B14F-4D97-AF65-F5344CB8AC3E}">
        <p14:creationId xmlns:p14="http://schemas.microsoft.com/office/powerpoint/2010/main" val="163780946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7">
                <a:solidFill>
                  <a:schemeClr val="tx1"/>
                </a:solidFill>
              </a:defRPr>
            </a:lvl1pPr>
            <a:lvl2pPr>
              <a:spcBef>
                <a:spcPts val="1467"/>
              </a:spcBef>
              <a:defRPr sz="1867">
                <a:solidFill>
                  <a:schemeClr val="tx1"/>
                </a:solidFill>
              </a:defRPr>
            </a:lvl2pPr>
            <a:lvl3pPr>
              <a:spcBef>
                <a:spcPts val="1467"/>
              </a:spcBef>
              <a:defRPr sz="1867">
                <a:solidFill>
                  <a:schemeClr val="tx1"/>
                </a:solidFill>
              </a:defRPr>
            </a:lvl3pPr>
            <a:lvl4pPr>
              <a:spcBef>
                <a:spcPts val="1467"/>
              </a:spcBef>
              <a:defRPr sz="1867">
                <a:solidFill>
                  <a:schemeClr val="tx1"/>
                </a:solidFill>
              </a:defRPr>
            </a:lvl4pPr>
            <a:lvl5pPr>
              <a:spcBef>
                <a:spcPts val="1467"/>
              </a:spcBef>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rtlCol="0">
            <a:noAutofit/>
          </a:bodyPr>
          <a:lstStyle>
            <a:lvl1pPr>
              <a:defRPr>
                <a:solidFill>
                  <a:schemeClr val="tx1"/>
                </a:solidFill>
              </a:defRPr>
            </a:lvl1pPr>
          </a:lstStyle>
          <a:p>
            <a:pPr lvl="0"/>
            <a:r>
              <a:rPr lang="en-US" noProof="0"/>
              <a:t>Click icon to add picture</a:t>
            </a:r>
          </a:p>
        </p:txBody>
      </p:sp>
      <p:sp>
        <p:nvSpPr>
          <p:cNvPr id="9" name="Footer Placeholder">
            <a:extLst>
              <a:ext uri="{FF2B5EF4-FFF2-40B4-BE49-F238E27FC236}">
                <a16:creationId xmlns:a16="http://schemas.microsoft.com/office/drawing/2014/main" id="{E9C90083-C510-4BF4-9EFE-837A17680F24}"/>
              </a:ext>
            </a:extLst>
          </p:cNvPr>
          <p:cNvSpPr>
            <a:spLocks noGrp="1"/>
          </p:cNvSpPr>
          <p:nvPr>
            <p:ph type="ftr" sz="quarter" idx="16"/>
          </p:nvPr>
        </p:nvSpPr>
        <p:spPr/>
        <p:txBody>
          <a:bodyPr/>
          <a:lstStyle>
            <a:lvl1pPr>
              <a:defRPr/>
            </a:lvl1pPr>
          </a:lstStyle>
          <a:p>
            <a:pPr>
              <a:defRPr/>
            </a:pPr>
            <a:r>
              <a:rPr lang="en-US"/>
              <a:t>Group Name / DOC ID / Month XX, 2022 / © 2022 IBM Corporation</a:t>
            </a:r>
          </a:p>
        </p:txBody>
      </p:sp>
      <p:sp>
        <p:nvSpPr>
          <p:cNvPr id="10" name="Slide Number Placeholder">
            <a:extLst>
              <a:ext uri="{FF2B5EF4-FFF2-40B4-BE49-F238E27FC236}">
                <a16:creationId xmlns:a16="http://schemas.microsoft.com/office/drawing/2014/main" id="{22188DEA-225B-4693-BE94-627F33369F69}"/>
              </a:ext>
            </a:extLst>
          </p:cNvPr>
          <p:cNvSpPr>
            <a:spLocks noGrp="1"/>
          </p:cNvSpPr>
          <p:nvPr>
            <p:ph type="sldNum" sz="quarter" idx="17"/>
          </p:nvPr>
        </p:nvSpPr>
        <p:spPr/>
        <p:txBody>
          <a:bodyPr/>
          <a:lstStyle>
            <a:lvl1pPr>
              <a:defRPr/>
            </a:lvl1pPr>
          </a:lstStyle>
          <a:p>
            <a:pPr>
              <a:defRPr/>
            </a:pPr>
            <a:fld id="{1BA6EB48-48AE-4F2B-8C16-ADF10520431E}" type="slidenum">
              <a:rPr lang="en-US"/>
              <a:pPr>
                <a:defRPr/>
              </a:pPr>
              <a:t>‹#›</a:t>
            </a:fld>
            <a:endParaRPr lang="en-US"/>
          </a:p>
        </p:txBody>
      </p:sp>
    </p:spTree>
    <p:extLst>
      <p:ext uri="{BB962C8B-B14F-4D97-AF65-F5344CB8AC3E}">
        <p14:creationId xmlns:p14="http://schemas.microsoft.com/office/powerpoint/2010/main" val="306670874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83512"/>
            <a:ext cx="2450592" cy="4336288"/>
          </a:xfrm>
        </p:spPr>
        <p:txBody>
          <a:bodyPr/>
          <a:lstStyle>
            <a:lvl1pPr>
              <a:spcBef>
                <a:spcPts val="400"/>
              </a:spcBef>
              <a:defRPr sz="1333">
                <a:solidFill>
                  <a:schemeClr val="tx1"/>
                </a:solidFill>
              </a:defRPr>
            </a:lvl1pPr>
            <a:lvl2pPr>
              <a:spcBef>
                <a:spcPts val="400"/>
              </a:spcBef>
              <a:defRPr sz="1333">
                <a:solidFill>
                  <a:schemeClr val="tx1"/>
                </a:solidFill>
              </a:defRPr>
            </a:lvl2pPr>
            <a:lvl3pPr>
              <a:spcBef>
                <a:spcPts val="400"/>
              </a:spcBef>
              <a:defRPr sz="1333">
                <a:solidFill>
                  <a:schemeClr val="tx1"/>
                </a:solidFill>
              </a:defRPr>
            </a:lvl3pPr>
            <a:lvl4pPr>
              <a:spcBef>
                <a:spcPts val="400"/>
              </a:spcBef>
              <a:defRPr sz="1333">
                <a:solidFill>
                  <a:schemeClr val="tx1"/>
                </a:solidFill>
              </a:defRPr>
            </a:lvl4pPr>
            <a:lvl5pPr>
              <a:spcBef>
                <a:spcPts val="400"/>
              </a:spcBef>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a:extLst>
              <a:ext uri="{FF2B5EF4-FFF2-40B4-BE49-F238E27FC236}">
                <a16:creationId xmlns:a16="http://schemas.microsoft.com/office/drawing/2014/main" id="{07D3AC52-E62F-4DA2-9FA2-573CE30242CF}"/>
              </a:ext>
            </a:extLst>
          </p:cNvPr>
          <p:cNvSpPr>
            <a:spLocks noGrp="1"/>
          </p:cNvSpPr>
          <p:nvPr>
            <p:ph type="ftr" sz="quarter" idx="15"/>
          </p:nvPr>
        </p:nvSpPr>
        <p:spPr/>
        <p:txBody>
          <a:bodyPr/>
          <a:lstStyle>
            <a:lvl1pPr>
              <a:defRPr/>
            </a:lvl1pPr>
          </a:lstStyle>
          <a:p>
            <a:pPr>
              <a:defRPr/>
            </a:pPr>
            <a:r>
              <a:rPr lang="en-US"/>
              <a:t>Group Name / DOC ID / Month XX, 2022 / © 2022 IBM Corporation</a:t>
            </a:r>
          </a:p>
        </p:txBody>
      </p:sp>
      <p:sp>
        <p:nvSpPr>
          <p:cNvPr id="9" name="Slide Number Placeholder">
            <a:extLst>
              <a:ext uri="{FF2B5EF4-FFF2-40B4-BE49-F238E27FC236}">
                <a16:creationId xmlns:a16="http://schemas.microsoft.com/office/drawing/2014/main" id="{B3EC8284-BE1E-4AD8-BE44-9E03802866FD}"/>
              </a:ext>
            </a:extLst>
          </p:cNvPr>
          <p:cNvSpPr>
            <a:spLocks noGrp="1"/>
          </p:cNvSpPr>
          <p:nvPr>
            <p:ph type="sldNum" sz="quarter" idx="16"/>
          </p:nvPr>
        </p:nvSpPr>
        <p:spPr/>
        <p:txBody>
          <a:bodyPr/>
          <a:lstStyle>
            <a:lvl1pPr>
              <a:defRPr/>
            </a:lvl1pPr>
          </a:lstStyle>
          <a:p>
            <a:pPr>
              <a:defRPr/>
            </a:pPr>
            <a:fld id="{CA1AFDB7-2CCD-4C26-8BAB-50DABBC72976}" type="slidenum">
              <a:rPr lang="en-US"/>
              <a:pPr>
                <a:defRPr/>
              </a:pPr>
              <a:t>‹#›</a:t>
            </a:fld>
            <a:endParaRPr lang="en-US"/>
          </a:p>
        </p:txBody>
      </p:sp>
    </p:spTree>
    <p:extLst>
      <p:ext uri="{BB962C8B-B14F-4D97-AF65-F5344CB8AC3E}">
        <p14:creationId xmlns:p14="http://schemas.microsoft.com/office/powerpoint/2010/main" val="421326088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09" y="268224"/>
            <a:ext cx="8546501" cy="5726176"/>
          </a:xfrm>
        </p:spPr>
        <p:txBody>
          <a:bodyPr rIns="91440" bIns="91440" rtlCol="0">
            <a:noAutofit/>
          </a:bodyPr>
          <a:lstStyle>
            <a:lvl1pPr>
              <a:defRPr>
                <a:solidFill>
                  <a:schemeClr val="tx1"/>
                </a:solidFill>
              </a:defRPr>
            </a:lvl1pPr>
          </a:lstStyle>
          <a:p>
            <a:pPr lvl="0"/>
            <a:r>
              <a:rPr lang="en-US" noProof="0"/>
              <a:t>Click icon to add table</a:t>
            </a:r>
          </a:p>
        </p:txBody>
      </p:sp>
      <p:sp>
        <p:nvSpPr>
          <p:cNvPr id="4" name="Footer Placeholder">
            <a:extLst>
              <a:ext uri="{FF2B5EF4-FFF2-40B4-BE49-F238E27FC236}">
                <a16:creationId xmlns:a16="http://schemas.microsoft.com/office/drawing/2014/main" id="{3440C933-95D7-4B3E-8567-6BC818984A02}"/>
              </a:ext>
            </a:extLst>
          </p:cNvPr>
          <p:cNvSpPr>
            <a:spLocks noGrp="1"/>
          </p:cNvSpPr>
          <p:nvPr>
            <p:ph type="ftr" sz="quarter" idx="14"/>
          </p:nvPr>
        </p:nvSpPr>
        <p:spPr/>
        <p:txBody>
          <a:bodyPr/>
          <a:lstStyle>
            <a:lvl1pPr>
              <a:defRPr/>
            </a:lvl1pPr>
          </a:lstStyle>
          <a:p>
            <a:pPr>
              <a:defRPr/>
            </a:pPr>
            <a:r>
              <a:rPr lang="en-US"/>
              <a:t>Group Name / DOC ID / Month XX, 2022 / © 2022 IBM Corporation</a:t>
            </a:r>
          </a:p>
        </p:txBody>
      </p:sp>
      <p:sp>
        <p:nvSpPr>
          <p:cNvPr id="5" name="Slide Number Placeholder">
            <a:extLst>
              <a:ext uri="{FF2B5EF4-FFF2-40B4-BE49-F238E27FC236}">
                <a16:creationId xmlns:a16="http://schemas.microsoft.com/office/drawing/2014/main" id="{2DB756AA-36C2-43CD-8DB5-0F067BAA45C1}"/>
              </a:ext>
            </a:extLst>
          </p:cNvPr>
          <p:cNvSpPr>
            <a:spLocks noGrp="1"/>
          </p:cNvSpPr>
          <p:nvPr>
            <p:ph type="sldNum" sz="quarter" idx="15"/>
          </p:nvPr>
        </p:nvSpPr>
        <p:spPr/>
        <p:txBody>
          <a:bodyPr/>
          <a:lstStyle>
            <a:lvl1pPr>
              <a:defRPr/>
            </a:lvl1pPr>
          </a:lstStyle>
          <a:p>
            <a:pPr>
              <a:defRPr/>
            </a:pPr>
            <a:fld id="{049B08FE-FCFD-4F13-8931-D435EB737A44}" type="slidenum">
              <a:rPr lang="en-US"/>
              <a:pPr>
                <a:defRPr/>
              </a:pPr>
              <a:t>‹#›</a:t>
            </a:fld>
            <a:endParaRPr lang="en-US"/>
          </a:p>
        </p:txBody>
      </p:sp>
    </p:spTree>
    <p:extLst>
      <p:ext uri="{BB962C8B-B14F-4D97-AF65-F5344CB8AC3E}">
        <p14:creationId xmlns:p14="http://schemas.microsoft.com/office/powerpoint/2010/main" val="393621120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EC628348-D180-497D-9DBF-27BA88AC2DBF}"/>
              </a:ext>
            </a:extLst>
          </p:cNvPr>
          <p:cNvSpPr>
            <a:spLocks noGrp="1"/>
          </p:cNvSpPr>
          <p:nvPr>
            <p:ph type="ftr" sz="quarter" idx="10"/>
          </p:nvPr>
        </p:nvSpPr>
        <p:spPr/>
        <p:txBody>
          <a:bodyPr/>
          <a:lstStyle>
            <a:lvl1pPr>
              <a:defRPr/>
            </a:lvl1pPr>
          </a:lstStyle>
          <a:p>
            <a:pPr>
              <a:defRPr/>
            </a:pPr>
            <a:r>
              <a:rPr lang="en-US"/>
              <a:t>Group Name / DOC ID / Month XX, 2022 / © 2022 IBM Corporation</a:t>
            </a:r>
          </a:p>
        </p:txBody>
      </p:sp>
      <p:sp>
        <p:nvSpPr>
          <p:cNvPr id="3" name="Slide Number Placeholder">
            <a:extLst>
              <a:ext uri="{FF2B5EF4-FFF2-40B4-BE49-F238E27FC236}">
                <a16:creationId xmlns:a16="http://schemas.microsoft.com/office/drawing/2014/main" id="{798A0A0E-3759-4F63-8389-52BF804F8A47}"/>
              </a:ext>
            </a:extLst>
          </p:cNvPr>
          <p:cNvSpPr>
            <a:spLocks noGrp="1"/>
          </p:cNvSpPr>
          <p:nvPr>
            <p:ph type="sldNum" sz="quarter" idx="11"/>
          </p:nvPr>
        </p:nvSpPr>
        <p:spPr/>
        <p:txBody>
          <a:bodyPr/>
          <a:lstStyle>
            <a:lvl1pPr>
              <a:defRPr/>
            </a:lvl1pPr>
          </a:lstStyle>
          <a:p>
            <a:pPr>
              <a:defRPr/>
            </a:pPr>
            <a:fld id="{3C9C6F45-A44C-4B3F-85CA-265B3E5E5D66}" type="slidenum">
              <a:rPr lang="en-US"/>
              <a:pPr>
                <a:defRPr/>
              </a:pPr>
              <a:t>‹#›</a:t>
            </a:fld>
            <a:endParaRPr lang="en-US"/>
          </a:p>
        </p:txBody>
      </p:sp>
    </p:spTree>
    <p:extLst>
      <p:ext uri="{BB962C8B-B14F-4D97-AF65-F5344CB8AC3E}">
        <p14:creationId xmlns:p14="http://schemas.microsoft.com/office/powerpoint/2010/main" val="278387932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43624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solidFill>
                  <a:schemeClr val="tx1"/>
                </a:solidFill>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a:t>Click to edit Master text styles</a:t>
            </a:r>
          </a:p>
        </p:txBody>
      </p:sp>
      <p:sp>
        <p:nvSpPr>
          <p:cNvPr id="6" name="Text Placeholder 2"/>
          <p:cNvSpPr>
            <a:spLocks noGrp="1"/>
          </p:cNvSpPr>
          <p:nvPr>
            <p:ph type="body" sz="quarter" idx="14"/>
          </p:nvPr>
        </p:nvSpPr>
        <p:spPr>
          <a:xfrm>
            <a:off x="292608" y="4279392"/>
            <a:ext cx="8546592" cy="1743456"/>
          </a:xfrm>
        </p:spPr>
        <p:txBody>
          <a:bodyPr anchor="b"/>
          <a:lstStyle>
            <a:lvl1pPr>
              <a:spcBef>
                <a:spcPts val="400"/>
              </a:spcBef>
              <a:defRPr sz="800">
                <a:solidFill>
                  <a:schemeClr val="tx1"/>
                </a:solidFill>
              </a:defRPr>
            </a:lvl1pPr>
            <a:lvl2pPr>
              <a:defRPr sz="800"/>
            </a:lvl2pPr>
            <a:lvl3pPr>
              <a:defRPr sz="800"/>
            </a:lvl3pPr>
            <a:lvl4pPr>
              <a:defRPr sz="800"/>
            </a:lvl4pPr>
            <a:lvl5pPr>
              <a:defRPr sz="800"/>
            </a:lvl5pPr>
          </a:lstStyle>
          <a:p>
            <a:pPr lvl="0"/>
            <a:r>
              <a:rPr lang="en-US"/>
              <a:t>Click to edit Master text styles</a:t>
            </a:r>
          </a:p>
        </p:txBody>
      </p:sp>
      <p:sp>
        <p:nvSpPr>
          <p:cNvPr id="5" name="Footer Placeholder">
            <a:extLst>
              <a:ext uri="{FF2B5EF4-FFF2-40B4-BE49-F238E27FC236}">
                <a16:creationId xmlns:a16="http://schemas.microsoft.com/office/drawing/2014/main" id="{859947D2-5BAB-4FA6-A424-DEB0E3FA35F7}"/>
              </a:ext>
            </a:extLst>
          </p:cNvPr>
          <p:cNvSpPr>
            <a:spLocks noGrp="1"/>
          </p:cNvSpPr>
          <p:nvPr>
            <p:ph type="ftr" sz="quarter" idx="15"/>
          </p:nvPr>
        </p:nvSpPr>
        <p:spPr/>
        <p:txBody>
          <a:bodyPr/>
          <a:lstStyle>
            <a:lvl1pPr>
              <a:defRPr/>
            </a:lvl1pPr>
          </a:lstStyle>
          <a:p>
            <a:pPr>
              <a:defRPr/>
            </a:pPr>
            <a:r>
              <a:rPr lang="en-US"/>
              <a:t>Group Name / DOC ID / Month XX, 2022 / © 2022 IBM Corporation</a:t>
            </a:r>
          </a:p>
        </p:txBody>
      </p:sp>
      <p:sp>
        <p:nvSpPr>
          <p:cNvPr id="7" name="Slide Number Placeholder">
            <a:extLst>
              <a:ext uri="{FF2B5EF4-FFF2-40B4-BE49-F238E27FC236}">
                <a16:creationId xmlns:a16="http://schemas.microsoft.com/office/drawing/2014/main" id="{B4688DFF-8241-4153-947A-D7ED70E80D89}"/>
              </a:ext>
            </a:extLst>
          </p:cNvPr>
          <p:cNvSpPr>
            <a:spLocks noGrp="1"/>
          </p:cNvSpPr>
          <p:nvPr>
            <p:ph type="sldNum" sz="quarter" idx="16"/>
          </p:nvPr>
        </p:nvSpPr>
        <p:spPr/>
        <p:txBody>
          <a:bodyPr/>
          <a:lstStyle>
            <a:lvl1pPr>
              <a:defRPr/>
            </a:lvl1pPr>
          </a:lstStyle>
          <a:p>
            <a:pPr>
              <a:defRPr/>
            </a:pPr>
            <a:fld id="{21A8B1D4-1346-45D7-80E1-2DB75C613FE3}" type="slidenum">
              <a:rPr lang="en-US"/>
              <a:pPr>
                <a:defRPr/>
              </a:pPr>
              <a:t>‹#›</a:t>
            </a:fld>
            <a:endParaRPr lang="en-US"/>
          </a:p>
        </p:txBody>
      </p:sp>
    </p:spTree>
    <p:extLst>
      <p:ext uri="{BB962C8B-B14F-4D97-AF65-F5344CB8AC3E}">
        <p14:creationId xmlns:p14="http://schemas.microsoft.com/office/powerpoint/2010/main" val="381543119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2" name="Picture">
            <a:extLst>
              <a:ext uri="{FF2B5EF4-FFF2-40B4-BE49-F238E27FC236}">
                <a16:creationId xmlns:a16="http://schemas.microsoft.com/office/drawing/2014/main" id="{CBA4D6FE-2572-43ED-B2D8-66C1A15CEF8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30813" y="3084513"/>
            <a:ext cx="1730375"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230743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2" name="Picture">
            <a:extLst>
              <a:ext uri="{FF2B5EF4-FFF2-40B4-BE49-F238E27FC236}">
                <a16:creationId xmlns:a16="http://schemas.microsoft.com/office/drawing/2014/main" id="{F7C42991-12C2-4D3F-AF83-E4FDB238C5B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30813" y="3084513"/>
            <a:ext cx="1730375"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354988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4566456"/>
      </p:ext>
    </p:extLst>
  </p:cSld>
  <p:clrMapOvr>
    <a:masterClrMapping/>
  </p:clrMapOvr>
  <p:transition spd="med"/>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2" name="Picture">
            <a:extLst>
              <a:ext uri="{FF2B5EF4-FFF2-40B4-BE49-F238E27FC236}">
                <a16:creationId xmlns:a16="http://schemas.microsoft.com/office/drawing/2014/main" id="{FAEAF3EA-37E4-419F-BF7B-D9AEDB03B04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30813" y="3084513"/>
            <a:ext cx="1730375"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32353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Dark: 75%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805435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bg1"/>
          </a:solidFill>
        </p:spPr>
        <p:txBody>
          <a:bodyPr lIns="210312" tIns="201168" rIns="228600" bIns="228600"/>
          <a:lstStyle>
            <a:lvl1pPr>
              <a:defRPr>
                <a:solidFill>
                  <a:schemeClr val="tx1"/>
                </a:solidFill>
              </a:defRPr>
            </a:lvl1pPr>
          </a:lstStyle>
          <a:p>
            <a:r>
              <a:rPr lang="en-US" dirty="0"/>
              <a:t>Click to edit Master title style</a:t>
            </a:r>
          </a:p>
        </p:txBody>
      </p:sp>
      <p:sp>
        <p:nvSpPr>
          <p:cNvPr id="6" name="Picture Placeholder"/>
          <p:cNvSpPr>
            <a:spLocks noGrp="1"/>
          </p:cNvSpPr>
          <p:nvPr>
            <p:ph type="pic" sz="quarter" idx="12"/>
          </p:nvPr>
        </p:nvSpPr>
        <p:spPr>
          <a:xfrm>
            <a:off x="0" y="1701800"/>
            <a:ext cx="12192000" cy="5156200"/>
          </a:xfrm>
        </p:spPr>
        <p:txBody>
          <a:bodyPr lIns="91440" tIns="91440" rIns="91440" bIns="91440" rtlCol="0">
            <a:noAutofit/>
          </a:bodyPr>
          <a:lstStyle/>
          <a:p>
            <a:pPr lvl="0"/>
            <a:r>
              <a:rPr lang="en-US" noProof="0"/>
              <a:t>Drag picture to placeholder or click icon to add</a:t>
            </a:r>
          </a:p>
        </p:txBody>
      </p:sp>
      <p:sp>
        <p:nvSpPr>
          <p:cNvPr id="4" name="Slide Number Placeholder">
            <a:extLst>
              <a:ext uri="{FF2B5EF4-FFF2-40B4-BE49-F238E27FC236}">
                <a16:creationId xmlns:a16="http://schemas.microsoft.com/office/drawing/2014/main" id="{435C72C1-A742-4220-A4F0-6ED1CB2118C1}"/>
              </a:ext>
            </a:extLst>
          </p:cNvPr>
          <p:cNvSpPr>
            <a:spLocks noGrp="1"/>
          </p:cNvSpPr>
          <p:nvPr>
            <p:ph type="sldNum" sz="quarter" idx="13"/>
          </p:nvPr>
        </p:nvSpPr>
        <p:spPr/>
        <p:txBody>
          <a:bodyPr/>
          <a:lstStyle>
            <a:lvl1pPr>
              <a:defRPr/>
            </a:lvl1pPr>
          </a:lstStyle>
          <a:p>
            <a:pPr>
              <a:defRPr/>
            </a:pPr>
            <a:fld id="{65E0BD0D-986F-4ACD-9995-0C98DC09DD1E}" type="slidenum">
              <a:rPr lang="en-US"/>
              <a:pPr>
                <a:defRPr/>
              </a:pPr>
              <a:t>‹#›</a:t>
            </a:fld>
            <a:endParaRPr lang="en-US"/>
          </a:p>
        </p:txBody>
      </p:sp>
      <p:sp>
        <p:nvSpPr>
          <p:cNvPr id="5" name="Footer Placeholder">
            <a:extLst>
              <a:ext uri="{FF2B5EF4-FFF2-40B4-BE49-F238E27FC236}">
                <a16:creationId xmlns:a16="http://schemas.microsoft.com/office/drawing/2014/main" id="{8CCA6985-4CDC-42FC-BE5C-E47CF28CA8BB}"/>
              </a:ext>
            </a:extLst>
          </p:cNvPr>
          <p:cNvSpPr>
            <a:spLocks noGrp="1"/>
          </p:cNvSpPr>
          <p:nvPr>
            <p:ph type="ftr" sz="quarter" idx="14"/>
          </p:nvPr>
        </p:nvSpPr>
        <p:spPr>
          <a:xfrm>
            <a:off x="304800" y="6383338"/>
            <a:ext cx="5486400" cy="222250"/>
          </a:xfrm>
        </p:spPr>
        <p:txBody>
          <a:bodyPr/>
          <a:lstStyle>
            <a:lvl1pPr>
              <a:defRPr sz="800">
                <a:solidFill>
                  <a:schemeClr val="tx1"/>
                </a:solidFill>
                <a:latin typeface="IBM Plex Sans" panose="020B0503050203000203" pitchFamily="34" charset="0"/>
              </a:defRPr>
            </a:lvl1pPr>
          </a:lstStyle>
          <a:p>
            <a:pPr>
              <a:defRPr/>
            </a:pPr>
            <a:r>
              <a:rPr lang="en-US"/>
              <a:t>Group Name / DOC ID / Month XX, 2022 / © 2022 IBM Corporation</a:t>
            </a:r>
          </a:p>
        </p:txBody>
      </p:sp>
    </p:spTree>
    <p:extLst>
      <p:ext uri="{BB962C8B-B14F-4D97-AF65-F5344CB8AC3E}">
        <p14:creationId xmlns:p14="http://schemas.microsoft.com/office/powerpoint/2010/main" val="149788000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Light: Se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4D8E7-4B8B-E54C-8EC6-F2891417C0CB}"/>
              </a:ext>
            </a:extLst>
          </p:cNvPr>
          <p:cNvSpPr>
            <a:spLocks noGrp="1"/>
          </p:cNvSpPr>
          <p:nvPr>
            <p:ph type="title"/>
          </p:nvPr>
        </p:nvSpPr>
        <p:spPr>
          <a:xfrm>
            <a:off x="228600" y="609600"/>
            <a:ext cx="8686800" cy="849240"/>
          </a:xfrm>
        </p:spPr>
        <p:txBody>
          <a:bodyPr anchor="b"/>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9C0EF7AD-0106-B349-8957-0958B08750B8}"/>
              </a:ext>
            </a:extLst>
          </p:cNvPr>
          <p:cNvSpPr>
            <a:spLocks noGrp="1"/>
          </p:cNvSpPr>
          <p:nvPr>
            <p:ph type="ftr" sz="quarter" idx="10"/>
          </p:nvPr>
        </p:nvSpPr>
        <p:spPr/>
        <p:txBody>
          <a:bodyPr/>
          <a:lstStyle/>
          <a:p>
            <a:r>
              <a:rPr lang="en-US"/>
              <a:t>IBM Confidential  |  IBM HR</a:t>
            </a:r>
          </a:p>
        </p:txBody>
      </p:sp>
      <p:sp>
        <p:nvSpPr>
          <p:cNvPr id="4" name="Slide Number Placeholder 3">
            <a:extLst>
              <a:ext uri="{FF2B5EF4-FFF2-40B4-BE49-F238E27FC236}">
                <a16:creationId xmlns:a16="http://schemas.microsoft.com/office/drawing/2014/main" id="{31EB2F17-774C-FC4D-8998-893743D6BE3B}"/>
              </a:ext>
            </a:extLst>
          </p:cNvPr>
          <p:cNvSpPr>
            <a:spLocks noGrp="1"/>
          </p:cNvSpPr>
          <p:nvPr>
            <p:ph type="sldNum" sz="quarter" idx="11"/>
          </p:nvPr>
        </p:nvSpPr>
        <p:spPr/>
        <p:txBody>
          <a:bodyPr/>
          <a:lstStyle>
            <a:lvl1pPr>
              <a:defRPr/>
            </a:lvl1pPr>
          </a:lstStyle>
          <a:p>
            <a:r>
              <a:rPr lang="en-US"/>
              <a:t>© 2019 IBM Corporation  |  </a:t>
            </a:r>
            <a:fld id="{62AC7532-E9CD-3F47-AFEB-F708F102E192}" type="slidenum">
              <a:rPr lang="en-US" smtClean="0"/>
              <a:pPr/>
              <a:t>‹#›</a:t>
            </a:fld>
            <a:endParaRPr lang="en-US"/>
          </a:p>
        </p:txBody>
      </p:sp>
      <p:sp>
        <p:nvSpPr>
          <p:cNvPr id="6" name="Text Placeholder 5">
            <a:extLst>
              <a:ext uri="{FF2B5EF4-FFF2-40B4-BE49-F238E27FC236}">
                <a16:creationId xmlns:a16="http://schemas.microsoft.com/office/drawing/2014/main" id="{D0F2D07D-A7FC-4644-ABD8-857C61BD98BC}"/>
              </a:ext>
            </a:extLst>
          </p:cNvPr>
          <p:cNvSpPr>
            <a:spLocks noGrp="1"/>
          </p:cNvSpPr>
          <p:nvPr>
            <p:ph type="body" sz="quarter" idx="12"/>
          </p:nvPr>
        </p:nvSpPr>
        <p:spPr>
          <a:xfrm>
            <a:off x="228600" y="1828800"/>
            <a:ext cx="86868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a:extLst>
              <a:ext uri="{FF2B5EF4-FFF2-40B4-BE49-F238E27FC236}">
                <a16:creationId xmlns:a16="http://schemas.microsoft.com/office/drawing/2014/main" id="{0CB871E5-6C27-5E42-8EE6-254DC51FEE33}"/>
              </a:ext>
            </a:extLst>
          </p:cNvPr>
          <p:cNvSpPr>
            <a:spLocks noGrp="1"/>
          </p:cNvSpPr>
          <p:nvPr>
            <p:ph type="body" sz="quarter" idx="13" hasCustomPrompt="1"/>
          </p:nvPr>
        </p:nvSpPr>
        <p:spPr>
          <a:xfrm>
            <a:off x="228600" y="228600"/>
            <a:ext cx="5638800" cy="304800"/>
          </a:xfrm>
        </p:spPr>
        <p:txBody>
          <a:bodyPr>
            <a:normAutofit/>
          </a:bodyPr>
          <a:lstStyle>
            <a:lvl1pPr marL="0" indent="0">
              <a:buNone/>
              <a:defRPr sz="1200" b="0" i="0" spc="80" baseline="0">
                <a:solidFill>
                  <a:srgbClr val="0062FF"/>
                </a:solidFill>
                <a:latin typeface="IBM Plex Sans Text" charset="0"/>
                <a:ea typeface="IBM Plex Sans Text" charset="0"/>
                <a:cs typeface="IBM Plex Sans Text" charset="0"/>
              </a:defRPr>
            </a:lvl1pPr>
          </a:lstStyle>
          <a:p>
            <a:pPr lvl="0"/>
            <a:r>
              <a:rPr lang="en-US" dirty="0"/>
              <a:t>SECTION HEADING</a:t>
            </a:r>
          </a:p>
        </p:txBody>
      </p:sp>
    </p:spTree>
    <p:extLst>
      <p:ext uri="{BB962C8B-B14F-4D97-AF65-F5344CB8AC3E}">
        <p14:creationId xmlns:p14="http://schemas.microsoft.com/office/powerpoint/2010/main" val="219410109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230929" y="3083848"/>
            <a:ext cx="1730142" cy="690309"/>
          </a:xfrm>
          <a:prstGeom prst="rect">
            <a:avLst/>
          </a:prstGeom>
        </p:spPr>
      </p:pic>
    </p:spTree>
    <p:extLst>
      <p:ext uri="{BB962C8B-B14F-4D97-AF65-F5344CB8AC3E}">
        <p14:creationId xmlns:p14="http://schemas.microsoft.com/office/powerpoint/2010/main" val="296160839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230929" y="3083847"/>
            <a:ext cx="1730142" cy="690309"/>
          </a:xfrm>
          <a:prstGeom prst="rect">
            <a:avLst/>
          </a:prstGeom>
        </p:spPr>
      </p:pic>
    </p:spTree>
    <p:extLst>
      <p:ext uri="{BB962C8B-B14F-4D97-AF65-F5344CB8AC3E}">
        <p14:creationId xmlns:p14="http://schemas.microsoft.com/office/powerpoint/2010/main" val="381388037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 White Background-Title_Graphics">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CDDBEA-8282-A349-A313-A9A985A93DE9}"/>
              </a:ext>
            </a:extLst>
          </p:cNvPr>
          <p:cNvSpPr>
            <a:spLocks noGrp="1"/>
          </p:cNvSpPr>
          <p:nvPr>
            <p:ph type="ctrTitle"/>
          </p:nvPr>
        </p:nvSpPr>
        <p:spPr>
          <a:xfrm>
            <a:off x="381000" y="903824"/>
            <a:ext cx="4038865" cy="877094"/>
          </a:xfrm>
        </p:spPr>
        <p:txBody>
          <a:bodyPr lIns="0" tIns="0" rIns="0" bIns="0" anchor="t" anchorCtr="0">
            <a:noAutofit/>
          </a:bodyPr>
          <a:lstStyle>
            <a:lvl1pPr algn="l">
              <a:lnSpc>
                <a:spcPct val="100000"/>
              </a:lnSpc>
              <a:spcAft>
                <a:spcPts val="2833"/>
              </a:spcAft>
              <a:defRPr sz="2666" b="0" i="0">
                <a:solidFill>
                  <a:schemeClr val="tx1"/>
                </a:solidFill>
                <a:latin typeface="IBM Plex Sans Light" panose="020B0403050203000203" pitchFamily="34" charset="0"/>
              </a:defRPr>
            </a:lvl1pPr>
          </a:lstStyle>
          <a:p>
            <a:r>
              <a:rPr lang="en-US" dirty="0"/>
              <a:t>Click to edit Master title style</a:t>
            </a:r>
          </a:p>
        </p:txBody>
      </p:sp>
      <p:sp>
        <p:nvSpPr>
          <p:cNvPr id="8" name="Subtitle 2">
            <a:extLst>
              <a:ext uri="{FF2B5EF4-FFF2-40B4-BE49-F238E27FC236}">
                <a16:creationId xmlns:a16="http://schemas.microsoft.com/office/drawing/2014/main" id="{18920C27-14DB-5043-9FA6-FAD8D4F22CC3}"/>
              </a:ext>
            </a:extLst>
          </p:cNvPr>
          <p:cNvSpPr>
            <a:spLocks noGrp="1"/>
          </p:cNvSpPr>
          <p:nvPr>
            <p:ph type="subTitle" idx="1"/>
          </p:nvPr>
        </p:nvSpPr>
        <p:spPr>
          <a:xfrm>
            <a:off x="381000" y="2199408"/>
            <a:ext cx="4038865" cy="3325093"/>
          </a:xfrm>
        </p:spPr>
        <p:txBody>
          <a:bodyPr lIns="0" tIns="0" rIns="0" bIns="0">
            <a:noAutofit/>
          </a:bodyPr>
          <a:lstStyle>
            <a:lvl1pPr marL="0" indent="0" algn="l">
              <a:lnSpc>
                <a:spcPct val="100000"/>
              </a:lnSpc>
              <a:spcBef>
                <a:spcPts val="0"/>
              </a:spcBef>
              <a:spcAft>
                <a:spcPts val="1666"/>
              </a:spcAft>
              <a:buNone/>
              <a:defRPr sz="1333" b="0" i="0">
                <a:latin typeface="IBM Plex Sans Light" panose="020B0403050203000203" pitchFamily="34" charset="0"/>
              </a:defRPr>
            </a:lvl1pPr>
            <a:lvl2pPr marL="380931" indent="0" algn="ctr">
              <a:buNone/>
              <a:defRPr sz="1666"/>
            </a:lvl2pPr>
            <a:lvl3pPr marL="761863" indent="0" algn="ctr">
              <a:buNone/>
              <a:defRPr sz="1500"/>
            </a:lvl3pPr>
            <a:lvl4pPr marL="1142794" indent="0" algn="ctr">
              <a:buNone/>
              <a:defRPr sz="1333"/>
            </a:lvl4pPr>
            <a:lvl5pPr marL="1523726" indent="0" algn="ctr">
              <a:buNone/>
              <a:defRPr sz="1333"/>
            </a:lvl5pPr>
            <a:lvl6pPr marL="1904657" indent="0" algn="ctr">
              <a:buNone/>
              <a:defRPr sz="1333"/>
            </a:lvl6pPr>
            <a:lvl7pPr marL="2285588" indent="0" algn="ctr">
              <a:buNone/>
              <a:defRPr sz="1333"/>
            </a:lvl7pPr>
            <a:lvl8pPr marL="2666520" indent="0" algn="ctr">
              <a:buNone/>
              <a:defRPr sz="1333"/>
            </a:lvl8pPr>
            <a:lvl9pPr marL="3047451" indent="0" algn="ctr">
              <a:buNone/>
              <a:defRPr sz="1333"/>
            </a:lvl9pPr>
          </a:lstStyle>
          <a:p>
            <a:r>
              <a:rPr lang="en-US" dirty="0"/>
              <a:t>Click to edit Master subtitle style</a:t>
            </a:r>
          </a:p>
        </p:txBody>
      </p:sp>
      <p:sp>
        <p:nvSpPr>
          <p:cNvPr id="14" name="Text Placeholder 7">
            <a:extLst>
              <a:ext uri="{FF2B5EF4-FFF2-40B4-BE49-F238E27FC236}">
                <a16:creationId xmlns:a16="http://schemas.microsoft.com/office/drawing/2014/main" id="{469D03E8-341A-684F-A2FA-202EB65194D1}"/>
              </a:ext>
            </a:extLst>
          </p:cNvPr>
          <p:cNvSpPr>
            <a:spLocks noGrp="1"/>
          </p:cNvSpPr>
          <p:nvPr>
            <p:ph type="body" sz="quarter" idx="13"/>
          </p:nvPr>
        </p:nvSpPr>
        <p:spPr>
          <a:xfrm>
            <a:off x="381000" y="381000"/>
            <a:ext cx="5524500" cy="190500"/>
          </a:xfrm>
        </p:spPr>
        <p:txBody>
          <a:bodyPr lIns="0" tIns="0" rIns="0" bIns="0">
            <a:noAutofit/>
          </a:bodyPr>
          <a:lstStyle>
            <a:lvl1pPr marL="0" indent="0">
              <a:lnSpc>
                <a:spcPct val="100000"/>
              </a:lnSpc>
              <a:spcBef>
                <a:spcPts val="0"/>
              </a:spcBef>
              <a:spcAft>
                <a:spcPts val="1166"/>
              </a:spcAft>
              <a:buNone/>
              <a:defRPr sz="1000" b="0" i="0">
                <a:solidFill>
                  <a:srgbClr val="001141"/>
                </a:solidFill>
                <a:latin typeface="IBM Plex Sans Medm" panose="020B0503050203000203" pitchFamily="34" charset="0"/>
              </a:defRPr>
            </a:lvl1pPr>
            <a:lvl2pPr>
              <a:defRPr sz="666" b="0" i="0">
                <a:latin typeface="IBM Plex Sans Medm" panose="020B0503050203000203" pitchFamily="34" charset="0"/>
              </a:defRPr>
            </a:lvl2pPr>
            <a:lvl3pPr>
              <a:defRPr sz="666" b="0" i="0">
                <a:latin typeface="IBM Plex Sans Medm" panose="020B0503050203000203" pitchFamily="34" charset="0"/>
              </a:defRPr>
            </a:lvl3pPr>
            <a:lvl4pPr>
              <a:defRPr sz="666" b="0" i="0">
                <a:latin typeface="IBM Plex Sans Medm" panose="020B0503050203000203" pitchFamily="34" charset="0"/>
              </a:defRPr>
            </a:lvl4pPr>
            <a:lvl5pPr>
              <a:defRPr sz="666" b="0" i="0">
                <a:latin typeface="IBM Plex Sans Medm" panose="020B0503050203000203" pitchFamily="34" charset="0"/>
              </a:defRPr>
            </a:lvl5pPr>
          </a:lstStyle>
          <a:p>
            <a:pPr lvl="0"/>
            <a:r>
              <a:rPr lang="en-US" dirty="0"/>
              <a:t>Click to edit Master text styles</a:t>
            </a:r>
          </a:p>
        </p:txBody>
      </p:sp>
      <p:grpSp>
        <p:nvGrpSpPr>
          <p:cNvPr id="15" name="Group 14">
            <a:extLst>
              <a:ext uri="{FF2B5EF4-FFF2-40B4-BE49-F238E27FC236}">
                <a16:creationId xmlns:a16="http://schemas.microsoft.com/office/drawing/2014/main" id="{CD3808D1-5B0C-FB4B-B4B0-C3FEB3758511}"/>
              </a:ext>
            </a:extLst>
          </p:cNvPr>
          <p:cNvGrpSpPr/>
          <p:nvPr userDrawn="1"/>
        </p:nvGrpSpPr>
        <p:grpSpPr>
          <a:xfrm>
            <a:off x="-205741" y="-190498"/>
            <a:ext cx="12588242" cy="7209772"/>
            <a:chOff x="-109730" y="-110489"/>
            <a:chExt cx="9352896" cy="5351811"/>
          </a:xfrm>
        </p:grpSpPr>
        <p:grpSp>
          <p:nvGrpSpPr>
            <p:cNvPr id="16" name="Group 15">
              <a:extLst>
                <a:ext uri="{FF2B5EF4-FFF2-40B4-BE49-F238E27FC236}">
                  <a16:creationId xmlns:a16="http://schemas.microsoft.com/office/drawing/2014/main" id="{F60E1ADA-2BDA-9D40-9A6C-DC88F8F1C790}"/>
                </a:ext>
              </a:extLst>
            </p:cNvPr>
            <p:cNvGrpSpPr/>
            <p:nvPr userDrawn="1"/>
          </p:nvGrpSpPr>
          <p:grpSpPr>
            <a:xfrm>
              <a:off x="326211" y="-110489"/>
              <a:ext cx="8492338" cy="119718"/>
              <a:chOff x="326211" y="-152399"/>
              <a:chExt cx="8492338" cy="199534"/>
            </a:xfrm>
          </p:grpSpPr>
          <p:cxnSp>
            <p:nvCxnSpPr>
              <p:cNvPr id="41" name="Straight Connector 40">
                <a:extLst>
                  <a:ext uri="{FF2B5EF4-FFF2-40B4-BE49-F238E27FC236}">
                    <a16:creationId xmlns:a16="http://schemas.microsoft.com/office/drawing/2014/main" id="{E0E49D21-1A52-6141-A9DD-60A91A462D9C}"/>
                  </a:ext>
                </a:extLst>
              </p:cNvPr>
              <p:cNvCxnSpPr/>
              <p:nvPr userDrawn="1"/>
            </p:nvCxnSpPr>
            <p:spPr bwMode="auto">
              <a:xfrm rot="5400000" flipH="1">
                <a:off x="250011" y="-2906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1A3C2B2C-D760-DF4C-9987-7634BD965B16}"/>
                  </a:ext>
                </a:extLst>
              </p:cNvPr>
              <p:cNvCxnSpPr/>
              <p:nvPr userDrawn="1"/>
            </p:nvCxnSpPr>
            <p:spPr bwMode="auto">
              <a:xfrm rot="5400000" flipH="1">
                <a:off x="2090018" y="-76199"/>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101BB4B0-65F1-EA43-8B7E-81ADC01D6F5C}"/>
                  </a:ext>
                </a:extLst>
              </p:cNvPr>
              <p:cNvCxnSpPr/>
              <p:nvPr userDrawn="1"/>
            </p:nvCxnSpPr>
            <p:spPr bwMode="auto">
              <a:xfrm rot="5400000" flipH="1">
                <a:off x="2231557" y="-76199"/>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D43A7F40-8B71-C84E-B1FA-1DE0333EE8F2}"/>
                  </a:ext>
                </a:extLst>
              </p:cNvPr>
              <p:cNvCxnSpPr/>
              <p:nvPr userDrawn="1"/>
            </p:nvCxnSpPr>
            <p:spPr bwMode="auto">
              <a:xfrm rot="5400000" flipH="1">
                <a:off x="2373096" y="-76199"/>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56B31A49-931E-754D-BC5F-CA05F7149D32}"/>
                  </a:ext>
                </a:extLst>
              </p:cNvPr>
              <p:cNvCxnSpPr/>
              <p:nvPr userDrawn="1"/>
            </p:nvCxnSpPr>
            <p:spPr bwMode="auto">
              <a:xfrm rot="5400000" flipH="1">
                <a:off x="4354641"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72580F9B-DC53-6449-B303-C9D49E0EF06E}"/>
                  </a:ext>
                </a:extLst>
              </p:cNvPr>
              <p:cNvCxnSpPr/>
              <p:nvPr userDrawn="1"/>
            </p:nvCxnSpPr>
            <p:spPr bwMode="auto">
              <a:xfrm rot="5400000" flipH="1">
                <a:off x="4496180"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BF141D2D-4EA9-204E-9CAD-136115D5DB69}"/>
                  </a:ext>
                </a:extLst>
              </p:cNvPr>
              <p:cNvCxnSpPr/>
              <p:nvPr userDrawn="1"/>
            </p:nvCxnSpPr>
            <p:spPr bwMode="auto">
              <a:xfrm rot="5400000" flipH="1">
                <a:off x="4637719"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47934C0F-B55B-D248-A00F-CD38E23E47BE}"/>
                  </a:ext>
                </a:extLst>
              </p:cNvPr>
              <p:cNvCxnSpPr/>
              <p:nvPr userDrawn="1"/>
            </p:nvCxnSpPr>
            <p:spPr bwMode="auto">
              <a:xfrm rot="5400000" flipH="1">
                <a:off x="6619265"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77B6B5DE-60F2-4947-968B-5D57C18B9113}"/>
                  </a:ext>
                </a:extLst>
              </p:cNvPr>
              <p:cNvCxnSpPr/>
              <p:nvPr userDrawn="1"/>
            </p:nvCxnSpPr>
            <p:spPr bwMode="auto">
              <a:xfrm rot="5400000" flipH="1">
                <a:off x="6760804"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CCADF15F-081E-804E-B998-ECA2207B0D0F}"/>
                  </a:ext>
                </a:extLst>
              </p:cNvPr>
              <p:cNvCxnSpPr/>
              <p:nvPr userDrawn="1"/>
            </p:nvCxnSpPr>
            <p:spPr bwMode="auto">
              <a:xfrm rot="5400000" flipH="1">
                <a:off x="6902342"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66A1A5D6-DC92-3D40-BACC-214350970932}"/>
                  </a:ext>
                </a:extLst>
              </p:cNvPr>
              <p:cNvCxnSpPr/>
              <p:nvPr userDrawn="1"/>
            </p:nvCxnSpPr>
            <p:spPr bwMode="auto">
              <a:xfrm rot="5400000" flipH="1">
                <a:off x="8742349" y="-29065"/>
                <a:ext cx="152399"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17" name="Group 16">
              <a:extLst>
                <a:ext uri="{FF2B5EF4-FFF2-40B4-BE49-F238E27FC236}">
                  <a16:creationId xmlns:a16="http://schemas.microsoft.com/office/drawing/2014/main" id="{04D9DC5D-77FB-F440-B5DB-A2DA329BB657}"/>
                </a:ext>
              </a:extLst>
            </p:cNvPr>
            <p:cNvGrpSpPr/>
            <p:nvPr userDrawn="1"/>
          </p:nvGrpSpPr>
          <p:grpSpPr>
            <a:xfrm>
              <a:off x="326211" y="5143289"/>
              <a:ext cx="8492338" cy="98033"/>
              <a:chOff x="326211" y="5111418"/>
              <a:chExt cx="8492338" cy="163389"/>
            </a:xfrm>
          </p:grpSpPr>
          <p:cxnSp>
            <p:nvCxnSpPr>
              <p:cNvPr id="30" name="Straight Connector 29">
                <a:extLst>
                  <a:ext uri="{FF2B5EF4-FFF2-40B4-BE49-F238E27FC236}">
                    <a16:creationId xmlns:a16="http://schemas.microsoft.com/office/drawing/2014/main" id="{43923083-04B5-664A-91EC-BDE595145E1F}"/>
                  </a:ext>
                </a:extLst>
              </p:cNvPr>
              <p:cNvCxnSpPr/>
              <p:nvPr userDrawn="1"/>
            </p:nvCxnSpPr>
            <p:spPr bwMode="auto">
              <a:xfrm rot="5400000" flipH="1">
                <a:off x="250011" y="5187632"/>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AB56F0E2-D159-1344-AED0-C205E8612862}"/>
                  </a:ext>
                </a:extLst>
              </p:cNvPr>
              <p:cNvCxnSpPr/>
              <p:nvPr userDrawn="1"/>
            </p:nvCxnSpPr>
            <p:spPr bwMode="auto">
              <a:xfrm rot="5400000" flipH="1">
                <a:off x="2090017"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55BBF07F-6759-454F-A91D-B102B8AC1919}"/>
                  </a:ext>
                </a:extLst>
              </p:cNvPr>
              <p:cNvCxnSpPr/>
              <p:nvPr userDrawn="1"/>
            </p:nvCxnSpPr>
            <p:spPr bwMode="auto">
              <a:xfrm rot="5400000" flipH="1">
                <a:off x="2231556"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E06CDBD1-5104-2345-A227-AD9F587B64BF}"/>
                  </a:ext>
                </a:extLst>
              </p:cNvPr>
              <p:cNvCxnSpPr/>
              <p:nvPr userDrawn="1"/>
            </p:nvCxnSpPr>
            <p:spPr bwMode="auto">
              <a:xfrm rot="5400000" flipH="1">
                <a:off x="2373095"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98EE3F69-0BBE-BD4F-9AD0-1CB352E1AD4A}"/>
                  </a:ext>
                </a:extLst>
              </p:cNvPr>
              <p:cNvCxnSpPr/>
              <p:nvPr userDrawn="1"/>
            </p:nvCxnSpPr>
            <p:spPr bwMode="auto">
              <a:xfrm rot="5400000" flipH="1">
                <a:off x="4354641"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7C98A40D-08C2-CE4C-84EC-F44645F73233}"/>
                  </a:ext>
                </a:extLst>
              </p:cNvPr>
              <p:cNvCxnSpPr/>
              <p:nvPr userDrawn="1"/>
            </p:nvCxnSpPr>
            <p:spPr bwMode="auto">
              <a:xfrm rot="5400000" flipH="1">
                <a:off x="4496180"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5F2C4334-325C-F648-85C6-42EA35A5D422}"/>
                  </a:ext>
                </a:extLst>
              </p:cNvPr>
              <p:cNvCxnSpPr/>
              <p:nvPr userDrawn="1"/>
            </p:nvCxnSpPr>
            <p:spPr bwMode="auto">
              <a:xfrm rot="5400000" flipH="1">
                <a:off x="4637719"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9DCB3919-C6D8-7841-8668-4FC65B2B152F}"/>
                  </a:ext>
                </a:extLst>
              </p:cNvPr>
              <p:cNvCxnSpPr/>
              <p:nvPr userDrawn="1"/>
            </p:nvCxnSpPr>
            <p:spPr bwMode="auto">
              <a:xfrm rot="5400000" flipH="1">
                <a:off x="6619264"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4A95870D-535C-3845-B53B-3A776CA153C0}"/>
                  </a:ext>
                </a:extLst>
              </p:cNvPr>
              <p:cNvCxnSpPr/>
              <p:nvPr userDrawn="1"/>
            </p:nvCxnSpPr>
            <p:spPr bwMode="auto">
              <a:xfrm rot="5400000" flipH="1">
                <a:off x="6760803"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E89ED024-07E4-8043-81FE-ED2CF733D6FE}"/>
                  </a:ext>
                </a:extLst>
              </p:cNvPr>
              <p:cNvCxnSpPr/>
              <p:nvPr userDrawn="1"/>
            </p:nvCxnSpPr>
            <p:spPr bwMode="auto">
              <a:xfrm rot="5400000" flipH="1">
                <a:off x="6902342"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6C26E068-11CF-5A4C-9076-192CCF5D7635}"/>
                  </a:ext>
                </a:extLst>
              </p:cNvPr>
              <p:cNvCxnSpPr/>
              <p:nvPr userDrawn="1"/>
            </p:nvCxnSpPr>
            <p:spPr bwMode="auto">
              <a:xfrm rot="5400000" flipH="1">
                <a:off x="8742348" y="5187619"/>
                <a:ext cx="152402"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18" name="Group 17">
              <a:extLst>
                <a:ext uri="{FF2B5EF4-FFF2-40B4-BE49-F238E27FC236}">
                  <a16:creationId xmlns:a16="http://schemas.microsoft.com/office/drawing/2014/main" id="{BBB5C23F-A661-304E-8011-DD021448031E}"/>
                </a:ext>
              </a:extLst>
            </p:cNvPr>
            <p:cNvGrpSpPr/>
            <p:nvPr userDrawn="1"/>
          </p:nvGrpSpPr>
          <p:grpSpPr>
            <a:xfrm>
              <a:off x="-109730" y="313734"/>
              <a:ext cx="124556" cy="4525058"/>
              <a:chOff x="-109730" y="313734"/>
              <a:chExt cx="124556" cy="4525058"/>
            </a:xfrm>
          </p:grpSpPr>
          <p:cxnSp>
            <p:nvCxnSpPr>
              <p:cNvPr id="25" name="Straight Connector 24">
                <a:extLst>
                  <a:ext uri="{FF2B5EF4-FFF2-40B4-BE49-F238E27FC236}">
                    <a16:creationId xmlns:a16="http://schemas.microsoft.com/office/drawing/2014/main" id="{0C7ABC2B-4A6F-B94C-8519-4112F75E043D}"/>
                  </a:ext>
                </a:extLst>
              </p:cNvPr>
              <p:cNvCxnSpPr/>
              <p:nvPr userDrawn="1"/>
            </p:nvCxnSpPr>
            <p:spPr bwMode="auto">
              <a:xfrm flipH="1">
                <a:off x="-109730" y="1303590"/>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C7B0C4DF-FB88-3E41-A423-6B9060FFFC04}"/>
                  </a:ext>
                </a:extLst>
              </p:cNvPr>
              <p:cNvCxnSpPr/>
              <p:nvPr userDrawn="1"/>
            </p:nvCxnSpPr>
            <p:spPr bwMode="auto">
              <a:xfrm flipH="1">
                <a:off x="-109730" y="2576262"/>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0F21C9AE-BA75-4B42-8ABF-6D9511D56DA5}"/>
                  </a:ext>
                </a:extLst>
              </p:cNvPr>
              <p:cNvCxnSpPr/>
              <p:nvPr userDrawn="1"/>
            </p:nvCxnSpPr>
            <p:spPr bwMode="auto">
              <a:xfrm flipH="1">
                <a:off x="-109730" y="384962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F93FD6DA-8879-FB44-9DA8-FB462D50A869}"/>
                  </a:ext>
                </a:extLst>
              </p:cNvPr>
              <p:cNvCxnSpPr/>
              <p:nvPr userDrawn="1"/>
            </p:nvCxnSpPr>
            <p:spPr bwMode="auto">
              <a:xfrm flipH="1">
                <a:off x="-98406" y="31373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98549E76-8743-074C-8EC8-6E60CA66AF1C}"/>
                  </a:ext>
                </a:extLst>
              </p:cNvPr>
              <p:cNvCxnSpPr/>
              <p:nvPr userDrawn="1"/>
            </p:nvCxnSpPr>
            <p:spPr bwMode="auto">
              <a:xfrm flipH="1">
                <a:off x="-76614" y="4838792"/>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19" name="Group 18">
              <a:extLst>
                <a:ext uri="{FF2B5EF4-FFF2-40B4-BE49-F238E27FC236}">
                  <a16:creationId xmlns:a16="http://schemas.microsoft.com/office/drawing/2014/main" id="{44498DC8-B4AA-1145-94DF-30D6EA792B67}"/>
                </a:ext>
              </a:extLst>
            </p:cNvPr>
            <p:cNvGrpSpPr/>
            <p:nvPr userDrawn="1"/>
          </p:nvGrpSpPr>
          <p:grpSpPr>
            <a:xfrm>
              <a:off x="9123418" y="313734"/>
              <a:ext cx="119748" cy="4525057"/>
              <a:chOff x="-149362" y="307384"/>
              <a:chExt cx="119748" cy="4525057"/>
            </a:xfrm>
          </p:grpSpPr>
          <p:cxnSp>
            <p:nvCxnSpPr>
              <p:cNvPr id="20" name="Straight Connector 19">
                <a:extLst>
                  <a:ext uri="{FF2B5EF4-FFF2-40B4-BE49-F238E27FC236}">
                    <a16:creationId xmlns:a16="http://schemas.microsoft.com/office/drawing/2014/main" id="{CAD88016-E1AB-3E4A-A193-B0EE59ABA177}"/>
                  </a:ext>
                </a:extLst>
              </p:cNvPr>
              <p:cNvCxnSpPr/>
              <p:nvPr userDrawn="1"/>
            </p:nvCxnSpPr>
            <p:spPr bwMode="auto">
              <a:xfrm flipH="1">
                <a:off x="-142845" y="1297240"/>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A34A47F0-153C-F044-8B57-897D51D0F3AF}"/>
                  </a:ext>
                </a:extLst>
              </p:cNvPr>
              <p:cNvCxnSpPr/>
              <p:nvPr userDrawn="1"/>
            </p:nvCxnSpPr>
            <p:spPr bwMode="auto">
              <a:xfrm flipH="1">
                <a:off x="-142845" y="2569913"/>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5BEF783C-A4C5-464B-B070-CB463F346A63}"/>
                  </a:ext>
                </a:extLst>
              </p:cNvPr>
              <p:cNvCxnSpPr/>
              <p:nvPr userDrawn="1"/>
            </p:nvCxnSpPr>
            <p:spPr bwMode="auto">
              <a:xfrm flipH="1">
                <a:off x="-142845" y="384327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A16682FB-1EAE-BF4A-90A7-F03FCDEB53CD}"/>
                  </a:ext>
                </a:extLst>
              </p:cNvPr>
              <p:cNvCxnSpPr/>
              <p:nvPr userDrawn="1"/>
            </p:nvCxnSpPr>
            <p:spPr bwMode="auto">
              <a:xfrm flipH="1">
                <a:off x="-149362" y="30738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5CED665C-B02F-8448-B30E-668DB8D2C953}"/>
                  </a:ext>
                </a:extLst>
              </p:cNvPr>
              <p:cNvCxnSpPr/>
              <p:nvPr userDrawn="1"/>
            </p:nvCxnSpPr>
            <p:spPr bwMode="auto">
              <a:xfrm flipH="1">
                <a:off x="-121054" y="4832441"/>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498067489"/>
      </p:ext>
    </p:extLst>
  </p:cSld>
  <p:clrMapOvr>
    <a:masterClrMapping/>
  </p:clrMapOvr>
  <p:extLst>
    <p:ext uri="{DCECCB84-F9BA-43D5-87BE-67443E8EF086}">
      <p15:sldGuideLst xmlns:p15="http://schemas.microsoft.com/office/powerpoint/2012/main">
        <p15:guide id="1" orient="horz" pos="2592">
          <p15:clr>
            <a:srgbClr val="FBAE40"/>
          </p15:clr>
        </p15:guide>
        <p15:guide id="2" orient="horz" pos="672">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Dark: 75%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4680E29-0639-4142-8893-ABFFEA725456}"/>
              </a:ext>
            </a:extLst>
          </p:cNvPr>
          <p:cNvSpPr/>
          <p:nvPr userDrawn="1"/>
        </p:nvSpPr>
        <p:spPr>
          <a:xfrm>
            <a:off x="3048002"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7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Title 1">
            <a:extLst>
              <a:ext uri="{FF2B5EF4-FFF2-40B4-BE49-F238E27FC236}">
                <a16:creationId xmlns:a16="http://schemas.microsoft.com/office/drawing/2014/main" id="{2364D8E7-4B8B-E54C-8EC6-F2891417C0CB}"/>
              </a:ext>
            </a:extLst>
          </p:cNvPr>
          <p:cNvSpPr>
            <a:spLocks noGrp="1"/>
          </p:cNvSpPr>
          <p:nvPr>
            <p:ph type="title" hasCustomPrompt="1"/>
          </p:nvPr>
        </p:nvSpPr>
        <p:spPr>
          <a:xfrm>
            <a:off x="228600" y="228602"/>
            <a:ext cx="2590800" cy="950154"/>
          </a:xfrm>
        </p:spPr>
        <p:txBody>
          <a:bodyPr/>
          <a:lstStyle>
            <a:lvl1pPr>
              <a:defRPr sz="1200" b="0" i="0" spc="91" baseline="0">
                <a:latin typeface="IBM Plex Sans Text" charset="0"/>
                <a:ea typeface="IBM Plex Sans Text" charset="0"/>
                <a:cs typeface="IBM Plex Sans Text" charset="0"/>
              </a:defRPr>
            </a:lvl1pPr>
          </a:lstStyle>
          <a:p>
            <a:r>
              <a:rPr lang="en-US" dirty="0"/>
              <a:t>SECTION HEADING</a:t>
            </a:r>
          </a:p>
        </p:txBody>
      </p:sp>
      <p:sp>
        <p:nvSpPr>
          <p:cNvPr id="3" name="Footer Placeholder 2">
            <a:extLst>
              <a:ext uri="{FF2B5EF4-FFF2-40B4-BE49-F238E27FC236}">
                <a16:creationId xmlns:a16="http://schemas.microsoft.com/office/drawing/2014/main" id="{9C0EF7AD-0106-B349-8957-0958B08750B8}"/>
              </a:ext>
            </a:extLst>
          </p:cNvPr>
          <p:cNvSpPr>
            <a:spLocks noGrp="1"/>
          </p:cNvSpPr>
          <p:nvPr>
            <p:ph type="ftr" sz="quarter" idx="10"/>
          </p:nvPr>
        </p:nvSpPr>
        <p:spPr/>
        <p:txBody>
          <a:bodyPr/>
          <a:lstStyle/>
          <a:p>
            <a:endParaRPr lang="en-US" dirty="0">
              <a:solidFill>
                <a:srgbClr val="000000"/>
              </a:solidFill>
            </a:endParaRPr>
          </a:p>
        </p:txBody>
      </p:sp>
      <p:sp>
        <p:nvSpPr>
          <p:cNvPr id="4" name="Slide Number Placeholder 3">
            <a:extLst>
              <a:ext uri="{FF2B5EF4-FFF2-40B4-BE49-F238E27FC236}">
                <a16:creationId xmlns:a16="http://schemas.microsoft.com/office/drawing/2014/main" id="{31EB2F17-774C-FC4D-8998-893743D6BE3B}"/>
              </a:ext>
            </a:extLst>
          </p:cNvPr>
          <p:cNvSpPr>
            <a:spLocks noGrp="1"/>
          </p:cNvSpPr>
          <p:nvPr>
            <p:ph type="sldNum" sz="quarter" idx="11"/>
          </p:nvPr>
        </p:nvSpPr>
        <p:spPr>
          <a:xfrm>
            <a:off x="12887021" y="7787881"/>
            <a:ext cx="1398620" cy="123111"/>
          </a:xfrm>
        </p:spPr>
        <p:txBody>
          <a:bodyPr/>
          <a:lstStyle>
            <a:lvl1pPr>
              <a:defRPr>
                <a:solidFill>
                  <a:schemeClr val="tx1"/>
                </a:solidFill>
              </a:defRPr>
            </a:lvl1pPr>
          </a:lstStyle>
          <a:p>
            <a:pPr defTabSz="914072"/>
            <a:r>
              <a:rPr lang="en-US">
                <a:solidFill>
                  <a:srgbClr val="000000"/>
                </a:solidFill>
              </a:rPr>
              <a:t>© 2019 IBM Corporation  |  </a:t>
            </a:r>
            <a:fld id="{62AC7532-E9CD-3F47-AFEB-F708F102E192}" type="slidenum">
              <a:rPr lang="en-US" smtClean="0">
                <a:solidFill>
                  <a:srgbClr val="000000"/>
                </a:solidFill>
              </a:rPr>
              <a:pPr defTabSz="914072"/>
              <a:t>‹#›</a:t>
            </a:fld>
            <a:endParaRPr lang="en-US" dirty="0">
              <a:solidFill>
                <a:srgbClr val="000000"/>
              </a:solidFill>
            </a:endParaRPr>
          </a:p>
        </p:txBody>
      </p:sp>
      <p:sp>
        <p:nvSpPr>
          <p:cNvPr id="6" name="Text Placeholder 5">
            <a:extLst>
              <a:ext uri="{FF2B5EF4-FFF2-40B4-BE49-F238E27FC236}">
                <a16:creationId xmlns:a16="http://schemas.microsoft.com/office/drawing/2014/main" id="{D0F2D07D-A7FC-4644-ABD8-857C61BD98BC}"/>
              </a:ext>
            </a:extLst>
          </p:cNvPr>
          <p:cNvSpPr>
            <a:spLocks noGrp="1"/>
          </p:cNvSpPr>
          <p:nvPr>
            <p:ph type="body" sz="quarter" idx="12"/>
          </p:nvPr>
        </p:nvSpPr>
        <p:spPr>
          <a:xfrm>
            <a:off x="228600" y="1371600"/>
            <a:ext cx="2590800" cy="50292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9382951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465239325"/>
      </p:ext>
    </p:extLst>
  </p:cSld>
  <p:clrMapOvr>
    <a:masterClrMapping/>
  </p:clrMapOvr>
  <p:transition spd="med"/>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300" y="284956"/>
            <a:ext cx="3711980" cy="95329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5734B11-1656-9EAF-DD45-A5D6A33842D4}"/>
              </a:ext>
            </a:extLst>
          </p:cNvPr>
          <p:cNvSpPr>
            <a:spLocks noGrp="1"/>
          </p:cNvSpPr>
          <p:nvPr>
            <p:ph type="sldNum" sz="quarter" idx="10"/>
          </p:nvPr>
        </p:nvSpPr>
        <p:spPr>
          <a:xfrm>
            <a:off x="11776446" y="6448425"/>
            <a:ext cx="128254" cy="12700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4126"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20"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dirty="0"/>
              <a:t>IBM Data and AI / © 2024 IBM Corporation</a:t>
            </a:r>
          </a:p>
        </p:txBody>
      </p:sp>
    </p:spTree>
    <p:extLst>
      <p:ext uri="{BB962C8B-B14F-4D97-AF65-F5344CB8AC3E}">
        <p14:creationId xmlns:p14="http://schemas.microsoft.com/office/powerpoint/2010/main" val="3348799279"/>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192600"/>
            <a:ext cx="2474590" cy="1048544"/>
          </a:xfrm>
        </p:spPr>
        <p:txBody>
          <a:bodyPr/>
          <a:lstStyle>
            <a:lvl1pPr>
              <a:lnSpc>
                <a:spcPct val="100000"/>
              </a:lnSpc>
              <a:defRPr sz="1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a:prstGeom prst="rect">
            <a:avLst/>
          </a:prstGeom>
        </p:spPr>
        <p:txBody>
          <a:bodyPr/>
          <a:lstStyle>
            <a:lvl1pPr>
              <a:lnSpc>
                <a:spcPct val="100000"/>
              </a:lnSpc>
              <a:spcBef>
                <a:spcPts val="0"/>
              </a:spcBef>
              <a:defRPr sz="3199"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822997"/>
      </p:ext>
    </p:extLst>
  </p:cSld>
  <p:clrMapOvr>
    <a:masterClrMapping/>
  </p:clrMapOvr>
  <p:transition spd="med"/>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tx">
  <p:cSld name="4_Text, 4 columns ">
    <p:spTree>
      <p:nvGrpSpPr>
        <p:cNvPr id="1" name=""/>
        <p:cNvGrpSpPr/>
        <p:nvPr/>
      </p:nvGrpSpPr>
      <p:grpSpPr>
        <a:xfrm>
          <a:off x="0" y="0"/>
          <a:ext cx="0" cy="0"/>
          <a:chOff x="0" y="0"/>
          <a:chExt cx="0" cy="0"/>
        </a:xfrm>
      </p:grpSpPr>
      <p:sp>
        <p:nvSpPr>
          <p:cNvPr id="185" name="幻灯片编号"/>
          <p:cNvSpPr txBox="1">
            <a:spLocks noGrp="1"/>
          </p:cNvSpPr>
          <p:nvPr>
            <p:ph type="sldNum" sz="quarter" idx="2"/>
          </p:nvPr>
        </p:nvSpPr>
        <p:spPr>
          <a:xfrm>
            <a:off x="11770814" y="6475902"/>
            <a:ext cx="135436" cy="123111"/>
          </a:xfrm>
          <a:prstGeom prst="rect">
            <a:avLst/>
          </a:prstGeom>
        </p:spPr>
        <p:txBody>
          <a:bodyPr/>
          <a:lstStyle/>
          <a:p>
            <a:fld id="{86CB4B4D-7CA3-9044-876B-883B54F8677D}" type="slidenum">
              <a:rPr/>
              <a:t>‹#›</a:t>
            </a:fld>
            <a:endParaRPr dirty="0"/>
          </a:p>
        </p:txBody>
      </p:sp>
      <p:sp>
        <p:nvSpPr>
          <p:cNvPr id="186" name="Text Placeholder 3"/>
          <p:cNvSpPr>
            <a:spLocks noGrp="1"/>
          </p:cNvSpPr>
          <p:nvPr>
            <p:ph type="body" sz="quarter" idx="21"/>
          </p:nvPr>
        </p:nvSpPr>
        <p:spPr>
          <a:xfrm>
            <a:off x="3333754" y="1714500"/>
            <a:ext cx="2475707" cy="428625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Efficitur scelerisque velit. Vestibulum viverra, ante ac placerat pulvinar, erat risus pellentesque urna, ac posuere nibh nulla eu mi. Fusce scelerisque ultrices eros quis dignissim. Pellentesque mollis nibh at nibh imperdiet, sed ullamcorper velit posuere. Integer et velit blandit.</a:t>
            </a:r>
          </a:p>
        </p:txBody>
      </p:sp>
      <p:sp>
        <p:nvSpPr>
          <p:cNvPr id="187" name="Text Placeholder 4"/>
          <p:cNvSpPr>
            <a:spLocks noGrp="1"/>
          </p:cNvSpPr>
          <p:nvPr>
            <p:ph type="body" sz="quarter" idx="22"/>
          </p:nvPr>
        </p:nvSpPr>
        <p:spPr>
          <a:xfrm>
            <a:off x="6381750" y="1714500"/>
            <a:ext cx="2476500" cy="428625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b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88" name="Text Placeholder 5"/>
          <p:cNvSpPr>
            <a:spLocks noGrp="1"/>
          </p:cNvSpPr>
          <p:nvPr>
            <p:ph type="body" sz="quarter" idx="23"/>
          </p:nvPr>
        </p:nvSpPr>
        <p:spPr>
          <a:xfrm>
            <a:off x="9429754" y="1714500"/>
            <a:ext cx="2479675" cy="428625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a:t>
            </a:r>
          </a:p>
        </p:txBody>
      </p:sp>
      <p:sp>
        <p:nvSpPr>
          <p:cNvPr id="189" name="Title 1"/>
          <p:cNvSpPr txBox="1">
            <a:spLocks noGrp="1"/>
          </p:cNvSpPr>
          <p:nvPr>
            <p:ph type="body" sz="quarter" idx="24"/>
          </p:nvPr>
        </p:nvSpPr>
        <p:spPr>
          <a:xfrm>
            <a:off x="283468" y="284961"/>
            <a:ext cx="2474913" cy="762795"/>
          </a:xfrm>
          <a:prstGeom prst="rect">
            <a:avLst/>
          </a:prstGeom>
        </p:spPr>
        <p:txBody>
          <a:bodyPr/>
          <a:lstStyle>
            <a:lvl1pPr>
              <a:defRPr sz="1400"/>
            </a:lvl1pPr>
          </a:lstStyle>
          <a:p>
            <a:r>
              <a:t>28/36/44pt short headline, 3 lines maximum, sentence case</a:t>
            </a:r>
          </a:p>
        </p:txBody>
      </p:sp>
      <p:sp>
        <p:nvSpPr>
          <p:cNvPr id="190" name="Text Placeholder 2"/>
          <p:cNvSpPr txBox="1">
            <a:spLocks noGrp="1"/>
          </p:cNvSpPr>
          <p:nvPr>
            <p:ph type="body" sz="quarter" idx="25"/>
          </p:nvPr>
        </p:nvSpPr>
        <p:spPr>
          <a:xfrm>
            <a:off x="284167" y="1714500"/>
            <a:ext cx="2478087" cy="428625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91" name="Footer Placeholder 4"/>
          <p:cNvSpPr txBox="1">
            <a:spLocks noGrp="1"/>
          </p:cNvSpPr>
          <p:nvPr>
            <p:ph type="body" sz="quarter" idx="26"/>
          </p:nvPr>
        </p:nvSpPr>
        <p:spPr>
          <a:xfrm>
            <a:off x="284166" y="6471078"/>
            <a:ext cx="4284663" cy="129876"/>
          </a:xfrm>
          <a:prstGeom prst="rect">
            <a:avLst/>
          </a:prstGeom>
        </p:spPr>
        <p:txBody>
          <a:bodyPr anchor="b">
            <a:spAutoFit/>
          </a:bodyPr>
          <a:lstStyle>
            <a:lvl1pPr defTabSz="913775">
              <a:lnSpc>
                <a:spcPct val="110000"/>
              </a:lnSpc>
              <a:defRPr sz="800">
                <a:latin typeface="+mj-lt"/>
                <a:ea typeface="+mj-ea"/>
                <a:cs typeface="+mj-cs"/>
                <a:sym typeface="IBM Plex Sans"/>
              </a:defRPr>
            </a:lvl1pPr>
          </a:lstStyle>
          <a:p>
            <a:r>
              <a:t>Footer text (optional)</a:t>
            </a:r>
          </a:p>
        </p:txBody>
      </p:sp>
    </p:spTree>
    <p:extLst>
      <p:ext uri="{BB962C8B-B14F-4D97-AF65-F5344CB8AC3E}">
        <p14:creationId xmlns:p14="http://schemas.microsoft.com/office/powerpoint/2010/main" val="845884303"/>
      </p:ext>
    </p:extLst>
  </p:cSld>
  <p:clrMapOvr>
    <a:masterClrMapping/>
  </p:clrMapOvr>
  <p:transition spd="med"/>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1429544"/>
          </a:xfrm>
        </p:spPr>
        <p:txBody>
          <a:bodyPr rIns="457200"/>
          <a:lstStyle>
            <a:lvl1pPr>
              <a:lnSpc>
                <a:spcPct val="100000"/>
              </a:lnSpc>
              <a:defRPr sz="3198">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6" y="6402118"/>
            <a:ext cx="2477765" cy="190500"/>
          </a:xfrm>
        </p:spPr>
        <p:txBody>
          <a:bodyPr/>
          <a:lstStyle/>
          <a:p>
            <a:endParaRPr lang="en-US"/>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95389667"/>
      </p:ext>
    </p:extLst>
  </p:cSld>
  <p:clrMapOvr>
    <a:masterClrMapping/>
  </p:clrMapOvr>
  <p:transition spd="med"/>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292608" y="1658114"/>
            <a:ext cx="2450592" cy="433628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4"/>
            <a:ext cx="2450592" cy="433628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4"/>
            <a:ext cx="2450592" cy="433628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4"/>
            <a:ext cx="2450592" cy="433628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ntegration/ DOC ID / Oct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898556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F6F589C5-4DE8-5042-A5F2-B849A7A6E28C}" type="slidenum">
              <a:rPr lang="en-US" smtClean="0"/>
              <a:t>‹#›</a:t>
            </a:fld>
            <a:endParaRPr lang="en-US"/>
          </a:p>
        </p:txBody>
      </p:sp>
    </p:spTree>
    <p:extLst>
      <p:ext uri="{BB962C8B-B14F-4D97-AF65-F5344CB8AC3E}">
        <p14:creationId xmlns:p14="http://schemas.microsoft.com/office/powerpoint/2010/main" val="111093073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4056711411"/>
      </p:ext>
    </p:extLst>
  </p:cSld>
  <p:clrMapOvr>
    <a:masterClrMapping/>
  </p:clrMapOvr>
  <p:transition spd="med"/>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5" y="6263482"/>
            <a:ext cx="819043" cy="304800"/>
          </a:xfrm>
          <a:prstGeom prst="rect">
            <a:avLst/>
          </a:prstGeom>
        </p:spPr>
      </p:pic>
      <p:sp>
        <p:nvSpPr>
          <p:cNvPr id="7" name="Title 1">
            <a:extLst>
              <a:ext uri="{FF2B5EF4-FFF2-40B4-BE49-F238E27FC236}">
                <a16:creationId xmlns:a16="http://schemas.microsoft.com/office/drawing/2014/main" id="{184617A5-E44D-86DD-8C8E-5D85DFCA435B}"/>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761943689"/>
      </p:ext>
    </p:extLst>
  </p:cSld>
  <p:clrMapOvr>
    <a:masterClrMapping/>
  </p:clrMapOvr>
  <p:transition spd="med"/>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5" y="6263482"/>
            <a:ext cx="819043" cy="304800"/>
          </a:xfrm>
          <a:prstGeom prst="rect">
            <a:avLst/>
          </a:prstGeom>
        </p:spPr>
      </p:pic>
      <p:sp>
        <p:nvSpPr>
          <p:cNvPr id="4" name="Title 1">
            <a:extLst>
              <a:ext uri="{FF2B5EF4-FFF2-40B4-BE49-F238E27FC236}">
                <a16:creationId xmlns:a16="http://schemas.microsoft.com/office/drawing/2014/main" id="{7CC25B71-827F-9C78-56BA-F30A6070AC9F}"/>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130779047"/>
      </p:ext>
    </p:extLst>
  </p:cSld>
  <p:clrMapOvr>
    <a:masterClrMapping/>
  </p:clrMapOvr>
  <p:transition spd="med"/>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5" y="6263482"/>
            <a:ext cx="819043" cy="304800"/>
          </a:xfrm>
          <a:prstGeom prst="rect">
            <a:avLst/>
          </a:prstGeom>
        </p:spPr>
      </p:pic>
      <p:sp>
        <p:nvSpPr>
          <p:cNvPr id="4" name="Title 1">
            <a:extLst>
              <a:ext uri="{FF2B5EF4-FFF2-40B4-BE49-F238E27FC236}">
                <a16:creationId xmlns:a16="http://schemas.microsoft.com/office/drawing/2014/main" id="{A6AD06EA-1AAE-9258-F68E-D0D307454A33}"/>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3429630395"/>
      </p:ext>
    </p:extLst>
  </p:cSld>
  <p:clrMapOvr>
    <a:masterClrMapping/>
  </p:clrMapOvr>
  <p:transition spd="med"/>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3" name="Half Frame 2">
            <a:extLst>
              <a:ext uri="{FF2B5EF4-FFF2-40B4-BE49-F238E27FC236}">
                <a16:creationId xmlns:a16="http://schemas.microsoft.com/office/drawing/2014/main" id="{D075096B-C821-C098-147F-EBBADAF14232}"/>
              </a:ext>
            </a:extLst>
          </p:cNvPr>
          <p:cNvSpPr/>
          <p:nvPr userDrawn="1"/>
        </p:nvSpPr>
        <p:spPr bwMode="auto">
          <a:xfrm>
            <a:off x="287300" y="5647914"/>
            <a:ext cx="597877" cy="616225"/>
          </a:xfrm>
          <a:prstGeom prst="halfFrame">
            <a:avLst>
              <a:gd name="adj1" fmla="val 4166"/>
              <a:gd name="adj2" fmla="val 4329"/>
            </a:avLst>
          </a:prstGeom>
          <a:solidFill>
            <a:schemeClr val="tx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4" name="Half Frame 3">
            <a:extLst>
              <a:ext uri="{FF2B5EF4-FFF2-40B4-BE49-F238E27FC236}">
                <a16:creationId xmlns:a16="http://schemas.microsoft.com/office/drawing/2014/main" id="{1442638B-80B0-46D7-E3DF-A818216B7868}"/>
              </a:ext>
            </a:extLst>
          </p:cNvPr>
          <p:cNvSpPr/>
          <p:nvPr userDrawn="1"/>
        </p:nvSpPr>
        <p:spPr bwMode="auto">
          <a:xfrm rot="10800000">
            <a:off x="1523300" y="5956026"/>
            <a:ext cx="597877" cy="616225"/>
          </a:xfrm>
          <a:prstGeom prst="halfFrame">
            <a:avLst>
              <a:gd name="adj1" fmla="val 4166"/>
              <a:gd name="adj2" fmla="val 4329"/>
            </a:avLst>
          </a:prstGeom>
          <a:solidFill>
            <a:schemeClr val="tx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5" name="TextBox 4">
            <a:extLst>
              <a:ext uri="{FF2B5EF4-FFF2-40B4-BE49-F238E27FC236}">
                <a16:creationId xmlns:a16="http://schemas.microsoft.com/office/drawing/2014/main" id="{E7B1517E-F314-F2EA-B84A-A42A0DE39896}"/>
              </a:ext>
            </a:extLst>
          </p:cNvPr>
          <p:cNvSpPr txBox="1"/>
          <p:nvPr userDrawn="1"/>
        </p:nvSpPr>
        <p:spPr>
          <a:xfrm>
            <a:off x="621749" y="5837967"/>
            <a:ext cx="1164979" cy="52322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r>
              <a:rPr lang="en-US" sz="2800">
                <a:solidFill>
                  <a:schemeClr val="tx2"/>
                </a:solidFill>
              </a:rPr>
              <a:t>HR</a:t>
            </a:r>
            <a:r>
              <a:rPr lang="en-US" sz="2800">
                <a:solidFill>
                  <a:schemeClr val="accent1"/>
                </a:solidFill>
              </a:rPr>
              <a:t> Tx</a:t>
            </a:r>
            <a:endParaRPr lang="en-US" sz="2800"/>
          </a:p>
        </p:txBody>
      </p:sp>
    </p:spTree>
    <p:extLst>
      <p:ext uri="{BB962C8B-B14F-4D97-AF65-F5344CB8AC3E}">
        <p14:creationId xmlns:p14="http://schemas.microsoft.com/office/powerpoint/2010/main" val="4052241114"/>
      </p:ext>
    </p:extLst>
  </p:cSld>
  <p:clrMapOvr>
    <a:masterClrMapping/>
  </p:clrMapOvr>
  <p:transition spd="med"/>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841248"/>
            <a:ext cx="5049180" cy="4668838"/>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3" name="Half Frame 2">
            <a:extLst>
              <a:ext uri="{FF2B5EF4-FFF2-40B4-BE49-F238E27FC236}">
                <a16:creationId xmlns:a16="http://schemas.microsoft.com/office/drawing/2014/main" id="{42B8DAC7-CEAF-C245-27E6-96F9644A93BD}"/>
              </a:ext>
            </a:extLst>
          </p:cNvPr>
          <p:cNvSpPr/>
          <p:nvPr userDrawn="1"/>
        </p:nvSpPr>
        <p:spPr bwMode="auto">
          <a:xfrm>
            <a:off x="164945" y="5777548"/>
            <a:ext cx="597877" cy="616225"/>
          </a:xfrm>
          <a:prstGeom prst="halfFrame">
            <a:avLst>
              <a:gd name="adj1" fmla="val 4166"/>
              <a:gd name="adj2" fmla="val 4329"/>
            </a:avLst>
          </a:prstGeom>
          <a:solidFill>
            <a:schemeClr val="tx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6" name="Half Frame 5">
            <a:extLst>
              <a:ext uri="{FF2B5EF4-FFF2-40B4-BE49-F238E27FC236}">
                <a16:creationId xmlns:a16="http://schemas.microsoft.com/office/drawing/2014/main" id="{AAE172DD-9961-29FA-1F81-FFCC7EFC90FE}"/>
              </a:ext>
            </a:extLst>
          </p:cNvPr>
          <p:cNvSpPr/>
          <p:nvPr userDrawn="1"/>
        </p:nvSpPr>
        <p:spPr bwMode="auto">
          <a:xfrm rot="10800000">
            <a:off x="1400945" y="6085660"/>
            <a:ext cx="597877" cy="616225"/>
          </a:xfrm>
          <a:prstGeom prst="halfFrame">
            <a:avLst>
              <a:gd name="adj1" fmla="val 4166"/>
              <a:gd name="adj2" fmla="val 4329"/>
            </a:avLst>
          </a:prstGeom>
          <a:solidFill>
            <a:schemeClr val="tx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8" name="TextBox 7">
            <a:extLst>
              <a:ext uri="{FF2B5EF4-FFF2-40B4-BE49-F238E27FC236}">
                <a16:creationId xmlns:a16="http://schemas.microsoft.com/office/drawing/2014/main" id="{A6D6090B-7CFE-7976-1A48-DA4FC9448A35}"/>
              </a:ext>
            </a:extLst>
          </p:cNvPr>
          <p:cNvSpPr txBox="1"/>
          <p:nvPr userDrawn="1"/>
        </p:nvSpPr>
        <p:spPr>
          <a:xfrm>
            <a:off x="499394" y="5967601"/>
            <a:ext cx="1164979" cy="52322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r>
              <a:rPr lang="en-US" sz="2800">
                <a:solidFill>
                  <a:schemeClr val="tx2"/>
                </a:solidFill>
              </a:rPr>
              <a:t>HR</a:t>
            </a:r>
            <a:r>
              <a:rPr lang="en-US" sz="2800">
                <a:solidFill>
                  <a:schemeClr val="accent1"/>
                </a:solidFill>
              </a:rPr>
              <a:t> Tx</a:t>
            </a:r>
            <a:endParaRPr lang="en-US" sz="2800"/>
          </a:p>
        </p:txBody>
      </p:sp>
    </p:spTree>
    <p:extLst>
      <p:ext uri="{BB962C8B-B14F-4D97-AF65-F5344CB8AC3E}">
        <p14:creationId xmlns:p14="http://schemas.microsoft.com/office/powerpoint/2010/main" val="401775247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dirty="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280443" y="6048047"/>
            <a:ext cx="2476178" cy="571500"/>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3327760" y="6000751"/>
            <a:ext cx="2476178" cy="618796"/>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48778163"/>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97701989"/>
      </p:ext>
    </p:extLst>
  </p:cSld>
  <p:clrMapOvr>
    <a:masterClrMapping/>
  </p:clrMapOvr>
  <p:transition spd="med"/>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endParaRPr lang="en-US"/>
          </a:p>
        </p:txBody>
      </p:sp>
    </p:spTree>
    <p:extLst>
      <p:ext uri="{BB962C8B-B14F-4D97-AF65-F5344CB8AC3E}">
        <p14:creationId xmlns:p14="http://schemas.microsoft.com/office/powerpoint/2010/main" val="204888393"/>
      </p:ext>
    </p:extLst>
  </p:cSld>
  <p:clrMapOvr>
    <a:masterClrMapping/>
  </p:clrMapOvr>
  <p:transition spd="med"/>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endParaRPr lang="en-US"/>
          </a:p>
        </p:txBody>
      </p:sp>
    </p:spTree>
    <p:extLst>
      <p:ext uri="{BB962C8B-B14F-4D97-AF65-F5344CB8AC3E}">
        <p14:creationId xmlns:p14="http://schemas.microsoft.com/office/powerpoint/2010/main" val="2531530209"/>
      </p:ext>
    </p:extLst>
  </p:cSld>
  <p:clrMapOvr>
    <a:masterClrMapping/>
  </p:clrMapOvr>
  <p:transition spd="med"/>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210312"/>
            <a:ext cx="8569797" cy="4095750"/>
          </a:xfrm>
        </p:spPr>
        <p:txBody>
          <a:bodyPr/>
          <a:lstStyle>
            <a:lvl1pPr>
              <a:defRPr sz="85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endParaRPr lang="en-US"/>
          </a:p>
        </p:txBody>
      </p:sp>
    </p:spTree>
    <p:extLst>
      <p:ext uri="{BB962C8B-B14F-4D97-AF65-F5344CB8AC3E}">
        <p14:creationId xmlns:p14="http://schemas.microsoft.com/office/powerpoint/2010/main" val="1355386261"/>
      </p:ext>
    </p:extLst>
  </p:cSld>
  <p:clrMapOvr>
    <a:masterClrMapping/>
  </p:clrMapOvr>
  <p:transition spd="med"/>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224028"/>
            <a:ext cx="5520318" cy="4287044"/>
          </a:xfrm>
        </p:spPr>
        <p:txBody>
          <a:bodyPr/>
          <a:lstStyle>
            <a:lvl1pPr>
              <a:lnSpc>
                <a:spcPct val="100000"/>
              </a:lnSpc>
              <a:spcBef>
                <a:spcPts val="0"/>
              </a:spcBef>
              <a:defRPr sz="3199">
                <a:solidFill>
                  <a:schemeClr val="tx2"/>
                </a:solidFill>
              </a:defRPr>
            </a:lvl1pPr>
            <a:lvl2pPr marL="292549" indent="-292549">
              <a:lnSpc>
                <a:spcPct val="100000"/>
              </a:lnSpc>
              <a:spcBef>
                <a:spcPts val="0"/>
              </a:spcBef>
              <a:defRPr sz="3199">
                <a:solidFill>
                  <a:schemeClr val="tx2"/>
                </a:solidFill>
              </a:defRPr>
            </a:lvl2pPr>
            <a:lvl3pPr marL="548530" indent="-292549">
              <a:lnSpc>
                <a:spcPct val="100000"/>
              </a:lnSpc>
              <a:spcBef>
                <a:spcPts val="0"/>
              </a:spcBef>
              <a:defRPr sz="3199">
                <a:solidFill>
                  <a:schemeClr val="tx2"/>
                </a:solidFill>
              </a:defRPr>
            </a:lvl3pPr>
            <a:lvl4pPr marL="877648">
              <a:lnSpc>
                <a:spcPct val="100000"/>
              </a:lnSpc>
              <a:spcBef>
                <a:spcPts val="0"/>
              </a:spcBef>
              <a:defRPr sz="31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p>
            <a:endParaRPr lang="en-US"/>
          </a:p>
        </p:txBody>
      </p:sp>
    </p:spTree>
    <p:extLst>
      <p:ext uri="{BB962C8B-B14F-4D97-AF65-F5344CB8AC3E}">
        <p14:creationId xmlns:p14="http://schemas.microsoft.com/office/powerpoint/2010/main" val="4007093759"/>
      </p:ext>
    </p:extLst>
  </p:cSld>
  <p:clrMapOvr>
    <a:masterClrMapping/>
  </p:clrMapOvr>
  <p:transition spd="med"/>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210312"/>
            <a:ext cx="7330121" cy="4858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endParaRPr lang="en-US"/>
          </a:p>
        </p:txBody>
      </p:sp>
    </p:spTree>
    <p:extLst>
      <p:ext uri="{BB962C8B-B14F-4D97-AF65-F5344CB8AC3E}">
        <p14:creationId xmlns:p14="http://schemas.microsoft.com/office/powerpoint/2010/main" val="144776909"/>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649724"/>
            <a:ext cx="5524575"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endParaRPr lang="en-US"/>
          </a:p>
        </p:txBody>
      </p:sp>
    </p:spTree>
    <p:extLst>
      <p:ext uri="{BB962C8B-B14F-4D97-AF65-F5344CB8AC3E}">
        <p14:creationId xmlns:p14="http://schemas.microsoft.com/office/powerpoint/2010/main" val="1875279549"/>
      </p:ext>
    </p:extLst>
  </p:cSld>
  <p:clrMapOvr>
    <a:masterClrMapping/>
  </p:clrMapOvr>
  <p:transition spd="med"/>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4"/>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endParaRPr lang="en-US"/>
          </a:p>
        </p:txBody>
      </p:sp>
    </p:spTree>
    <p:extLst>
      <p:ext uri="{BB962C8B-B14F-4D97-AF65-F5344CB8AC3E}">
        <p14:creationId xmlns:p14="http://schemas.microsoft.com/office/powerpoint/2010/main" val="214343892"/>
      </p:ext>
    </p:extLst>
  </p:cSld>
  <p:clrMapOvr>
    <a:masterClrMapping/>
  </p:clrMapOvr>
  <p:transition spd="med"/>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0" cy="2667794"/>
          </a:xfrm>
        </p:spPr>
        <p:txBody>
          <a:bodyPr/>
          <a:lstStyle>
            <a:lvl1pPr>
              <a:lnSpc>
                <a:spcPct val="100000"/>
              </a:lnSpc>
              <a:defRPr sz="4299">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8"/>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p>
            <a:endParaRPr lang="en-US"/>
          </a:p>
        </p:txBody>
      </p:sp>
    </p:spTree>
    <p:extLst>
      <p:ext uri="{BB962C8B-B14F-4D97-AF65-F5344CB8AC3E}">
        <p14:creationId xmlns:p14="http://schemas.microsoft.com/office/powerpoint/2010/main" val="2428258665"/>
      </p:ext>
    </p:extLst>
  </p:cSld>
  <p:clrMapOvr>
    <a:masterClrMapping/>
  </p:clrMapOvr>
  <p:transition spd="med"/>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p>
            <a:endParaRPr lang="en-US"/>
          </a:p>
        </p:txBody>
      </p:sp>
    </p:spTree>
    <p:extLst>
      <p:ext uri="{BB962C8B-B14F-4D97-AF65-F5344CB8AC3E}">
        <p14:creationId xmlns:p14="http://schemas.microsoft.com/office/powerpoint/2010/main" val="630195467"/>
      </p:ext>
    </p:extLst>
  </p:cSld>
  <p:clrMapOvr>
    <a:masterClrMapping/>
  </p:clrMapOvr>
  <p:transition spd="med"/>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p>
            <a:endParaRPr lang="en-US"/>
          </a:p>
        </p:txBody>
      </p:sp>
    </p:spTree>
    <p:extLst>
      <p:ext uri="{BB962C8B-B14F-4D97-AF65-F5344CB8AC3E}">
        <p14:creationId xmlns:p14="http://schemas.microsoft.com/office/powerpoint/2010/main" val="870694352"/>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192600"/>
            <a:ext cx="3711980" cy="9532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87999"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96468386"/>
      </p:ext>
    </p:extLst>
  </p:cSld>
  <p:clrMapOvr>
    <a:masterClrMapping/>
  </p:clrMapOvr>
  <p:transition spd="med"/>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endParaRPr lang="en-US"/>
          </a:p>
        </p:txBody>
      </p:sp>
    </p:spTree>
    <p:extLst>
      <p:ext uri="{BB962C8B-B14F-4D97-AF65-F5344CB8AC3E}">
        <p14:creationId xmlns:p14="http://schemas.microsoft.com/office/powerpoint/2010/main" val="1931060334"/>
      </p:ext>
    </p:extLst>
  </p:cSld>
  <p:clrMapOvr>
    <a:masterClrMapping/>
  </p:clrMapOvr>
  <p:transition spd="med"/>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endParaRPr lang="en-US"/>
          </a:p>
        </p:txBody>
      </p:sp>
    </p:spTree>
    <p:extLst>
      <p:ext uri="{BB962C8B-B14F-4D97-AF65-F5344CB8AC3E}">
        <p14:creationId xmlns:p14="http://schemas.microsoft.com/office/powerpoint/2010/main" val="3117710203"/>
      </p:ext>
    </p:extLst>
  </p:cSld>
  <p:clrMapOvr>
    <a:masterClrMapping/>
  </p:clrMapOvr>
  <p:transition spd="med"/>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p:spPr>
        <p:txBody>
          <a:bodyPr/>
          <a:lstStyle>
            <a:lvl1pPr>
              <a:lnSpc>
                <a:spcPct val="100000"/>
              </a:lnSpc>
              <a:spcBef>
                <a:spcPts val="0"/>
              </a:spcBef>
              <a:defRPr sz="18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p:spPr>
        <p:txBody>
          <a:bodyPr anchor="ctr"/>
          <a:lstStyle>
            <a:lvl1pPr algn="ctr">
              <a:defRPr sz="800">
                <a:solidFill>
                  <a:schemeClr val="tx1"/>
                </a:solidFill>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67896679"/>
      </p:ext>
    </p:extLst>
  </p:cSld>
  <p:clrMapOvr>
    <a:masterClrMapping/>
  </p:clrMapOvr>
  <p:transition spd="med"/>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5274242"/>
      </p:ext>
    </p:extLst>
  </p:cSld>
  <p:clrMapOvr>
    <a:masterClrMapping/>
  </p:clrMapOvr>
  <p:transition spd="med"/>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20704896"/>
      </p:ext>
    </p:extLst>
  </p:cSld>
  <p:clrMapOvr>
    <a:masterClrMapping/>
  </p:clrMapOvr>
  <p:transition spd="med"/>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25253087"/>
      </p:ext>
    </p:extLst>
  </p:cSld>
  <p:clrMapOvr>
    <a:masterClrMapping/>
  </p:clrMapOvr>
  <p:transition spd="med"/>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61669333"/>
      </p:ext>
    </p:extLst>
  </p:cSld>
  <p:clrMapOvr>
    <a:masterClrMapping/>
  </p:clrMapOvr>
  <p:transition spd="med"/>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18230897"/>
      </p:ext>
    </p:extLst>
  </p:cSld>
  <p:clrMapOvr>
    <a:masterClrMapping/>
  </p:clrMapOvr>
  <p:transition spd="med"/>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000"/>
          </a:xfrm>
        </p:spPr>
        <p:txBody>
          <a:bodyPr rIns="0"/>
          <a:lstStyle>
            <a:lvl1pPr>
              <a:lnSpc>
                <a:spcPct val="100000"/>
              </a:lnSpc>
              <a:defRPr sz="14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35816910"/>
      </p:ext>
    </p:extLst>
  </p:cSld>
  <p:clrMapOvr>
    <a:masterClrMapping/>
  </p:clrMapOvr>
  <p:transition spd="med"/>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457776" cy="457200"/>
          </a:xfrm>
        </p:spPr>
        <p:txBody>
          <a:bodyPr anchor="ctr"/>
          <a:lstStyle>
            <a:lvl1pPr algn="ctr">
              <a:defRPr sz="800">
                <a:solidFill>
                  <a:schemeClr val="tx1"/>
                </a:solidFill>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3" y="288036"/>
            <a:ext cx="457776" cy="457200"/>
          </a:xfrm>
        </p:spPr>
        <p:txBody>
          <a:bodyPr anchor="ctr"/>
          <a:lstStyle>
            <a:lvl1pPr algn="ctr">
              <a:defRPr sz="8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10299473"/>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6386899" y="192022"/>
            <a:ext cx="2481638" cy="5715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9422364" y="192023"/>
            <a:ext cx="2481638" cy="571579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57003781"/>
      </p:ext>
    </p:extLst>
  </p:cSld>
  <p:clrMapOvr>
    <a:masterClrMapping/>
  </p:clrMapOvr>
  <p:transition spd="med"/>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p:spPr>
        <p:txBody>
          <a:bodyPr anchor="ctr"/>
          <a:lstStyle>
            <a:lvl1pPr algn="ctr">
              <a:defRPr sz="800"/>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p:spPr>
        <p:txBody>
          <a:bodyPr anchor="ctr"/>
          <a:lstStyle>
            <a:lvl1pPr algn="ctr">
              <a:defRPr sz="800"/>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38307281"/>
      </p:ext>
    </p:extLst>
  </p:cSld>
  <p:clrMapOvr>
    <a:masterClrMapping/>
  </p:clrMapOvr>
  <p:transition spd="med"/>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32300465"/>
      </p:ext>
    </p:extLst>
  </p:cSld>
  <p:clrMapOvr>
    <a:masterClrMapping/>
  </p:clrMapOvr>
  <p:transition spd="med"/>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10000"/>
              </a:lnSpc>
              <a:defRPr sz="3199">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224028"/>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58168215"/>
      </p:ext>
    </p:extLst>
  </p:cSld>
  <p:clrMapOvr>
    <a:masterClrMapping/>
  </p:clrMapOvr>
  <p:transition spd="med"/>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6"/>
            <a:ext cx="2477765" cy="2286794"/>
          </a:xfrm>
        </p:spPr>
        <p:txBody>
          <a:bodyPr/>
          <a:lstStyle>
            <a:lvl1pPr>
              <a:lnSpc>
                <a:spcPct val="100000"/>
              </a:lnSpc>
              <a:defRPr sz="14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92099500"/>
      </p:ext>
    </p:extLst>
  </p:cSld>
  <p:clrMapOvr>
    <a:masterClrMapping/>
  </p:clrMapOvr>
  <p:transition spd="med"/>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22977471"/>
      </p:ext>
    </p:extLst>
  </p:cSld>
  <p:clrMapOvr>
    <a:masterClrMapping/>
  </p:clrMapOvr>
  <p:transition spd="med"/>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3" name="Straight Connector 2">
            <a:extLst>
              <a:ext uri="{FF2B5EF4-FFF2-40B4-BE49-F238E27FC236}">
                <a16:creationId xmlns:a16="http://schemas.microsoft.com/office/drawing/2014/main" id="{3D492FDB-9D55-98D5-E9DE-229473DD5942}"/>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1F6D0C9D-C937-48E3-BE84-3DA0D1BC274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0B31714F-DB23-BEBB-75A7-6BFF47AECDDF}"/>
              </a:ext>
            </a:extLst>
          </p:cNvPr>
          <p:cNvCxnSpPr/>
          <p:nvPr userDrawn="1"/>
        </p:nvCxnSpPr>
        <p:spPr bwMode="auto">
          <a:xfrm>
            <a:off x="9146201"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0865967"/>
      </p:ext>
    </p:extLst>
  </p:cSld>
  <p:clrMapOvr>
    <a:masterClrMapping/>
  </p:clrMapOvr>
  <p:transition spd="med"/>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p:spPr>
        <p:txBody>
          <a:bodyPr/>
          <a:lstStyle>
            <a:lvl1pPr>
              <a:defRPr sz="700">
                <a:solidFill>
                  <a:schemeClr val="tx1"/>
                </a:solidFill>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05840253"/>
      </p:ext>
    </p:extLst>
  </p:cSld>
  <p:clrMapOvr>
    <a:masterClrMapping/>
  </p:clrMapOvr>
  <p:transition spd="med"/>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58416330"/>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0" cy="1706563"/>
          </a:xfrm>
        </p:spPr>
        <p:txBody>
          <a:bodyPr rIns="0"/>
          <a:lstStyle>
            <a:lvl1pPr>
              <a:lnSpc>
                <a:spcPct val="110000"/>
              </a:lnSpc>
              <a:defRPr sz="1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2"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68549021"/>
      </p:ext>
    </p:extLst>
  </p:cSld>
  <p:clrMapOvr>
    <a:masterClrMapping/>
  </p:clrMapOvr>
  <p:transition spd="med"/>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825666385"/>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192600"/>
            <a:ext cx="2476178"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6386899" y="192022"/>
            <a:ext cx="2481638" cy="5715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9422364" y="192023"/>
            <a:ext cx="2481638" cy="571579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48037724"/>
      </p:ext>
    </p:extLst>
  </p:cSld>
  <p:clrMapOvr>
    <a:masterClrMapping/>
  </p:clrMapOvr>
  <p:transition spd="med"/>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610089453"/>
      </p:ext>
    </p:extLst>
  </p:cSld>
  <p:clrMapOvr>
    <a:masterClrMapping/>
  </p:clrMapOvr>
  <p:transition spd="med"/>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6"/>
            <a:ext cx="8574559" cy="628967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901358004"/>
      </p:ext>
    </p:extLst>
  </p:cSld>
  <p:clrMapOvr>
    <a:masterClrMapping/>
  </p:clrMapOvr>
  <p:transition spd="med"/>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562183930"/>
      </p:ext>
    </p:extLst>
  </p:cSld>
  <p:clrMapOvr>
    <a:masterClrMapping/>
  </p:clrMapOvr>
  <p:transition spd="med"/>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99730855"/>
      </p:ext>
    </p:extLst>
  </p:cSld>
  <p:clrMapOvr>
    <a:masterClrMapping/>
  </p:clrMapOvr>
  <p:transition spd="med"/>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3645753"/>
      </p:ext>
    </p:extLst>
  </p:cSld>
  <p:clrMapOvr>
    <a:masterClrMapping/>
  </p:clrMapOvr>
  <p:transition spd="med"/>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18906917"/>
      </p:ext>
    </p:extLst>
  </p:cSld>
  <p:clrMapOvr>
    <a:masterClrMapping/>
  </p:clrMapOvr>
  <p:transition spd="med"/>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45363316"/>
      </p:ext>
    </p:extLst>
  </p:cSld>
  <p:clrMapOvr>
    <a:masterClrMapping/>
  </p:clrMapOvr>
  <p:transition spd="med"/>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69305345"/>
      </p:ext>
    </p:extLst>
  </p:cSld>
  <p:clrMapOvr>
    <a:masterClrMapping/>
  </p:clrMapOvr>
  <p:transition spd="med"/>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60711695"/>
      </p:ext>
    </p:extLst>
  </p:cSld>
  <p:clrMapOvr>
    <a:masterClrMapping/>
  </p:clrMapOvr>
  <p:transition spd="med"/>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4113279759"/>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6393058"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9428523" y="1714501"/>
            <a:ext cx="2481638" cy="428624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6393058" y="192024"/>
            <a:ext cx="2481638" cy="762794"/>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9422364" y="192024"/>
            <a:ext cx="2481638" cy="762794"/>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88125580"/>
      </p:ext>
    </p:extLst>
  </p:cSld>
  <p:clrMapOvr>
    <a:masterClrMapping/>
  </p:clrMapOvr>
  <p:transition spd="med"/>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Dark: 75%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4680E29-0639-4142-8893-ABFFEA725456}"/>
              </a:ext>
            </a:extLst>
          </p:cNvPr>
          <p:cNvSpPr/>
          <p:nvPr userDrawn="1"/>
        </p:nvSpPr>
        <p:spPr>
          <a:xfrm>
            <a:off x="3048002"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7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Title 1">
            <a:extLst>
              <a:ext uri="{FF2B5EF4-FFF2-40B4-BE49-F238E27FC236}">
                <a16:creationId xmlns:a16="http://schemas.microsoft.com/office/drawing/2014/main" id="{2364D8E7-4B8B-E54C-8EC6-F2891417C0CB}"/>
              </a:ext>
            </a:extLst>
          </p:cNvPr>
          <p:cNvSpPr>
            <a:spLocks noGrp="1"/>
          </p:cNvSpPr>
          <p:nvPr>
            <p:ph type="title" hasCustomPrompt="1"/>
          </p:nvPr>
        </p:nvSpPr>
        <p:spPr>
          <a:xfrm>
            <a:off x="228600" y="228602"/>
            <a:ext cx="2590800" cy="950154"/>
          </a:xfrm>
        </p:spPr>
        <p:txBody>
          <a:bodyPr/>
          <a:lstStyle>
            <a:lvl1pPr>
              <a:defRPr sz="1200" b="0" i="0" spc="91" baseline="0">
                <a:latin typeface="IBM Plex Sans Text" charset="0"/>
                <a:ea typeface="IBM Plex Sans Text" charset="0"/>
                <a:cs typeface="IBM Plex Sans Text" charset="0"/>
              </a:defRPr>
            </a:lvl1pPr>
          </a:lstStyle>
          <a:p>
            <a:r>
              <a:rPr lang="en-US" dirty="0"/>
              <a:t>SECTION HEADING</a:t>
            </a:r>
          </a:p>
        </p:txBody>
      </p:sp>
      <p:sp>
        <p:nvSpPr>
          <p:cNvPr id="3" name="Footer Placeholder 2">
            <a:extLst>
              <a:ext uri="{FF2B5EF4-FFF2-40B4-BE49-F238E27FC236}">
                <a16:creationId xmlns:a16="http://schemas.microsoft.com/office/drawing/2014/main" id="{9C0EF7AD-0106-B349-8957-0958B08750B8}"/>
              </a:ext>
            </a:extLst>
          </p:cNvPr>
          <p:cNvSpPr>
            <a:spLocks noGrp="1"/>
          </p:cNvSpPr>
          <p:nvPr>
            <p:ph type="ftr" sz="quarter" idx="10"/>
          </p:nvPr>
        </p:nvSpPr>
        <p:spPr/>
        <p:txBody>
          <a:bodyPr/>
          <a:lstStyle/>
          <a:p>
            <a:endParaRPr lang="en-US" dirty="0">
              <a:solidFill>
                <a:srgbClr val="000000"/>
              </a:solidFill>
            </a:endParaRPr>
          </a:p>
        </p:txBody>
      </p:sp>
      <p:sp>
        <p:nvSpPr>
          <p:cNvPr id="4" name="Slide Number Placeholder 3">
            <a:extLst>
              <a:ext uri="{FF2B5EF4-FFF2-40B4-BE49-F238E27FC236}">
                <a16:creationId xmlns:a16="http://schemas.microsoft.com/office/drawing/2014/main" id="{31EB2F17-774C-FC4D-8998-893743D6BE3B}"/>
              </a:ext>
            </a:extLst>
          </p:cNvPr>
          <p:cNvSpPr>
            <a:spLocks noGrp="1"/>
          </p:cNvSpPr>
          <p:nvPr>
            <p:ph type="sldNum" sz="quarter" idx="11"/>
          </p:nvPr>
        </p:nvSpPr>
        <p:spPr>
          <a:xfrm>
            <a:off x="12887021" y="7787881"/>
            <a:ext cx="1398620" cy="123111"/>
          </a:xfrm>
        </p:spPr>
        <p:txBody>
          <a:bodyPr/>
          <a:lstStyle>
            <a:lvl1pPr>
              <a:defRPr>
                <a:solidFill>
                  <a:schemeClr val="tx1"/>
                </a:solidFill>
              </a:defRPr>
            </a:lvl1pPr>
          </a:lstStyle>
          <a:p>
            <a:pPr defTabSz="914072"/>
            <a:r>
              <a:rPr lang="en-US">
                <a:solidFill>
                  <a:srgbClr val="000000"/>
                </a:solidFill>
              </a:rPr>
              <a:t>© 2019 IBM Corporation  |  </a:t>
            </a:r>
            <a:fld id="{62AC7532-E9CD-3F47-AFEB-F708F102E192}" type="slidenum">
              <a:rPr lang="en-US" smtClean="0">
                <a:solidFill>
                  <a:srgbClr val="000000"/>
                </a:solidFill>
              </a:rPr>
              <a:pPr defTabSz="914072"/>
              <a:t>‹#›</a:t>
            </a:fld>
            <a:endParaRPr lang="en-US" dirty="0">
              <a:solidFill>
                <a:srgbClr val="000000"/>
              </a:solidFill>
            </a:endParaRPr>
          </a:p>
        </p:txBody>
      </p:sp>
      <p:sp>
        <p:nvSpPr>
          <p:cNvPr id="6" name="Text Placeholder 5">
            <a:extLst>
              <a:ext uri="{FF2B5EF4-FFF2-40B4-BE49-F238E27FC236}">
                <a16:creationId xmlns:a16="http://schemas.microsoft.com/office/drawing/2014/main" id="{D0F2D07D-A7FC-4644-ABD8-857C61BD98BC}"/>
              </a:ext>
            </a:extLst>
          </p:cNvPr>
          <p:cNvSpPr>
            <a:spLocks noGrp="1"/>
          </p:cNvSpPr>
          <p:nvPr>
            <p:ph type="body" sz="quarter" idx="12"/>
          </p:nvPr>
        </p:nvSpPr>
        <p:spPr>
          <a:xfrm>
            <a:off x="228600" y="1371600"/>
            <a:ext cx="2590800" cy="50292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4520103"/>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type="tx">
  <p:cSld name="lines and gradient">
    <p:bg>
      <p:bgPr>
        <a:solidFill>
          <a:srgbClr val="FFFFFF"/>
        </a:solidFill>
        <a:effectLst/>
      </p:bgPr>
    </p:bg>
    <p:spTree>
      <p:nvGrpSpPr>
        <p:cNvPr id="1" name=""/>
        <p:cNvGrpSpPr/>
        <p:nvPr/>
      </p:nvGrpSpPr>
      <p:grpSpPr>
        <a:xfrm>
          <a:off x="0" y="0"/>
          <a:ext cx="0" cy="0"/>
          <a:chOff x="0" y="0"/>
          <a:chExt cx="0" cy="0"/>
        </a:xfrm>
      </p:grpSpPr>
      <p:sp>
        <p:nvSpPr>
          <p:cNvPr id="16611" name="Rectangle"/>
          <p:cNvSpPr/>
          <p:nvPr userDrawn="1"/>
        </p:nvSpPr>
        <p:spPr>
          <a:xfrm>
            <a:off x="-1" y="0"/>
            <a:ext cx="12192001" cy="6858001"/>
          </a:xfrm>
          <a:prstGeom prst="rect">
            <a:avLst/>
          </a:prstGeom>
          <a:gradFill>
            <a:gsLst>
              <a:gs pos="38354">
                <a:srgbClr val="FFFFFF">
                  <a:alpha val="74959"/>
                </a:srgbClr>
              </a:gs>
              <a:gs pos="85972">
                <a:srgbClr val="E2EFFF">
                  <a:alpha val="74959"/>
                </a:srgbClr>
              </a:gs>
              <a:gs pos="100000">
                <a:srgbClr val="C4DEFF">
                  <a:alpha val="74959"/>
                </a:srgbClr>
              </a:gs>
            </a:gsLst>
            <a:lin ang="18144652"/>
          </a:gradFill>
          <a:ln w="12700">
            <a:miter lim="400000"/>
          </a:ln>
        </p:spPr>
        <p:txBody>
          <a:bodyPr lIns="25400" tIns="25400" rIns="25400" bIns="25400" anchor="ctr"/>
          <a:lstStyle/>
          <a:p>
            <a:pPr algn="ctr" defTabSz="412733">
              <a:defRPr>
                <a:solidFill>
                  <a:srgbClr val="FFFFFF"/>
                </a:solidFill>
                <a:latin typeface="Helvetica Neue Medium"/>
                <a:ea typeface="Helvetica Neue Medium"/>
                <a:cs typeface="Helvetica Neue Medium"/>
                <a:sym typeface="Helvetica Neue Medium"/>
              </a:defRPr>
            </a:pPr>
            <a:endParaRPr sz="1080"/>
          </a:p>
        </p:txBody>
      </p:sp>
    </p:spTree>
    <p:extLst>
      <p:ext uri="{BB962C8B-B14F-4D97-AF65-F5344CB8AC3E}">
        <p14:creationId xmlns:p14="http://schemas.microsoft.com/office/powerpoint/2010/main" val="3147135793"/>
      </p:ext>
    </p:extLst>
  </p:cSld>
  <p:clrMapOvr>
    <a:masterClrMapping/>
  </p:clrMapOvr>
  <p:transition spd="med"/>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type="tx">
  <p:cSld name="Data, 3 callouts, vertical blue10">
    <p:bg>
      <p:bgPr>
        <a:solidFill>
          <a:srgbClr val="EDF5FF"/>
        </a:solidFill>
        <a:effectLst/>
      </p:bgPr>
    </p:bg>
    <p:spTree>
      <p:nvGrpSpPr>
        <p:cNvPr id="1" name=""/>
        <p:cNvGrpSpPr/>
        <p:nvPr/>
      </p:nvGrpSpPr>
      <p:grpSpPr>
        <a:xfrm>
          <a:off x="0" y="0"/>
          <a:ext cx="0" cy="0"/>
          <a:chOff x="0" y="0"/>
          <a:chExt cx="0" cy="0"/>
        </a:xfrm>
      </p:grpSpPr>
      <p:sp>
        <p:nvSpPr>
          <p:cNvPr id="525" name="Slide Number"/>
          <p:cNvSpPr txBox="1">
            <a:spLocks noGrp="1"/>
          </p:cNvSpPr>
          <p:nvPr>
            <p:ph type="sldNum" sz="quarter" idx="2"/>
          </p:nvPr>
        </p:nvSpPr>
        <p:spPr>
          <a:xfrm>
            <a:off x="11771600" y="6477841"/>
            <a:ext cx="134652" cy="123111"/>
          </a:xfrm>
          <a:prstGeom prst="rect">
            <a:avLst/>
          </a:prstGeom>
        </p:spPr>
        <p:txBody>
          <a:bodyPr/>
          <a:lstStyle>
            <a:lvl1pPr>
              <a:defRPr>
                <a:solidFill>
                  <a:srgbClr val="000000"/>
                </a:solidFill>
              </a:defRPr>
            </a:lvl1pPr>
          </a:lstStyle>
          <a:p>
            <a:fld id="{86CB4B4D-7CA3-9044-876B-883B54F8677D}" type="slidenum">
              <a:t>‹#›</a:t>
            </a:fld>
            <a:endParaRPr/>
          </a:p>
        </p:txBody>
      </p:sp>
      <p:sp>
        <p:nvSpPr>
          <p:cNvPr id="526" name="Text Placeholder 3"/>
          <p:cNvSpPr>
            <a:spLocks noGrp="1"/>
          </p:cNvSpPr>
          <p:nvPr>
            <p:ph type="body" sz="quarter" idx="21"/>
          </p:nvPr>
        </p:nvSpPr>
        <p:spPr>
          <a:xfrm>
            <a:off x="3333751" y="6027738"/>
            <a:ext cx="2475707" cy="571500"/>
          </a:xfrm>
          <a:prstGeom prst="rect">
            <a:avLst/>
          </a:prstGeom>
        </p:spPr>
        <p:txBody>
          <a:bodyPr anchor="b">
            <a:normAutofit/>
          </a:bodyPr>
          <a:lstStyle>
            <a:lvl1pPr defTabSz="914507">
              <a:lnSpc>
                <a:spcPct val="110000"/>
              </a:lnSpc>
              <a:defRPr sz="1600">
                <a:latin typeface="+mj-lt"/>
                <a:ea typeface="+mj-ea"/>
                <a:cs typeface="+mj-cs"/>
                <a:sym typeface="IBM Plex Sans"/>
              </a:defRPr>
            </a:lvl1pPr>
          </a:lstStyle>
          <a:p>
            <a:pPr defTabSz="1829379">
              <a:lnSpc>
                <a:spcPct val="110000"/>
              </a:lnSpc>
              <a:defRPr sz="1600">
                <a:latin typeface="+mj-lt"/>
                <a:ea typeface="+mj-ea"/>
                <a:cs typeface="+mj-cs"/>
                <a:sym typeface="IBM Plex Sans"/>
              </a:defRPr>
            </a:pPr>
            <a:r>
              <a:t>Source: 1. Lorem source name</a:t>
            </a:r>
            <a:br/>
            <a:r>
              <a:t>Source: 2. Lorem second source name</a:t>
            </a:r>
            <a:br/>
            <a:r>
              <a:t>Source: 3. Lorem third source name</a:t>
            </a:r>
          </a:p>
        </p:txBody>
      </p:sp>
      <p:sp>
        <p:nvSpPr>
          <p:cNvPr id="527" name="Text Placeholder 6"/>
          <p:cNvSpPr>
            <a:spLocks noGrp="1"/>
          </p:cNvSpPr>
          <p:nvPr>
            <p:ph type="body" sz="quarter" idx="22"/>
          </p:nvPr>
        </p:nvSpPr>
        <p:spPr>
          <a:xfrm>
            <a:off x="9449265" y="1244601"/>
            <a:ext cx="2476500" cy="4762500"/>
          </a:xfrm>
          <a:prstGeom prst="rect">
            <a:avLst/>
          </a:prstGeom>
        </p:spPr>
        <p:txBody>
          <a:bodyPr/>
          <a:lstStyle/>
          <a:p>
            <a:r>
              <a:t>28/36/44pt text superscript number at end of claim and add source URL to speaker notes.</a:t>
            </a:r>
            <a:r>
              <a:rPr baseline="30000"/>
              <a:t>3</a:t>
            </a:r>
          </a:p>
        </p:txBody>
      </p:sp>
      <p:sp>
        <p:nvSpPr>
          <p:cNvPr id="528" name="Text Placeholder 8"/>
          <p:cNvSpPr>
            <a:spLocks noGrp="1"/>
          </p:cNvSpPr>
          <p:nvPr>
            <p:ph type="body" sz="quarter" idx="23"/>
          </p:nvPr>
        </p:nvSpPr>
        <p:spPr>
          <a:xfrm>
            <a:off x="9429751" y="105336"/>
            <a:ext cx="2474912" cy="1139264"/>
          </a:xfrm>
          <a:prstGeom prst="rect">
            <a:avLst/>
          </a:prstGeom>
        </p:spPr>
        <p:txBody>
          <a:bodyPr/>
          <a:lstStyle>
            <a:lvl1pPr defTabSz="1218971">
              <a:lnSpc>
                <a:spcPct val="80000"/>
              </a:lnSpc>
              <a:spcBef>
                <a:spcPts val="1450"/>
              </a:spcBef>
              <a:defRPr sz="6499">
                <a:solidFill>
                  <a:schemeClr val="accent1"/>
                </a:solidFill>
              </a:defRPr>
            </a:lvl1pPr>
          </a:lstStyle>
          <a:p>
            <a:r>
              <a:t>00%</a:t>
            </a:r>
          </a:p>
        </p:txBody>
      </p:sp>
      <p:sp>
        <p:nvSpPr>
          <p:cNvPr id="529" name="Text Placeholder 5"/>
          <p:cNvSpPr>
            <a:spLocks noGrp="1"/>
          </p:cNvSpPr>
          <p:nvPr>
            <p:ph type="body" sz="quarter" idx="24"/>
          </p:nvPr>
        </p:nvSpPr>
        <p:spPr>
          <a:xfrm>
            <a:off x="6381752" y="1245394"/>
            <a:ext cx="2476500" cy="4762500"/>
          </a:xfrm>
          <a:prstGeom prst="rect">
            <a:avLst/>
          </a:prstGeom>
        </p:spPr>
        <p:txBody>
          <a:bodyPr/>
          <a:lstStyle/>
          <a:p>
            <a:r>
              <a:t>28/36/44pt text superscript number at end of claim and add source URL to speaker notes.</a:t>
            </a:r>
            <a:r>
              <a:rPr baseline="30000"/>
              <a:t>2</a:t>
            </a:r>
          </a:p>
        </p:txBody>
      </p:sp>
      <p:sp>
        <p:nvSpPr>
          <p:cNvPr id="530" name="Text Placeholder 7"/>
          <p:cNvSpPr>
            <a:spLocks noGrp="1"/>
          </p:cNvSpPr>
          <p:nvPr>
            <p:ph type="body" sz="quarter" idx="25"/>
          </p:nvPr>
        </p:nvSpPr>
        <p:spPr>
          <a:xfrm>
            <a:off x="6384133" y="105337"/>
            <a:ext cx="2474913" cy="1139266"/>
          </a:xfrm>
          <a:prstGeom prst="rect">
            <a:avLst/>
          </a:prstGeom>
        </p:spPr>
        <p:txBody>
          <a:bodyPr/>
          <a:lstStyle>
            <a:lvl1pPr defTabSz="1218971">
              <a:lnSpc>
                <a:spcPct val="80000"/>
              </a:lnSpc>
              <a:spcBef>
                <a:spcPts val="1450"/>
              </a:spcBef>
              <a:defRPr sz="6499">
                <a:solidFill>
                  <a:schemeClr val="accent1"/>
                </a:solidFill>
              </a:defRPr>
            </a:lvl1pPr>
          </a:lstStyle>
          <a:p>
            <a:r>
              <a:t>00%</a:t>
            </a:r>
          </a:p>
        </p:txBody>
      </p:sp>
      <p:sp>
        <p:nvSpPr>
          <p:cNvPr id="531" name="Text Placeholder 4"/>
          <p:cNvSpPr>
            <a:spLocks noGrp="1"/>
          </p:cNvSpPr>
          <p:nvPr>
            <p:ph type="body" sz="quarter" idx="26"/>
          </p:nvPr>
        </p:nvSpPr>
        <p:spPr>
          <a:xfrm>
            <a:off x="3333751" y="1244599"/>
            <a:ext cx="2475707" cy="4765554"/>
          </a:xfrm>
          <a:prstGeom prst="rect">
            <a:avLst/>
          </a:prstGeom>
        </p:spPr>
        <p:txBody>
          <a:bodyPr/>
          <a:lstStyle/>
          <a:p>
            <a:r>
              <a:t>28/36/44pt text superscript number at end of claim and add source URL to speaker notes.</a:t>
            </a:r>
            <a:r>
              <a:rPr baseline="30000"/>
              <a:t>1</a:t>
            </a:r>
          </a:p>
        </p:txBody>
      </p:sp>
      <p:sp>
        <p:nvSpPr>
          <p:cNvPr id="532" name="Text Placeholder 1"/>
          <p:cNvSpPr txBox="1">
            <a:spLocks noGrp="1"/>
          </p:cNvSpPr>
          <p:nvPr>
            <p:ph type="body" sz="quarter" idx="27"/>
          </p:nvPr>
        </p:nvSpPr>
        <p:spPr>
          <a:xfrm>
            <a:off x="3333751" y="104688"/>
            <a:ext cx="2475707" cy="1140564"/>
          </a:xfrm>
          <a:prstGeom prst="rect">
            <a:avLst/>
          </a:prstGeom>
        </p:spPr>
        <p:txBody>
          <a:bodyPr/>
          <a:lstStyle>
            <a:lvl1pPr defTabSz="1218971">
              <a:lnSpc>
                <a:spcPct val="80000"/>
              </a:lnSpc>
              <a:spcBef>
                <a:spcPts val="1450"/>
              </a:spcBef>
              <a:defRPr sz="6499">
                <a:solidFill>
                  <a:schemeClr val="accent1"/>
                </a:solidFill>
              </a:defRPr>
            </a:lvl1pPr>
          </a:lstStyle>
          <a:p>
            <a:r>
              <a:t>00%</a:t>
            </a:r>
          </a:p>
        </p:txBody>
      </p:sp>
      <p:sp>
        <p:nvSpPr>
          <p:cNvPr id="533" name="Title 2"/>
          <p:cNvSpPr txBox="1">
            <a:spLocks noGrp="1"/>
          </p:cNvSpPr>
          <p:nvPr>
            <p:ph type="body" sz="quarter" idx="28"/>
          </p:nvPr>
        </p:nvSpPr>
        <p:spPr>
          <a:xfrm>
            <a:off x="283464" y="284955"/>
            <a:ext cx="2474913" cy="1429546"/>
          </a:xfrm>
          <a:prstGeom prst="rect">
            <a:avLst/>
          </a:prstGeom>
        </p:spPr>
        <p:txBody>
          <a:bodyPr/>
          <a:lstStyle>
            <a:lvl1pPr defTabSz="1218956">
              <a:defRPr/>
            </a:lvl1pPr>
          </a:lstStyle>
          <a:p>
            <a:pPr defTabSz="2438400"/>
            <a:r>
              <a:t>28/36/44pt headline, </a:t>
            </a:r>
            <a:br/>
            <a:r>
              <a:t>5 lines maximum, sentence case</a:t>
            </a:r>
          </a:p>
        </p:txBody>
      </p:sp>
      <p:sp>
        <p:nvSpPr>
          <p:cNvPr id="534" name="Footer Placeholder 4"/>
          <p:cNvSpPr txBox="1">
            <a:spLocks noGrp="1"/>
          </p:cNvSpPr>
          <p:nvPr>
            <p:ph type="body" sz="quarter" idx="29"/>
          </p:nvPr>
        </p:nvSpPr>
        <p:spPr>
          <a:xfrm>
            <a:off x="284162" y="6472238"/>
            <a:ext cx="2473517" cy="127000"/>
          </a:xfrm>
          <a:prstGeom prst="rect">
            <a:avLst/>
          </a:prstGeom>
        </p:spPr>
        <p:txBody>
          <a:bodyPr anchor="b">
            <a:spAutoFit/>
          </a:bodyPr>
          <a:lstStyle>
            <a:lvl1pPr defTabSz="914518">
              <a:lnSpc>
                <a:spcPct val="110000"/>
              </a:lnSpc>
              <a:defRPr sz="800">
                <a:latin typeface="+mj-lt"/>
                <a:ea typeface="+mj-ea"/>
                <a:cs typeface="+mj-cs"/>
                <a:sym typeface="IBM Plex Sans"/>
              </a:defRPr>
            </a:lvl1pPr>
          </a:lstStyle>
          <a:p>
            <a:r>
              <a:t>Footer text (optional)</a:t>
            </a:r>
          </a:p>
        </p:txBody>
      </p:sp>
      <p:sp>
        <p:nvSpPr>
          <p:cNvPr id="535" name="Line"/>
          <p:cNvSpPr/>
          <p:nvPr/>
        </p:nvSpPr>
        <p:spPr>
          <a:xfrm flipV="1">
            <a:off x="6091707" y="904169"/>
            <a:ext cx="0" cy="5760720"/>
          </a:xfrm>
          <a:prstGeom prst="line">
            <a:avLst/>
          </a:prstGeom>
          <a:ln w="12700">
            <a:solidFill>
              <a:srgbClr val="535353"/>
            </a:solidFill>
          </a:ln>
        </p:spPr>
        <p:txBody>
          <a:bodyPr lIns="22857" rIns="22857"/>
          <a:lstStyle/>
          <a:p>
            <a:pPr defTabSz="457114">
              <a:defRPr sz="2400">
                <a:solidFill>
                  <a:srgbClr val="262626"/>
                </a:solidFill>
              </a:defRPr>
            </a:pPr>
            <a:endParaRPr sz="1200"/>
          </a:p>
        </p:txBody>
      </p:sp>
      <p:sp>
        <p:nvSpPr>
          <p:cNvPr id="536" name="Line"/>
          <p:cNvSpPr/>
          <p:nvPr/>
        </p:nvSpPr>
        <p:spPr>
          <a:xfrm flipV="1">
            <a:off x="3050852" y="904169"/>
            <a:ext cx="0" cy="5760720"/>
          </a:xfrm>
          <a:prstGeom prst="line">
            <a:avLst/>
          </a:prstGeom>
          <a:ln w="12700">
            <a:solidFill>
              <a:srgbClr val="535353"/>
            </a:solidFill>
          </a:ln>
        </p:spPr>
        <p:txBody>
          <a:bodyPr lIns="22857" rIns="22857"/>
          <a:lstStyle/>
          <a:p>
            <a:pPr defTabSz="457114">
              <a:defRPr sz="2400">
                <a:solidFill>
                  <a:srgbClr val="262626"/>
                </a:solidFill>
              </a:defRPr>
            </a:pPr>
            <a:endParaRPr sz="1200"/>
          </a:p>
        </p:txBody>
      </p:sp>
      <p:sp>
        <p:nvSpPr>
          <p:cNvPr id="537" name="Line"/>
          <p:cNvSpPr/>
          <p:nvPr/>
        </p:nvSpPr>
        <p:spPr>
          <a:xfrm flipV="1">
            <a:off x="9139706" y="904169"/>
            <a:ext cx="0" cy="5760720"/>
          </a:xfrm>
          <a:prstGeom prst="line">
            <a:avLst/>
          </a:prstGeom>
          <a:ln w="12700">
            <a:solidFill>
              <a:srgbClr val="535353"/>
            </a:solidFill>
          </a:ln>
        </p:spPr>
        <p:txBody>
          <a:bodyPr lIns="22857" rIns="22857"/>
          <a:lstStyle/>
          <a:p>
            <a:pPr defTabSz="457114">
              <a:defRPr sz="2400">
                <a:solidFill>
                  <a:srgbClr val="262626"/>
                </a:solidFill>
              </a:defRPr>
            </a:pPr>
            <a:endParaRPr sz="1200"/>
          </a:p>
        </p:txBody>
      </p:sp>
    </p:spTree>
    <p:extLst>
      <p:ext uri="{BB962C8B-B14F-4D97-AF65-F5344CB8AC3E}">
        <p14:creationId xmlns:p14="http://schemas.microsoft.com/office/powerpoint/2010/main" val="2413414614"/>
      </p:ext>
    </p:extLst>
  </p:cSld>
  <p:clrMapOvr>
    <a:masterClrMapping/>
  </p:clrMapOvr>
  <p:transition spd="med"/>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3524"/>
          </a:xfrm>
        </p:spPr>
        <p:txBody>
          <a:bodyPr/>
          <a:lstStyle>
            <a:lvl1pPr>
              <a:lnSpc>
                <a:spcPct val="110000"/>
              </a:lnSpc>
              <a:defRPr sz="1400">
                <a:solidFill>
                  <a:schemeClr val="tx2"/>
                </a:solidFill>
              </a:defRPr>
            </a:lvl1pPr>
          </a:lstStyle>
          <a:p>
            <a:r>
              <a:rPr lang="en-GB"/>
              <a:t>Click to edit Master title style</a:t>
            </a:r>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1369225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indent="0" algn="l" defTabSz="457018"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8351957" cy="2286794"/>
          </a:xfrm>
        </p:spPr>
        <p:txBody>
          <a:bodyPr/>
          <a:lstStyle>
            <a:lvl1pPr>
              <a:lnSpc>
                <a:spcPct val="100000"/>
              </a:lnSpc>
              <a:defRPr sz="3998">
                <a:solidFill>
                  <a:schemeClr val="tx2"/>
                </a:solidFill>
              </a:defRPr>
            </a:lvl1pPr>
          </a:lstStyle>
          <a:p>
            <a:r>
              <a:rPr lang="en-GB"/>
              <a:t>Click to edit Master title style</a:t>
            </a:r>
            <a:endParaRPr lang="en-US"/>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8000" y="3502152"/>
            <a:ext cx="5197687" cy="571500"/>
          </a:xfrm>
        </p:spPr>
        <p:txBody>
          <a:bodyPr anchor="ctr"/>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224001" y="3419856"/>
            <a:ext cx="5076512" cy="1746504"/>
          </a:xfrm>
        </p:spPr>
        <p:txBody>
          <a:bodyPr anchor="ctr"/>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715872262"/>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3_Contents">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99489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209D790-C909-72D4-4327-02BA85296859}"/>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617B678B-665D-9EFB-EBB6-72E154F1A77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3BF23CF-AB98-6BB8-999B-61BD9D4E998A}"/>
              </a:ext>
            </a:extLst>
          </p:cNvPr>
          <p:cNvSpPr>
            <a:spLocks noGrp="1"/>
          </p:cNvSpPr>
          <p:nvPr>
            <p:ph type="sldNum" sz="quarter" idx="12"/>
          </p:nvPr>
        </p:nvSpPr>
        <p:spPr/>
        <p:txBody>
          <a:bodyPr/>
          <a:lstStyle/>
          <a:p>
            <a:fld id="{119F2F87-6AC8-C543-BDC5-F5BC169AD2EF}" type="slidenum">
              <a:rPr lang="en-US" smtClean="0"/>
              <a:t>‹#›</a:t>
            </a:fld>
            <a:endParaRPr lang="en-US"/>
          </a:p>
        </p:txBody>
      </p:sp>
    </p:spTree>
    <p:extLst>
      <p:ext uri="{BB962C8B-B14F-4D97-AF65-F5344CB8AC3E}">
        <p14:creationId xmlns:p14="http://schemas.microsoft.com/office/powerpoint/2010/main" val="209777381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tx">
  <p:cSld name="4_Text, 4 columns ">
    <p:spTree>
      <p:nvGrpSpPr>
        <p:cNvPr id="1" name=""/>
        <p:cNvGrpSpPr/>
        <p:nvPr/>
      </p:nvGrpSpPr>
      <p:grpSpPr>
        <a:xfrm>
          <a:off x="0" y="0"/>
          <a:ext cx="0" cy="0"/>
          <a:chOff x="0" y="0"/>
          <a:chExt cx="0" cy="0"/>
        </a:xfrm>
      </p:grpSpPr>
      <p:sp>
        <p:nvSpPr>
          <p:cNvPr id="185" name="幻灯片编号"/>
          <p:cNvSpPr txBox="1">
            <a:spLocks noGrp="1"/>
          </p:cNvSpPr>
          <p:nvPr>
            <p:ph type="sldNum" sz="quarter" idx="2"/>
          </p:nvPr>
        </p:nvSpPr>
        <p:spPr>
          <a:xfrm>
            <a:off x="11770814" y="6475901"/>
            <a:ext cx="135436" cy="123111"/>
          </a:xfrm>
          <a:prstGeom prst="rect">
            <a:avLst/>
          </a:prstGeom>
        </p:spPr>
        <p:txBody>
          <a:bodyPr/>
          <a:lstStyle/>
          <a:p>
            <a:fld id="{86CB4B4D-7CA3-9044-876B-883B54F8677D}" type="slidenum">
              <a:rPr/>
              <a:t>‹#›</a:t>
            </a:fld>
            <a:endParaRPr dirty="0"/>
          </a:p>
        </p:txBody>
      </p:sp>
      <p:sp>
        <p:nvSpPr>
          <p:cNvPr id="186" name="Text Placeholder 3"/>
          <p:cNvSpPr>
            <a:spLocks noGrp="1"/>
          </p:cNvSpPr>
          <p:nvPr>
            <p:ph type="body" sz="quarter" idx="21"/>
          </p:nvPr>
        </p:nvSpPr>
        <p:spPr>
          <a:xfrm>
            <a:off x="3333753" y="1714500"/>
            <a:ext cx="2475707" cy="428625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Efficitur scelerisque velit. Vestibulum viverra, ante ac placerat pulvinar, erat risus pellentesque urna, ac posuere nibh nulla eu mi. Fusce scelerisque ultrices eros quis dignissim. Pellentesque mollis nibh at nibh imperdiet, sed ullamcorper velit posuere. Integer et velit blandit.</a:t>
            </a:r>
          </a:p>
        </p:txBody>
      </p:sp>
      <p:sp>
        <p:nvSpPr>
          <p:cNvPr id="187" name="Text Placeholder 4"/>
          <p:cNvSpPr>
            <a:spLocks noGrp="1"/>
          </p:cNvSpPr>
          <p:nvPr>
            <p:ph type="body" sz="quarter" idx="22"/>
          </p:nvPr>
        </p:nvSpPr>
        <p:spPr>
          <a:xfrm>
            <a:off x="6381751" y="1714500"/>
            <a:ext cx="2476500" cy="428625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b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88" name="Text Placeholder 5"/>
          <p:cNvSpPr>
            <a:spLocks noGrp="1"/>
          </p:cNvSpPr>
          <p:nvPr>
            <p:ph type="body" sz="quarter" idx="23"/>
          </p:nvPr>
        </p:nvSpPr>
        <p:spPr>
          <a:xfrm>
            <a:off x="9429753" y="1714500"/>
            <a:ext cx="2479675" cy="428625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a:t>
            </a:r>
          </a:p>
        </p:txBody>
      </p:sp>
      <p:sp>
        <p:nvSpPr>
          <p:cNvPr id="189" name="Title 1"/>
          <p:cNvSpPr txBox="1">
            <a:spLocks noGrp="1"/>
          </p:cNvSpPr>
          <p:nvPr>
            <p:ph type="body" sz="quarter" idx="24"/>
          </p:nvPr>
        </p:nvSpPr>
        <p:spPr>
          <a:xfrm>
            <a:off x="283467" y="284960"/>
            <a:ext cx="2474913" cy="762795"/>
          </a:xfrm>
          <a:prstGeom prst="rect">
            <a:avLst/>
          </a:prstGeom>
        </p:spPr>
        <p:txBody>
          <a:bodyPr/>
          <a:lstStyle>
            <a:lvl1pPr>
              <a:defRPr sz="1400"/>
            </a:lvl1pPr>
          </a:lstStyle>
          <a:p>
            <a:r>
              <a:t>28/36/44pt short headline, 3 lines maximum, sentence case</a:t>
            </a:r>
          </a:p>
        </p:txBody>
      </p:sp>
      <p:sp>
        <p:nvSpPr>
          <p:cNvPr id="190" name="Text Placeholder 2"/>
          <p:cNvSpPr txBox="1">
            <a:spLocks noGrp="1"/>
          </p:cNvSpPr>
          <p:nvPr>
            <p:ph type="body" sz="quarter" idx="25"/>
          </p:nvPr>
        </p:nvSpPr>
        <p:spPr>
          <a:xfrm>
            <a:off x="284166" y="1714500"/>
            <a:ext cx="2478087" cy="4286250"/>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91" name="Footer Placeholder 4"/>
          <p:cNvSpPr txBox="1">
            <a:spLocks noGrp="1"/>
          </p:cNvSpPr>
          <p:nvPr>
            <p:ph type="body" sz="quarter" idx="26"/>
          </p:nvPr>
        </p:nvSpPr>
        <p:spPr>
          <a:xfrm>
            <a:off x="284165" y="6379931"/>
            <a:ext cx="4284663" cy="221023"/>
          </a:xfrm>
          <a:prstGeom prst="rect">
            <a:avLst/>
          </a:prstGeom>
        </p:spPr>
        <p:txBody>
          <a:bodyPr anchor="b">
            <a:spAutoFit/>
          </a:bodyPr>
          <a:lstStyle>
            <a:lvl1pPr defTabSz="914050">
              <a:lnSpc>
                <a:spcPct val="110000"/>
              </a:lnSpc>
              <a:defRPr sz="800">
                <a:latin typeface="+mj-lt"/>
                <a:ea typeface="+mj-ea"/>
                <a:cs typeface="+mj-cs"/>
                <a:sym typeface="IBM Plex Sans"/>
              </a:defRPr>
            </a:lvl1pPr>
          </a:lstStyle>
          <a:p>
            <a:r>
              <a:t>Footer text (optional)</a:t>
            </a:r>
          </a:p>
        </p:txBody>
      </p:sp>
    </p:spTree>
    <p:extLst>
      <p:ext uri="{BB962C8B-B14F-4D97-AF65-F5344CB8AC3E}">
        <p14:creationId xmlns:p14="http://schemas.microsoft.com/office/powerpoint/2010/main" val="3709603836"/>
      </p:ext>
    </p:extLst>
  </p:cSld>
  <p:clrMapOvr>
    <a:masterClrMapping/>
  </p:clrMapOvr>
  <p:transition spd="med"/>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8000" y="288036"/>
            <a:ext cx="2474591" cy="1048544"/>
          </a:xfrm>
        </p:spPr>
        <p:txBody>
          <a:bodyPr/>
          <a:lstStyle>
            <a:lvl1pPr>
              <a:lnSpc>
                <a:spcPct val="110000"/>
              </a:lnSpc>
              <a:defRPr sz="900">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8000" y="1714502"/>
            <a:ext cx="2477765" cy="2000251"/>
          </a:xfrm>
        </p:spPr>
        <p:txBody>
          <a:bodyPr/>
          <a:lstStyle>
            <a:lvl1pPr>
              <a:lnSpc>
                <a:spcPct val="100000"/>
              </a:lnSpc>
              <a:spcBef>
                <a:spcPts val="0"/>
              </a:spcBef>
              <a:defRPr sz="1350">
                <a:solidFill>
                  <a:schemeClr val="tx1"/>
                </a:solidFill>
              </a:defRPr>
            </a:lvl1pPr>
          </a:lstStyle>
          <a:p>
            <a:pPr lvl="0"/>
            <a:r>
              <a:rPr lang="en-GB"/>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3047603" y="284960"/>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7"/>
            <a:ext cx="607997" cy="608076"/>
          </a:xfrm>
        </p:spPr>
        <p:txBody>
          <a:bodyPr anchor="ctr"/>
          <a:lstStyle>
            <a:lvl1pPr algn="ctr">
              <a:defRPr sz="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2"/>
            <a:ext cx="2475384" cy="4286251"/>
          </a:xfrm>
        </p:spPr>
        <p:txBody>
          <a:bodyPr/>
          <a:lstStyle>
            <a:lvl1pPr>
              <a:lnSpc>
                <a:spcPct val="110000"/>
              </a:lnSpc>
              <a:spcBef>
                <a:spcPts val="0"/>
              </a:spcBef>
              <a:defRPr sz="900">
                <a:solidFill>
                  <a:schemeClr val="tx1"/>
                </a:solidFill>
              </a:defRPr>
            </a:lvl1pPr>
            <a:lvl2pPr marL="82294" indent="-82294">
              <a:lnSpc>
                <a:spcPct val="110000"/>
              </a:lnSpc>
              <a:spcBef>
                <a:spcPts val="0"/>
              </a:spcBef>
              <a:defRPr sz="900">
                <a:solidFill>
                  <a:schemeClr val="tx1"/>
                </a:solidFill>
              </a:defRPr>
            </a:lvl2pPr>
            <a:lvl3pPr marL="164588" indent="-82294">
              <a:lnSpc>
                <a:spcPct val="110000"/>
              </a:lnSpc>
              <a:spcBef>
                <a:spcPts val="0"/>
              </a:spcBef>
              <a:defRPr sz="900">
                <a:solidFill>
                  <a:schemeClr val="tx1"/>
                </a:solidFill>
              </a:defRPr>
            </a:lvl3pPr>
            <a:lvl4pPr marL="246882" indent="-82294">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6093683" y="283467"/>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4" y="288037"/>
            <a:ext cx="607997" cy="608076"/>
          </a:xfrm>
        </p:spPr>
        <p:txBody>
          <a:bodyPr anchor="ctr"/>
          <a:lstStyle>
            <a:lvl1pPr algn="ctr">
              <a:defRPr sz="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2"/>
            <a:ext cx="2470739" cy="4286251"/>
          </a:xfrm>
        </p:spPr>
        <p:txBody>
          <a:bodyPr/>
          <a:lstStyle>
            <a:lvl1pPr>
              <a:lnSpc>
                <a:spcPct val="110000"/>
              </a:lnSpc>
              <a:spcBef>
                <a:spcPts val="0"/>
              </a:spcBef>
              <a:defRPr sz="900">
                <a:solidFill>
                  <a:schemeClr val="tx1"/>
                </a:solidFill>
              </a:defRPr>
            </a:lvl1pPr>
            <a:lvl2pPr marL="82294" indent="-82294">
              <a:lnSpc>
                <a:spcPct val="110000"/>
              </a:lnSpc>
              <a:spcBef>
                <a:spcPts val="0"/>
              </a:spcBef>
              <a:defRPr sz="900">
                <a:solidFill>
                  <a:schemeClr val="tx1"/>
                </a:solidFill>
              </a:defRPr>
            </a:lvl2pPr>
            <a:lvl3pPr marL="164588" indent="-82294">
              <a:lnSpc>
                <a:spcPct val="110000"/>
              </a:lnSpc>
              <a:spcBef>
                <a:spcPts val="0"/>
              </a:spcBef>
              <a:defRPr sz="900">
                <a:solidFill>
                  <a:schemeClr val="tx1"/>
                </a:solidFill>
              </a:defRPr>
            </a:lvl3pPr>
            <a:lvl4pPr marL="246882" indent="-82294">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9142809" y="284960"/>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4" y="288037"/>
            <a:ext cx="607997" cy="608076"/>
          </a:xfrm>
        </p:spPr>
        <p:txBody>
          <a:bodyPr anchor="ctr"/>
          <a:lstStyle>
            <a:lvl1pPr algn="ctr">
              <a:defRPr sz="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5" y="1714502"/>
            <a:ext cx="2476177" cy="4286251"/>
          </a:xfrm>
        </p:spPr>
        <p:txBody>
          <a:bodyPr/>
          <a:lstStyle>
            <a:lvl1pPr>
              <a:lnSpc>
                <a:spcPct val="110000"/>
              </a:lnSpc>
              <a:spcBef>
                <a:spcPts val="0"/>
              </a:spcBef>
              <a:defRPr sz="900">
                <a:solidFill>
                  <a:schemeClr val="tx1"/>
                </a:solidFill>
              </a:defRPr>
            </a:lvl1pPr>
            <a:lvl2pPr marL="82294" indent="-82294">
              <a:lnSpc>
                <a:spcPct val="110000"/>
              </a:lnSpc>
              <a:spcBef>
                <a:spcPts val="0"/>
              </a:spcBef>
              <a:defRPr sz="900">
                <a:solidFill>
                  <a:schemeClr val="tx1"/>
                </a:solidFill>
              </a:defRPr>
            </a:lvl2pPr>
            <a:lvl3pPr marL="164588" indent="-82294">
              <a:lnSpc>
                <a:spcPct val="110000"/>
              </a:lnSpc>
              <a:spcBef>
                <a:spcPts val="0"/>
              </a:spcBef>
              <a:defRPr sz="900">
                <a:solidFill>
                  <a:schemeClr val="tx1"/>
                </a:solidFill>
              </a:defRPr>
            </a:lvl3pPr>
            <a:lvl4pPr marL="246882" indent="-82294">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802109" y="6484810"/>
            <a:ext cx="102592"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60467327"/>
      </p:ext>
    </p:extLst>
  </p:cSld>
  <p:clrMapOvr>
    <a:masterClrMapping/>
  </p:clrMapOvr>
  <p:transition spd="med"/>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6" name="Picture"/>
          <p:cNvPicPr>
            <a:picLocks noChangeAspect="1"/>
          </p:cNvPicPr>
          <p:nvPr userDrawn="1"/>
        </p:nvPicPr>
        <p:blipFill>
          <a:blip r:embed="rId2"/>
          <a:srcRect/>
          <a:stretch/>
        </p:blipFill>
        <p:spPr>
          <a:xfrm>
            <a:off x="11191753" y="6273672"/>
            <a:ext cx="695449" cy="277477"/>
          </a:xfrm>
          <a:prstGeom prst="rect">
            <a:avLst/>
          </a:prstGeom>
        </p:spPr>
      </p:pic>
      <p:sp>
        <p:nvSpPr>
          <p:cNvPr id="4" name="Footer Placeholder 4">
            <a:extLst>
              <a:ext uri="{FF2B5EF4-FFF2-40B4-BE49-F238E27FC236}">
                <a16:creationId xmlns:a16="http://schemas.microsoft.com/office/drawing/2014/main" id="{F514553A-5F82-2578-04BA-5D228B952A76}"/>
              </a:ext>
            </a:extLst>
          </p:cNvPr>
          <p:cNvSpPr txBox="1">
            <a:spLocks/>
          </p:cNvSpPr>
          <p:nvPr userDrawn="1"/>
        </p:nvSpPr>
        <p:spPr>
          <a:xfrm>
            <a:off x="120581" y="6268917"/>
            <a:ext cx="2438312" cy="546100"/>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933" b="1" dirty="0">
                <a:latin typeface="IBM Plex Sans SmBld" panose="020B0503050000000000" pitchFamily="34" charset="77"/>
              </a:rPr>
              <a:t>CIO Intelligent Automation Hub</a:t>
            </a:r>
          </a:p>
          <a:p>
            <a:r>
              <a:rPr lang="en-US" sz="933" dirty="0"/>
              <a:t>IBM |  F&amp;O</a:t>
            </a:r>
          </a:p>
        </p:txBody>
      </p:sp>
    </p:spTree>
    <p:extLst>
      <p:ext uri="{BB962C8B-B14F-4D97-AF65-F5344CB8AC3E}">
        <p14:creationId xmlns:p14="http://schemas.microsoft.com/office/powerpoint/2010/main" val="4167310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192600"/>
            <a:ext cx="2474591" cy="2286794"/>
          </a:xfrm>
        </p:spPr>
        <p:txBody>
          <a:bodyPr rIns="0"/>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6393058" y="1714500"/>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9428523" y="1714501"/>
            <a:ext cx="2481638" cy="4286249"/>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6393058" y="192024"/>
            <a:ext cx="2481638" cy="762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9422364" y="192024"/>
            <a:ext cx="2481638" cy="762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41403557"/>
      </p:ext>
    </p:extLst>
  </p:cSld>
  <p:clrMapOvr>
    <a:masterClrMapping/>
  </p:clrMapOvr>
  <p:transition spd="med"/>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10"/>
            <a:ext cx="12178064" cy="685678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20893982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10"/>
            <a:ext cx="12178064"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209304527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10"/>
            <a:ext cx="12178061"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11191753" y="6273672"/>
            <a:ext cx="695449" cy="277477"/>
          </a:xfrm>
          <a:prstGeom prst="rect">
            <a:avLst/>
          </a:prstGeom>
        </p:spPr>
      </p:pic>
      <p:sp>
        <p:nvSpPr>
          <p:cNvPr id="4" name="Footer Placeholder 4">
            <a:extLst>
              <a:ext uri="{FF2B5EF4-FFF2-40B4-BE49-F238E27FC236}">
                <a16:creationId xmlns:a16="http://schemas.microsoft.com/office/drawing/2014/main" id="{CA333F1A-A6B1-F7B7-140D-1B1809708B7D}"/>
              </a:ext>
            </a:extLst>
          </p:cNvPr>
          <p:cNvSpPr txBox="1">
            <a:spLocks/>
          </p:cNvSpPr>
          <p:nvPr userDrawn="1"/>
        </p:nvSpPr>
        <p:spPr>
          <a:xfrm>
            <a:off x="120581" y="6268917"/>
            <a:ext cx="2438312" cy="546100"/>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933" b="1" dirty="0">
                <a:latin typeface="IBM Plex Sans SmBld" panose="020B0503050000000000" pitchFamily="34" charset="77"/>
              </a:rPr>
              <a:t>CIO</a:t>
            </a:r>
          </a:p>
          <a:p>
            <a:r>
              <a:rPr lang="en-US" sz="933" dirty="0"/>
              <a:t>IBM |  Global HR IT</a:t>
            </a:r>
          </a:p>
        </p:txBody>
      </p:sp>
    </p:spTree>
    <p:extLst>
      <p:ext uri="{BB962C8B-B14F-4D97-AF65-F5344CB8AC3E}">
        <p14:creationId xmlns:p14="http://schemas.microsoft.com/office/powerpoint/2010/main" val="353140475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11"/>
            <a:ext cx="12178061"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302821568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1"/>
            <a:ext cx="12192000" cy="686462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2 / © 2022 IBM Corporation</a:t>
            </a:r>
          </a:p>
        </p:txBody>
      </p:sp>
      <p:pic>
        <p:nvPicPr>
          <p:cNvPr id="6" name="Picture"/>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198553966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4916" y="5080"/>
            <a:ext cx="12171208" cy="685292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355820920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11"/>
            <a:ext cx="12178060"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359421908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09"/>
            <a:ext cx="12178060" cy="6856776"/>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111882468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
        <p:nvSpPr>
          <p:cNvPr id="5" name="Footer Placeholder 4">
            <a:extLst>
              <a:ext uri="{FF2B5EF4-FFF2-40B4-BE49-F238E27FC236}">
                <a16:creationId xmlns:a16="http://schemas.microsoft.com/office/drawing/2014/main" id="{569C77A5-C3CE-0275-F56C-37B00039E716}"/>
              </a:ext>
            </a:extLst>
          </p:cNvPr>
          <p:cNvSpPr txBox="1">
            <a:spLocks/>
          </p:cNvSpPr>
          <p:nvPr userDrawn="1"/>
        </p:nvSpPr>
        <p:spPr>
          <a:xfrm>
            <a:off x="120581" y="6268917"/>
            <a:ext cx="2438312" cy="546100"/>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933" b="1" dirty="0">
                <a:latin typeface="IBM Plex Sans SmBld" panose="020B0503050000000000" pitchFamily="34" charset="77"/>
              </a:rPr>
              <a:t>CIO Intelligent Automation Hub</a:t>
            </a:r>
          </a:p>
          <a:p>
            <a:r>
              <a:rPr lang="en-US" sz="933" dirty="0"/>
              <a:t>IBM |  F&amp;O</a:t>
            </a:r>
          </a:p>
        </p:txBody>
      </p:sp>
    </p:spTree>
    <p:extLst>
      <p:ext uri="{BB962C8B-B14F-4D97-AF65-F5344CB8AC3E}">
        <p14:creationId xmlns:p14="http://schemas.microsoft.com/office/powerpoint/2010/main" val="306851151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759" indent="0">
              <a:buNone/>
              <a:defRPr/>
            </a:lvl3pPr>
            <a:lvl4pPr marL="579844" indent="0">
              <a:buNone/>
              <a:defRPr/>
            </a:lvl4pPr>
            <a:lvl5pPr marL="8422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759" indent="0">
              <a:buNone/>
              <a:defRPr/>
            </a:lvl3pPr>
            <a:lvl4pPr marL="579844" indent="0">
              <a:buNone/>
              <a:defRPr/>
            </a:lvl4pPr>
            <a:lvl5pPr marL="8422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098460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607997" cy="607231"/>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58275509"/>
      </p:ext>
    </p:extLst>
  </p:cSld>
  <p:clrMapOvr>
    <a:masterClrMapping/>
  </p:clrMapOvr>
  <p:transition spd="med"/>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797"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074074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797"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7845061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797"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0798216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9" y="268224"/>
            <a:ext cx="7416713" cy="5726176"/>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5203030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3912120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10" y="1658112"/>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5469865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199">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3634738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2974868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0233197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6388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634752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a:prstGeom prst="rect">
            <a:avLst/>
          </a:prstGeom>
        </p:spPr>
        <p:txBody>
          <a:bodyPr anchor="ctr"/>
          <a:lstStyle>
            <a:lvl1pPr algn="ctr">
              <a:defRPr sz="800" b="0" i="0">
                <a:latin typeface="IBM Plex Sans Light" panose="020B0403050203000203" pitchFamily="34" charset="0"/>
              </a:defRPr>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a:prstGeom prst="rect">
            <a:avLst/>
          </a:prstGeom>
        </p:spPr>
        <p:txBody>
          <a:bodyPr anchor="ctr"/>
          <a:lstStyle>
            <a:lvl1pPr algn="ctr">
              <a:defRPr sz="800" b="0" i="0">
                <a:latin typeface="IBM Plex Sans Light" panose="020B0403050203000203" pitchFamily="34" charset="0"/>
              </a:defRPr>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280252" y="1228296"/>
            <a:ext cx="3334903" cy="1533952"/>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6380920" y="1228296"/>
            <a:ext cx="3334903" cy="1533951"/>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287999" y="4181048"/>
            <a:ext cx="3334903" cy="1533949"/>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6388667" y="4181048"/>
            <a:ext cx="3334903" cy="1533946"/>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1918246"/>
      </p:ext>
    </p:extLst>
  </p:cSld>
  <p:clrMapOvr>
    <a:masterClrMapping/>
  </p:clrMapOvr>
  <p:transition spd="med"/>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2"/>
          </a:solidFill>
        </p:spPr>
        <p:txBody>
          <a:bodyPr wrap="square" lIns="0" tIns="0" rIns="0" bIns="0" rtlCol="0" anchor="ctr">
            <a:noAutofit/>
          </a:bodyPr>
          <a:lstStyle/>
          <a:p>
            <a:pPr algn="ctr"/>
            <a:endParaRPr lang="en-US" sz="16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6388608" y="268224"/>
            <a:ext cx="5498592" cy="5726176"/>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0709736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2799615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3708300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2597573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6096000"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9139245" y="313269"/>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6389818" y="3426884"/>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21316999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6096000"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304802"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6389818"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9141024" y="313269"/>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0335046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3425951"/>
          </a:xfrm>
          <a:noFill/>
        </p:spPr>
        <p:txBody>
          <a:bodyPr lIns="182880" tIns="164592" rIns="228600" bIns="228600"/>
          <a:lstStyle>
            <a:lvl1pPr>
              <a:defRPr sz="6399">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3426885"/>
            <a:ext cx="3048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5"/>
            <a:ext cx="3048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3048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6096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9144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304800" y="3429000"/>
            <a:ext cx="11582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5765433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3956834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3" y="3429000"/>
            <a:ext cx="3048004" cy="3429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333">
                <a:solidFill>
                  <a:schemeClr val="tx1"/>
                </a:solidFill>
              </a:defRPr>
            </a:lvl2pPr>
            <a:lvl3pPr>
              <a:buClr>
                <a:srgbClr val="001141"/>
              </a:buClr>
              <a:defRPr sz="1333">
                <a:solidFill>
                  <a:schemeClr val="tx1"/>
                </a:solidFill>
              </a:defRPr>
            </a:lvl3pPr>
            <a:lvl4pPr>
              <a:buClr>
                <a:srgbClr val="001141"/>
              </a:buClr>
              <a:defRPr sz="1333">
                <a:solidFill>
                  <a:schemeClr val="tx1"/>
                </a:solidFill>
              </a:defRPr>
            </a:lvl4pPr>
            <a:lvl5pPr>
              <a:buClr>
                <a:srgbClr val="001141"/>
              </a:buCl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2674622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6096000"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3045025"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9141025"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592672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570706"/>
          </a:xfrm>
          <a:prstGeom prst="rect">
            <a:avLst/>
          </a:prstGeom>
        </p:spPr>
        <p:txBody>
          <a:bodyPr/>
          <a:lstStyle>
            <a:lvl1pPr>
              <a:defRPr sz="14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05581418"/>
      </p:ext>
    </p:extLst>
  </p:cSld>
  <p:clrMapOvr>
    <a:masterClrMapping/>
  </p:clrMapOvr>
  <p:transition spd="med"/>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6761808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6311566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7">
                <a:solidFill>
                  <a:schemeClr val="tx1"/>
                </a:solidFill>
              </a:defRPr>
            </a:lvl1pPr>
            <a:lvl2pPr>
              <a:spcBef>
                <a:spcPts val="1467"/>
              </a:spcBef>
              <a:defRPr sz="1867">
                <a:solidFill>
                  <a:schemeClr val="tx1"/>
                </a:solidFill>
              </a:defRPr>
            </a:lvl2pPr>
            <a:lvl3pPr>
              <a:spcBef>
                <a:spcPts val="1467"/>
              </a:spcBef>
              <a:defRPr sz="1867">
                <a:solidFill>
                  <a:schemeClr val="tx1"/>
                </a:solidFill>
              </a:defRPr>
            </a:lvl3pPr>
            <a:lvl4pPr>
              <a:spcBef>
                <a:spcPts val="1467"/>
              </a:spcBef>
              <a:defRPr sz="1867">
                <a:solidFill>
                  <a:schemeClr val="tx1"/>
                </a:solidFill>
              </a:defRPr>
            </a:lvl4pPr>
            <a:lvl5pPr>
              <a:spcBef>
                <a:spcPts val="1467"/>
              </a:spcBef>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5815955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83512"/>
            <a:ext cx="2450592" cy="4336288"/>
          </a:xfrm>
        </p:spPr>
        <p:txBody>
          <a:bodyPr/>
          <a:lstStyle>
            <a:lvl1pPr>
              <a:spcBef>
                <a:spcPts val="400"/>
              </a:spcBef>
              <a:defRPr sz="1333">
                <a:solidFill>
                  <a:schemeClr val="tx1"/>
                </a:solidFill>
              </a:defRPr>
            </a:lvl1pPr>
            <a:lvl2pPr>
              <a:spcBef>
                <a:spcPts val="400"/>
              </a:spcBef>
              <a:defRPr sz="1333">
                <a:solidFill>
                  <a:schemeClr val="tx1"/>
                </a:solidFill>
              </a:defRPr>
            </a:lvl2pPr>
            <a:lvl3pPr>
              <a:spcBef>
                <a:spcPts val="400"/>
              </a:spcBef>
              <a:defRPr sz="1333">
                <a:solidFill>
                  <a:schemeClr val="tx1"/>
                </a:solidFill>
              </a:defRPr>
            </a:lvl3pPr>
            <a:lvl4pPr>
              <a:spcBef>
                <a:spcPts val="400"/>
              </a:spcBef>
              <a:defRPr sz="1333">
                <a:solidFill>
                  <a:schemeClr val="tx1"/>
                </a:solidFill>
              </a:defRPr>
            </a:lvl4pPr>
            <a:lvl5pPr>
              <a:spcBef>
                <a:spcPts val="400"/>
              </a:spcBef>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199">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50184222"/>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10" y="268224"/>
            <a:ext cx="8546501" cy="5726176"/>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478359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5681541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599506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solidFill>
                  <a:schemeClr val="tx1"/>
                </a:solidFill>
              </a:defRPr>
            </a:lvl1pPr>
            <a:lvl2pPr marL="0" indent="0">
              <a:spcBef>
                <a:spcPts val="0"/>
              </a:spcBef>
              <a:buNone/>
              <a:defRPr/>
            </a:lvl2pPr>
            <a:lvl3pPr marL="268759" indent="0">
              <a:buNone/>
              <a:defRPr/>
            </a:lvl3pPr>
            <a:lvl4pPr marL="579844" indent="0">
              <a:buNone/>
              <a:defRPr/>
            </a:lvl4pPr>
            <a:lvl5pPr marL="842255"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solidFill>
                  <a:schemeClr val="tx1"/>
                </a:solidFill>
              </a:defRPr>
            </a:lvl1pPr>
            <a:lvl2pPr>
              <a:defRPr sz="800"/>
            </a:lvl2pPr>
            <a:lvl3pPr>
              <a:defRPr sz="800"/>
            </a:lvl3pPr>
            <a:lvl4pPr>
              <a:defRPr sz="800"/>
            </a:lvl4pPr>
            <a:lvl5pPr>
              <a:defRPr sz="8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6781787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1" y="3083847"/>
            <a:ext cx="1730141" cy="690308"/>
          </a:xfrm>
          <a:prstGeom prst="rect">
            <a:avLst/>
          </a:prstGeom>
        </p:spPr>
      </p:pic>
    </p:spTree>
    <p:extLst>
      <p:ext uri="{BB962C8B-B14F-4D97-AF65-F5344CB8AC3E}">
        <p14:creationId xmlns:p14="http://schemas.microsoft.com/office/powerpoint/2010/main" val="1024846844"/>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2" y="3083847"/>
            <a:ext cx="1730139" cy="690308"/>
          </a:xfrm>
          <a:prstGeom prst="rect">
            <a:avLst/>
          </a:prstGeom>
        </p:spPr>
      </p:pic>
    </p:spTree>
    <p:extLst>
      <p:ext uri="{BB962C8B-B14F-4D97-AF65-F5344CB8AC3E}">
        <p14:creationId xmlns:p14="http://schemas.microsoft.com/office/powerpoint/2010/main" val="39243864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224028"/>
          </a:xfrm>
          <a:prstGeom prst="rect">
            <a:avLst/>
          </a:prstGeom>
        </p:spPr>
        <p:txBody>
          <a:bodyPr/>
          <a:lstStyle>
            <a:lvl1pPr>
              <a:lnSpc>
                <a:spcPct val="100000"/>
              </a:lnSpc>
              <a:defRPr sz="14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84439253"/>
      </p:ext>
    </p:extLst>
  </p:cSld>
  <p:clrMapOvr>
    <a:masterClrMapping/>
  </p:clrMapOvr>
  <p:transition spd="med"/>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1" y="3083847"/>
            <a:ext cx="1730141" cy="690309"/>
          </a:xfrm>
          <a:prstGeom prst="rect">
            <a:avLst/>
          </a:prstGeom>
        </p:spPr>
      </p:pic>
    </p:spTree>
    <p:extLst>
      <p:ext uri="{BB962C8B-B14F-4D97-AF65-F5344CB8AC3E}">
        <p14:creationId xmlns:p14="http://schemas.microsoft.com/office/powerpoint/2010/main" val="1305383598"/>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2 Righ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4E27F71D-749D-974B-AB68-C90C1F656661}"/>
              </a:ext>
            </a:extLst>
          </p:cNvPr>
          <p:cNvGrpSpPr/>
          <p:nvPr userDrawn="1"/>
        </p:nvGrpSpPr>
        <p:grpSpPr>
          <a:xfrm>
            <a:off x="-146306" y="-147320"/>
            <a:ext cx="12485627" cy="7152640"/>
            <a:chOff x="-109730" y="-110490"/>
            <a:chExt cx="9364220" cy="5364480"/>
          </a:xfrm>
        </p:grpSpPr>
        <p:grpSp>
          <p:nvGrpSpPr>
            <p:cNvPr id="17" name="Group 16">
              <a:extLst>
                <a:ext uri="{FF2B5EF4-FFF2-40B4-BE49-F238E27FC236}">
                  <a16:creationId xmlns:a16="http://schemas.microsoft.com/office/drawing/2014/main" id="{7033ABDB-33FA-424A-8022-BE25064AAE9B}"/>
                </a:ext>
              </a:extLst>
            </p:cNvPr>
            <p:cNvGrpSpPr/>
            <p:nvPr userDrawn="1"/>
          </p:nvGrpSpPr>
          <p:grpSpPr>
            <a:xfrm>
              <a:off x="228600" y="-110490"/>
              <a:ext cx="8686732" cy="91440"/>
              <a:chOff x="228600" y="-152400"/>
              <a:chExt cx="8686732" cy="152400"/>
            </a:xfrm>
          </p:grpSpPr>
          <p:cxnSp>
            <p:nvCxnSpPr>
              <p:cNvPr id="50" name="Straight Connector 49">
                <a:extLst>
                  <a:ext uri="{FF2B5EF4-FFF2-40B4-BE49-F238E27FC236}">
                    <a16:creationId xmlns:a16="http://schemas.microsoft.com/office/drawing/2014/main" id="{E028FABC-C57C-0B4D-ADC6-F0D9AC86E7C9}"/>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CCE52FE3-158F-D14E-B6AE-3EE847C02A23}"/>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C6326F37-4F20-A241-8AC4-D933542FB91D}"/>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193EAF95-D519-4A43-A5B7-8F152B7AAAF3}"/>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63D1F6C8-6E33-8445-84CD-22391B38AE2F}"/>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7CC00B75-D288-0546-90E6-0FAF60915429}"/>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9E943793-FE0F-6F4D-98F4-B9E3837BCA9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B1C729D8-F1AE-2C45-BF73-3BFD621F4038}"/>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773341F0-E3B3-EB42-A739-32107097206A}"/>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89EDDA5B-8572-C545-8DFA-ABC33664C7A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E0B85CAB-A5A1-6546-BA39-1598C1A1BF64}"/>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18" name="Group 17">
              <a:extLst>
                <a:ext uri="{FF2B5EF4-FFF2-40B4-BE49-F238E27FC236}">
                  <a16:creationId xmlns:a16="http://schemas.microsoft.com/office/drawing/2014/main" id="{4EE9C99B-7B10-AE41-8B1B-D8508EC96D36}"/>
                </a:ext>
              </a:extLst>
            </p:cNvPr>
            <p:cNvGrpSpPr/>
            <p:nvPr userDrawn="1"/>
          </p:nvGrpSpPr>
          <p:grpSpPr>
            <a:xfrm>
              <a:off x="228600" y="5162550"/>
              <a:ext cx="8686732" cy="91440"/>
              <a:chOff x="228600" y="5143500"/>
              <a:chExt cx="8686732" cy="152400"/>
            </a:xfrm>
          </p:grpSpPr>
          <p:cxnSp>
            <p:nvCxnSpPr>
              <p:cNvPr id="39" name="Straight Connector 38">
                <a:extLst>
                  <a:ext uri="{FF2B5EF4-FFF2-40B4-BE49-F238E27FC236}">
                    <a16:creationId xmlns:a16="http://schemas.microsoft.com/office/drawing/2014/main" id="{C65EA58F-D486-A749-9B47-9DD071000D4F}"/>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9056486B-3E88-1F4E-A5B6-71F9C8038505}"/>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8F54F4A3-648E-3146-B408-995E6916E7DD}"/>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1DB512CA-21A6-9E45-BA56-12B8F4FE801F}"/>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2BFB8868-99DE-1A45-8575-1EA11710057F}"/>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730DE9A1-D9BD-524C-BE6F-1D6659196FBC}"/>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5ABAF5C8-E725-FD45-80A0-6EC368BF88BA}"/>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EBC18DE6-803B-7541-908A-41F6D4494834}"/>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737A4750-B9D5-5049-A414-7844F44D2F08}"/>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11CC3856-9176-894C-9678-78854179B583}"/>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3A4EF373-8CC5-F948-AA7B-C5EF10137299}"/>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19" name="Group 18">
              <a:extLst>
                <a:ext uri="{FF2B5EF4-FFF2-40B4-BE49-F238E27FC236}">
                  <a16:creationId xmlns:a16="http://schemas.microsoft.com/office/drawing/2014/main" id="{5EDFECA7-68A0-C74C-8702-67F215F53507}"/>
                </a:ext>
              </a:extLst>
            </p:cNvPr>
            <p:cNvGrpSpPr/>
            <p:nvPr userDrawn="1"/>
          </p:nvGrpSpPr>
          <p:grpSpPr>
            <a:xfrm>
              <a:off x="-109730" y="237744"/>
              <a:ext cx="91440" cy="4664456"/>
              <a:chOff x="-109730" y="237744"/>
              <a:chExt cx="91440" cy="4664456"/>
            </a:xfrm>
          </p:grpSpPr>
          <p:cxnSp>
            <p:nvCxnSpPr>
              <p:cNvPr id="30" name="Straight Connector 29">
                <a:extLst>
                  <a:ext uri="{FF2B5EF4-FFF2-40B4-BE49-F238E27FC236}">
                    <a16:creationId xmlns:a16="http://schemas.microsoft.com/office/drawing/2014/main" id="{B42BDEDC-364B-EC4F-9B43-9C5105374A26}"/>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82746AEA-B7EE-6A45-A324-2780C5387E8B}"/>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10F57C53-2F79-4140-B8DD-CFF27135CAA8}"/>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D0D1241B-3B6D-564B-92C0-5F79295699BA}"/>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4F1A65E1-A6DD-0E48-9328-F63C08A91C80}"/>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DF1A857E-0280-4D4D-8C5E-78EB4893E8F3}"/>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32EE49FC-4AC3-D84D-B296-8260919A4AFB}"/>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A036B8A6-5887-EB43-A589-E9B55309975E}"/>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886C2E2E-F476-B64B-A78C-E2A4F068B019}"/>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20" name="Group 19">
              <a:extLst>
                <a:ext uri="{FF2B5EF4-FFF2-40B4-BE49-F238E27FC236}">
                  <a16:creationId xmlns:a16="http://schemas.microsoft.com/office/drawing/2014/main" id="{568B7B3E-2365-FA48-B0BB-56705EDB6709}"/>
                </a:ext>
              </a:extLst>
            </p:cNvPr>
            <p:cNvGrpSpPr/>
            <p:nvPr userDrawn="1"/>
          </p:nvGrpSpPr>
          <p:grpSpPr>
            <a:xfrm>
              <a:off x="9163050" y="237744"/>
              <a:ext cx="91440" cy="4663440"/>
              <a:chOff x="-109730" y="231394"/>
              <a:chExt cx="91440" cy="4663440"/>
            </a:xfrm>
          </p:grpSpPr>
          <p:cxnSp>
            <p:nvCxnSpPr>
              <p:cNvPr id="21" name="Straight Connector 20">
                <a:extLst>
                  <a:ext uri="{FF2B5EF4-FFF2-40B4-BE49-F238E27FC236}">
                    <a16:creationId xmlns:a16="http://schemas.microsoft.com/office/drawing/2014/main" id="{F8CB4122-4D33-2A42-871B-AB33239DC529}"/>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E1272E41-0FA7-6B41-B356-7A2B88AC448F}"/>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784B5EE1-D003-1F47-8D33-3E312E35B1E7}"/>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571409CD-4C1B-8E45-ACF9-86D270DA7692}"/>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A131086F-34E8-8C46-8C5C-6BAA87172E82}"/>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0A42B631-F25C-F54E-B854-80328E4DFBBC}"/>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08D46B81-A248-A847-9183-C6BC43C53E85}"/>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86FA5BE4-E196-EC4A-BC7A-95A47060EE08}"/>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47A74DF6-412C-6548-B80E-F7E7ED8433A9}"/>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
        <p:nvSpPr>
          <p:cNvPr id="62" name="Text Placeholder 64">
            <a:extLst>
              <a:ext uri="{FF2B5EF4-FFF2-40B4-BE49-F238E27FC236}">
                <a16:creationId xmlns:a16="http://schemas.microsoft.com/office/drawing/2014/main" id="{E2F53600-67C4-974C-97EF-ED4B05DBA6E3}"/>
              </a:ext>
            </a:extLst>
          </p:cNvPr>
          <p:cNvSpPr>
            <a:spLocks noGrp="1"/>
          </p:cNvSpPr>
          <p:nvPr>
            <p:ph type="body" sz="quarter" idx="10"/>
          </p:nvPr>
        </p:nvSpPr>
        <p:spPr>
          <a:xfrm>
            <a:off x="6319656" y="2587195"/>
            <a:ext cx="5472455" cy="496097"/>
          </a:xfrm>
          <a:prstGeom prst="rect">
            <a:avLst/>
          </a:prstGeom>
        </p:spPr>
        <p:txBody>
          <a:bodyPr>
            <a:normAutofit/>
          </a:bodyPr>
          <a:lstStyle>
            <a:lvl1pPr>
              <a:defRPr sz="2400" b="1" i="0">
                <a:latin typeface="IBM Plex Sans SmBld" panose="020B0503050000000000" pitchFamily="34" charset="77"/>
              </a:defRPr>
            </a:lvl1pPr>
          </a:lstStyle>
          <a:p>
            <a:pPr lvl="0"/>
            <a:r>
              <a:rPr lang="en-US" dirty="0"/>
              <a:t>Click to edit Master text styles</a:t>
            </a:r>
          </a:p>
        </p:txBody>
      </p:sp>
      <p:sp>
        <p:nvSpPr>
          <p:cNvPr id="63" name="Text Placeholder 2">
            <a:extLst>
              <a:ext uri="{FF2B5EF4-FFF2-40B4-BE49-F238E27FC236}">
                <a16:creationId xmlns:a16="http://schemas.microsoft.com/office/drawing/2014/main" id="{D74049CF-B08D-CA47-96EF-72D671F1D720}"/>
              </a:ext>
            </a:extLst>
          </p:cNvPr>
          <p:cNvSpPr>
            <a:spLocks noGrp="1"/>
          </p:cNvSpPr>
          <p:nvPr>
            <p:ph type="body" sz="quarter" idx="11"/>
          </p:nvPr>
        </p:nvSpPr>
        <p:spPr>
          <a:xfrm>
            <a:off x="6318885" y="3110358"/>
            <a:ext cx="5473316" cy="354012"/>
          </a:xfrm>
          <a:prstGeom prst="rect">
            <a:avLst/>
          </a:prstGeom>
        </p:spPr>
        <p:txBody>
          <a:bodyPr/>
          <a:lstStyle>
            <a:lvl1pPr>
              <a:defRPr sz="1600" b="0" i="0">
                <a:solidFill>
                  <a:srgbClr val="50565B"/>
                </a:solidFill>
                <a:latin typeface="IBM Plex Sans" panose="020B0503050000000000" pitchFamily="34" charset="77"/>
              </a:defRPr>
            </a:lvl1pPr>
            <a:lvl2pPr>
              <a:defRPr sz="1600" b="0" i="0">
                <a:solidFill>
                  <a:srgbClr val="50565B"/>
                </a:solidFill>
                <a:latin typeface="IBM Plex Sans" panose="020B0503050000000000" pitchFamily="34" charset="77"/>
              </a:defRPr>
            </a:lvl2pPr>
            <a:lvl3pPr>
              <a:defRPr sz="1600" b="0" i="0">
                <a:solidFill>
                  <a:srgbClr val="50565B"/>
                </a:solidFill>
                <a:latin typeface="IBM Plex Sans" panose="020B0503050000000000" pitchFamily="34" charset="77"/>
              </a:defRPr>
            </a:lvl3pPr>
            <a:lvl4pPr>
              <a:defRPr sz="1600" b="0" i="0">
                <a:solidFill>
                  <a:srgbClr val="50565B"/>
                </a:solidFill>
                <a:latin typeface="IBM Plex Sans" panose="020B0503050000000000" pitchFamily="34" charset="77"/>
              </a:defRPr>
            </a:lvl4pPr>
            <a:lvl5pPr>
              <a:defRPr sz="1600" b="0" i="0">
                <a:solidFill>
                  <a:srgbClr val="50565B"/>
                </a:solidFill>
                <a:latin typeface="IBM Plex Sans" panose="020B0503050000000000" pitchFamily="34" charset="77"/>
              </a:defRPr>
            </a:lvl5pPr>
          </a:lstStyle>
          <a:p>
            <a:pPr lvl="0"/>
            <a:r>
              <a:rPr lang="en-US" dirty="0"/>
              <a:t>Click to edit Master text styles</a:t>
            </a:r>
          </a:p>
        </p:txBody>
      </p:sp>
      <p:sp>
        <p:nvSpPr>
          <p:cNvPr id="61" name="Footer Placeholder 2">
            <a:extLst>
              <a:ext uri="{FF2B5EF4-FFF2-40B4-BE49-F238E27FC236}">
                <a16:creationId xmlns:a16="http://schemas.microsoft.com/office/drawing/2014/main" id="{FB645CB1-D1B9-5846-8AA5-AE630DA45C22}"/>
              </a:ext>
            </a:extLst>
          </p:cNvPr>
          <p:cNvSpPr>
            <a:spLocks noGrp="1"/>
          </p:cNvSpPr>
          <p:nvPr>
            <p:ph type="ftr" sz="quarter" idx="3"/>
          </p:nvPr>
        </p:nvSpPr>
        <p:spPr>
          <a:xfrm>
            <a:off x="6311084" y="6071059"/>
            <a:ext cx="2438312" cy="546100"/>
          </a:xfrm>
          <a:prstGeom prst="rect">
            <a:avLst/>
          </a:prstGeom>
        </p:spPr>
        <p:txBody>
          <a:bodyPr anchor="b"/>
          <a:lstStyle>
            <a:lvl1pPr>
              <a:lnSpc>
                <a:spcPct val="150000"/>
              </a:lnSpc>
              <a:defRPr sz="1000" b="0" i="0">
                <a:solidFill>
                  <a:srgbClr val="50565B"/>
                </a:solidFill>
                <a:latin typeface="IBM Plex Sans" panose="020B0503050000000000" pitchFamily="34" charset="77"/>
              </a:defRPr>
            </a:lvl1pPr>
          </a:lstStyle>
          <a:p>
            <a:r>
              <a:rPr lang="en-US" b="1" dirty="0">
                <a:solidFill>
                  <a:schemeClr val="tx1"/>
                </a:solidFill>
                <a:latin typeface="IBM Plex Sans SmBld" panose="020B0503050000000000" pitchFamily="34" charset="77"/>
              </a:rPr>
              <a:t>Presentation title</a:t>
            </a:r>
          </a:p>
          <a:p>
            <a:r>
              <a:rPr lang="en-US" dirty="0"/>
              <a:t>IBM |  Project/team name</a:t>
            </a:r>
          </a:p>
        </p:txBody>
      </p:sp>
    </p:spTree>
    <p:extLst>
      <p:ext uri="{BB962C8B-B14F-4D97-AF65-F5344CB8AC3E}">
        <p14:creationId xmlns:p14="http://schemas.microsoft.com/office/powerpoint/2010/main" val="3583452718"/>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4_4-6_Title and Content">
    <p:spTree>
      <p:nvGrpSpPr>
        <p:cNvPr id="1" name=""/>
        <p:cNvGrpSpPr/>
        <p:nvPr/>
      </p:nvGrpSpPr>
      <p:grpSpPr>
        <a:xfrm>
          <a:off x="0" y="0"/>
          <a:ext cx="0" cy="0"/>
          <a:chOff x="0" y="0"/>
          <a:chExt cx="0" cy="0"/>
        </a:xfrm>
      </p:grpSpPr>
      <p:sp>
        <p:nvSpPr>
          <p:cNvPr id="17" name="Content Placeholder 2"/>
          <p:cNvSpPr>
            <a:spLocks noGrp="1"/>
          </p:cNvSpPr>
          <p:nvPr>
            <p:ph idx="16" hasCustomPrompt="1"/>
          </p:nvPr>
        </p:nvSpPr>
        <p:spPr>
          <a:xfrm>
            <a:off x="9144811" y="3428999"/>
            <a:ext cx="3048000" cy="1714500"/>
          </a:xfrm>
          <a:prstGeom prst="rect">
            <a:avLst/>
          </a:prstGeom>
          <a:noFill/>
        </p:spPr>
        <p:txBody>
          <a:bodyPr lIns="228600" tIns="0" rIns="228600">
            <a:noAutofit/>
          </a:bodyPr>
          <a:lstStyle>
            <a:lvl1pPr>
              <a:defRPr b="1" i="0">
                <a:latin typeface="IBM Plex Sans" charset="0"/>
                <a:ea typeface="IBM Plex Sans" charset="0"/>
                <a:cs typeface="IBM Plex Sans" charset="0"/>
              </a:defRPr>
            </a:lvl1pPr>
            <a:lvl2pPr>
              <a:defRPr b="1" i="0">
                <a:latin typeface="IBM Plex Sans" charset="0"/>
                <a:ea typeface="IBM Plex Sans" charset="0"/>
                <a:cs typeface="IBM Plex Sans" charset="0"/>
              </a:defRPr>
            </a:lvl2pPr>
            <a:lvl3pPr>
              <a:defRPr b="1" i="0">
                <a:latin typeface="IBM Plex Sans" charset="0"/>
                <a:ea typeface="IBM Plex Sans" charset="0"/>
                <a:cs typeface="IBM Plex Sans" charset="0"/>
              </a:defRPr>
            </a:lvl3pPr>
            <a:lvl4pPr>
              <a:defRPr b="1" i="0">
                <a:latin typeface="IBM Plex Sans" charset="0"/>
                <a:ea typeface="IBM Plex Sans" charset="0"/>
                <a:cs typeface="IBM Plex Sans" charset="0"/>
              </a:defRPr>
            </a:lvl4pPr>
            <a:lvl5pPr>
              <a:defRPr b="1" i="0">
                <a:latin typeface="IBM Plex Sans" charset="0"/>
                <a:ea typeface="IBM Plex Sans" charset="0"/>
                <a:cs typeface="IBM Plex Sans"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hasCustomPrompt="1"/>
          </p:nvPr>
        </p:nvSpPr>
        <p:spPr>
          <a:xfrm>
            <a:off x="3048000" y="1"/>
            <a:ext cx="3048000" cy="3429000"/>
          </a:xfrm>
          <a:prstGeom prst="rect">
            <a:avLst/>
          </a:prstGeom>
          <a:noFill/>
        </p:spPr>
        <p:txBody>
          <a:bodyPr lIns="228600" tIns="228600" rIns="228600">
            <a:noAutofit/>
          </a:bodyPr>
          <a:lstStyle>
            <a:lvl1pPr>
              <a:defRPr b="1" i="0">
                <a:latin typeface="IBM Plex Sans" charset="0"/>
                <a:ea typeface="IBM Plex Sans" charset="0"/>
                <a:cs typeface="IBM Plex Sans" charset="0"/>
              </a:defRPr>
            </a:lvl1pPr>
            <a:lvl2pPr>
              <a:defRPr b="1" i="0">
                <a:latin typeface="IBM Plex Sans" charset="0"/>
                <a:ea typeface="IBM Plex Sans" charset="0"/>
                <a:cs typeface="IBM Plex Sans" charset="0"/>
              </a:defRPr>
            </a:lvl2pPr>
            <a:lvl3pPr>
              <a:defRPr b="1" i="0">
                <a:latin typeface="IBM Plex Sans" charset="0"/>
                <a:ea typeface="IBM Plex Sans" charset="0"/>
                <a:cs typeface="IBM Plex Sans" charset="0"/>
              </a:defRPr>
            </a:lvl3pPr>
            <a:lvl4pPr>
              <a:defRPr b="1" i="0">
                <a:latin typeface="IBM Plex Sans" charset="0"/>
                <a:ea typeface="IBM Plex Sans" charset="0"/>
                <a:cs typeface="IBM Plex Sans" charset="0"/>
              </a:defRPr>
            </a:lvl4pPr>
            <a:lvl5pPr>
              <a:defRPr b="1" i="0">
                <a:latin typeface="IBM Plex Sans" charset="0"/>
                <a:ea typeface="IBM Plex Sans" charset="0"/>
                <a:cs typeface="IBM Plex Sans"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5" hasCustomPrompt="1"/>
          </p:nvPr>
        </p:nvSpPr>
        <p:spPr>
          <a:xfrm>
            <a:off x="6096000" y="3429000"/>
            <a:ext cx="3048000" cy="3429000"/>
          </a:xfrm>
          <a:prstGeom prst="rect">
            <a:avLst/>
          </a:prstGeom>
          <a:noFill/>
        </p:spPr>
        <p:txBody>
          <a:bodyPr lIns="228600" tIns="228600" rIns="228600">
            <a:noAutofit/>
          </a:bodyPr>
          <a:lstStyle>
            <a:lvl1pPr>
              <a:defRPr b="1" i="0">
                <a:latin typeface="IBM Plex Sans" charset="0"/>
                <a:ea typeface="IBM Plex Sans" charset="0"/>
                <a:cs typeface="IBM Plex Sans" charset="0"/>
              </a:defRPr>
            </a:lvl1pPr>
            <a:lvl2pPr>
              <a:defRPr b="1" i="0">
                <a:latin typeface="IBM Plex Sans" charset="0"/>
                <a:ea typeface="IBM Plex Sans" charset="0"/>
                <a:cs typeface="IBM Plex Sans" charset="0"/>
              </a:defRPr>
            </a:lvl2pPr>
            <a:lvl3pPr>
              <a:defRPr b="1" i="0">
                <a:latin typeface="IBM Plex Sans" charset="0"/>
                <a:ea typeface="IBM Plex Sans" charset="0"/>
                <a:cs typeface="IBM Plex Sans" charset="0"/>
              </a:defRPr>
            </a:lvl3pPr>
            <a:lvl4pPr>
              <a:defRPr b="1" i="0">
                <a:latin typeface="IBM Plex Sans" charset="0"/>
                <a:ea typeface="IBM Plex Sans" charset="0"/>
                <a:cs typeface="IBM Plex Sans" charset="0"/>
              </a:defRPr>
            </a:lvl4pPr>
            <a:lvl5pPr>
              <a:defRPr b="1" i="0">
                <a:latin typeface="IBM Plex Sans" charset="0"/>
                <a:ea typeface="IBM Plex Sans" charset="0"/>
                <a:cs typeface="IBM Plex Sans"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p:cNvSpPr>
            <a:spLocks noGrp="1"/>
          </p:cNvSpPr>
          <p:nvPr>
            <p:ph idx="17" hasCustomPrompt="1"/>
          </p:nvPr>
        </p:nvSpPr>
        <p:spPr>
          <a:xfrm>
            <a:off x="3048000" y="3429000"/>
            <a:ext cx="3048000" cy="3429000"/>
          </a:xfrm>
          <a:prstGeom prst="rect">
            <a:avLst/>
          </a:prstGeom>
          <a:noFill/>
        </p:spPr>
        <p:txBody>
          <a:bodyPr lIns="228600" tIns="228600" rIns="228600">
            <a:noAutofit/>
          </a:bodyPr>
          <a:lstStyle>
            <a:lvl1pPr>
              <a:defRPr b="1" i="0">
                <a:latin typeface="IBM Plex Sans" charset="0"/>
                <a:ea typeface="IBM Plex Sans" charset="0"/>
                <a:cs typeface="IBM Plex Sans" charset="0"/>
              </a:defRPr>
            </a:lvl1pPr>
            <a:lvl2pPr>
              <a:defRPr b="1" i="0">
                <a:latin typeface="IBM Plex Sans" charset="0"/>
                <a:ea typeface="IBM Plex Sans" charset="0"/>
                <a:cs typeface="IBM Plex Sans" charset="0"/>
              </a:defRPr>
            </a:lvl2pPr>
            <a:lvl3pPr>
              <a:defRPr b="1" i="0">
                <a:latin typeface="IBM Plex Sans" charset="0"/>
                <a:ea typeface="IBM Plex Sans" charset="0"/>
                <a:cs typeface="IBM Plex Sans" charset="0"/>
              </a:defRPr>
            </a:lvl3pPr>
            <a:lvl4pPr>
              <a:defRPr b="1" i="0">
                <a:latin typeface="IBM Plex Sans" charset="0"/>
                <a:ea typeface="IBM Plex Sans" charset="0"/>
                <a:cs typeface="IBM Plex Sans" charset="0"/>
              </a:defRPr>
            </a:lvl4pPr>
            <a:lvl5pPr>
              <a:defRPr b="1" i="0">
                <a:latin typeface="IBM Plex Sans" charset="0"/>
                <a:ea typeface="IBM Plex Sans" charset="0"/>
                <a:cs typeface="IBM Plex Sans"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81001" y="952500"/>
            <a:ext cx="2476500" cy="3810000"/>
          </a:xfrm>
        </p:spPr>
        <p:txBody>
          <a:bodyPr>
            <a:noAutofit/>
          </a:bodyPr>
          <a:lstStyle>
            <a:lvl1pPr>
              <a:defRPr sz="2000" b="1">
                <a:solidFill>
                  <a:schemeClr val="bg2"/>
                </a:solidFill>
              </a:defRPr>
            </a:lvl1pPr>
          </a:lstStyle>
          <a:p>
            <a:r>
              <a:rPr lang="en-US" dirty="0"/>
              <a:t>Click to edit Master title style</a:t>
            </a:r>
          </a:p>
        </p:txBody>
      </p:sp>
      <p:sp>
        <p:nvSpPr>
          <p:cNvPr id="21" name="Text Placeholder 4">
            <a:extLst>
              <a:ext uri="{FF2B5EF4-FFF2-40B4-BE49-F238E27FC236}">
                <a16:creationId xmlns:a16="http://schemas.microsoft.com/office/drawing/2014/main" id="{1E9E83D3-240E-5949-8D4D-6E6F917D4191}"/>
              </a:ext>
            </a:extLst>
          </p:cNvPr>
          <p:cNvSpPr>
            <a:spLocks noGrp="1"/>
          </p:cNvSpPr>
          <p:nvPr>
            <p:ph type="body" sz="quarter" idx="11"/>
          </p:nvPr>
        </p:nvSpPr>
        <p:spPr>
          <a:xfrm>
            <a:off x="381001" y="220980"/>
            <a:ext cx="2476500" cy="685800"/>
          </a:xfrm>
          <a:prstGeom prst="rect">
            <a:avLst/>
          </a:prstGeom>
        </p:spPr>
        <p:txBody>
          <a:bodyPr lIns="0" tIns="0" rIns="0" bIns="0">
            <a:noAutofit/>
          </a:bodyPr>
          <a:lstStyle>
            <a:lvl1pPr marL="0" indent="0">
              <a:tabLst/>
              <a:defRPr sz="1333" b="1" i="0">
                <a:solidFill>
                  <a:schemeClr val="accent2"/>
                </a:solidFill>
                <a:latin typeface="IBM Plex Sans" charset="0"/>
                <a:ea typeface="IBM Plex Sans" charset="0"/>
                <a:cs typeface="IBM Plex Sans" charset="0"/>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22" name="Content Placeholder 2">
            <a:extLst>
              <a:ext uri="{FF2B5EF4-FFF2-40B4-BE49-F238E27FC236}">
                <a16:creationId xmlns:a16="http://schemas.microsoft.com/office/drawing/2014/main" id="{89332C8F-EF68-FD4E-8479-31B7BC7DE2C2}"/>
              </a:ext>
            </a:extLst>
          </p:cNvPr>
          <p:cNvSpPr>
            <a:spLocks noGrp="1"/>
          </p:cNvSpPr>
          <p:nvPr>
            <p:ph idx="18" hasCustomPrompt="1"/>
          </p:nvPr>
        </p:nvSpPr>
        <p:spPr>
          <a:xfrm>
            <a:off x="6096000" y="0"/>
            <a:ext cx="3048000" cy="3429000"/>
          </a:xfrm>
          <a:prstGeom prst="rect">
            <a:avLst/>
          </a:prstGeom>
          <a:noFill/>
        </p:spPr>
        <p:txBody>
          <a:bodyPr lIns="228600" tIns="228600" rIns="228600">
            <a:noAutofit/>
          </a:bodyPr>
          <a:lstStyle>
            <a:lvl1pPr>
              <a:defRPr b="1" i="0">
                <a:latin typeface="IBM Plex Sans" charset="0"/>
                <a:ea typeface="IBM Plex Sans" charset="0"/>
                <a:cs typeface="IBM Plex Sans" charset="0"/>
              </a:defRPr>
            </a:lvl1pPr>
            <a:lvl2pPr>
              <a:defRPr b="1" i="0">
                <a:latin typeface="IBM Plex Sans" charset="0"/>
                <a:ea typeface="IBM Plex Sans" charset="0"/>
                <a:cs typeface="IBM Plex Sans" charset="0"/>
              </a:defRPr>
            </a:lvl2pPr>
            <a:lvl3pPr>
              <a:defRPr b="1" i="0">
                <a:latin typeface="IBM Plex Sans" charset="0"/>
                <a:ea typeface="IBM Plex Sans" charset="0"/>
                <a:cs typeface="IBM Plex Sans" charset="0"/>
              </a:defRPr>
            </a:lvl3pPr>
            <a:lvl4pPr>
              <a:defRPr b="1" i="0">
                <a:latin typeface="IBM Plex Sans" charset="0"/>
                <a:ea typeface="IBM Plex Sans" charset="0"/>
                <a:cs typeface="IBM Plex Sans" charset="0"/>
              </a:defRPr>
            </a:lvl4pPr>
            <a:lvl5pPr>
              <a:defRPr b="1" i="0">
                <a:latin typeface="IBM Plex Sans" charset="0"/>
                <a:ea typeface="IBM Plex Sans" charset="0"/>
                <a:cs typeface="IBM Plex Sans"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Content Placeholder 2">
            <a:extLst>
              <a:ext uri="{FF2B5EF4-FFF2-40B4-BE49-F238E27FC236}">
                <a16:creationId xmlns:a16="http://schemas.microsoft.com/office/drawing/2014/main" id="{91AB98D7-5D64-0D40-8C62-DA4291DE1EEE}"/>
              </a:ext>
            </a:extLst>
          </p:cNvPr>
          <p:cNvSpPr>
            <a:spLocks noGrp="1"/>
          </p:cNvSpPr>
          <p:nvPr>
            <p:ph idx="19" hasCustomPrompt="1"/>
          </p:nvPr>
        </p:nvSpPr>
        <p:spPr>
          <a:xfrm>
            <a:off x="9144000" y="1"/>
            <a:ext cx="3048000" cy="1714500"/>
          </a:xfrm>
          <a:prstGeom prst="rect">
            <a:avLst/>
          </a:prstGeom>
          <a:noFill/>
        </p:spPr>
        <p:txBody>
          <a:bodyPr lIns="228600" tIns="228600" rIns="228600">
            <a:noAutofit/>
          </a:bodyPr>
          <a:lstStyle>
            <a:lvl1pPr>
              <a:defRPr b="1" i="0">
                <a:latin typeface="IBM Plex Sans" charset="0"/>
                <a:ea typeface="IBM Plex Sans" charset="0"/>
                <a:cs typeface="IBM Plex Sans" charset="0"/>
              </a:defRPr>
            </a:lvl1pPr>
            <a:lvl2pPr>
              <a:defRPr b="1" i="0">
                <a:latin typeface="IBM Plex Sans" charset="0"/>
                <a:ea typeface="IBM Plex Sans" charset="0"/>
                <a:cs typeface="IBM Plex Sans" charset="0"/>
              </a:defRPr>
            </a:lvl2pPr>
            <a:lvl3pPr>
              <a:defRPr b="1" i="0">
                <a:latin typeface="IBM Plex Sans" charset="0"/>
                <a:ea typeface="IBM Plex Sans" charset="0"/>
                <a:cs typeface="IBM Plex Sans" charset="0"/>
              </a:defRPr>
            </a:lvl3pPr>
            <a:lvl4pPr>
              <a:defRPr b="1" i="0">
                <a:latin typeface="IBM Plex Sans" charset="0"/>
                <a:ea typeface="IBM Plex Sans" charset="0"/>
                <a:cs typeface="IBM Plex Sans" charset="0"/>
              </a:defRPr>
            </a:lvl4pPr>
            <a:lvl5pPr>
              <a:defRPr b="1" i="0">
                <a:latin typeface="IBM Plex Sans" charset="0"/>
                <a:ea typeface="IBM Plex Sans" charset="0"/>
                <a:cs typeface="IBM Plex Sans"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2">
            <a:extLst>
              <a:ext uri="{FF2B5EF4-FFF2-40B4-BE49-F238E27FC236}">
                <a16:creationId xmlns:a16="http://schemas.microsoft.com/office/drawing/2014/main" id="{4B48C097-3915-E844-8513-F2726AA827E6}"/>
              </a:ext>
            </a:extLst>
          </p:cNvPr>
          <p:cNvSpPr>
            <a:spLocks noGrp="1"/>
          </p:cNvSpPr>
          <p:nvPr>
            <p:ph idx="20" hasCustomPrompt="1"/>
          </p:nvPr>
        </p:nvSpPr>
        <p:spPr>
          <a:xfrm>
            <a:off x="9144000" y="5143501"/>
            <a:ext cx="3048000" cy="1714500"/>
          </a:xfrm>
          <a:prstGeom prst="rect">
            <a:avLst/>
          </a:prstGeom>
          <a:noFill/>
        </p:spPr>
        <p:txBody>
          <a:bodyPr lIns="228600" tIns="0" rIns="228600">
            <a:noAutofit/>
          </a:bodyPr>
          <a:lstStyle>
            <a:lvl1pPr>
              <a:defRPr b="1" i="0">
                <a:latin typeface="IBM Plex Sans" charset="0"/>
                <a:ea typeface="IBM Plex Sans" charset="0"/>
                <a:cs typeface="IBM Plex Sans" charset="0"/>
              </a:defRPr>
            </a:lvl1pPr>
            <a:lvl2pPr>
              <a:defRPr b="1" i="0">
                <a:latin typeface="IBM Plex Sans" charset="0"/>
                <a:ea typeface="IBM Plex Sans" charset="0"/>
                <a:cs typeface="IBM Plex Sans" charset="0"/>
              </a:defRPr>
            </a:lvl2pPr>
            <a:lvl3pPr>
              <a:defRPr b="1" i="0">
                <a:latin typeface="IBM Plex Sans" charset="0"/>
                <a:ea typeface="IBM Plex Sans" charset="0"/>
                <a:cs typeface="IBM Plex Sans" charset="0"/>
              </a:defRPr>
            </a:lvl3pPr>
            <a:lvl4pPr>
              <a:defRPr b="1" i="0">
                <a:latin typeface="IBM Plex Sans" charset="0"/>
                <a:ea typeface="IBM Plex Sans" charset="0"/>
                <a:cs typeface="IBM Plex Sans" charset="0"/>
              </a:defRPr>
            </a:lvl4pPr>
            <a:lvl5pPr>
              <a:defRPr b="1" i="0">
                <a:latin typeface="IBM Plex Sans" charset="0"/>
                <a:ea typeface="IBM Plex Sans" charset="0"/>
                <a:cs typeface="IBM Plex Sans"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Content Placeholder 2">
            <a:extLst>
              <a:ext uri="{FF2B5EF4-FFF2-40B4-BE49-F238E27FC236}">
                <a16:creationId xmlns:a16="http://schemas.microsoft.com/office/drawing/2014/main" id="{34E90A94-EE26-A744-8E23-0800775CB182}"/>
              </a:ext>
            </a:extLst>
          </p:cNvPr>
          <p:cNvSpPr>
            <a:spLocks noGrp="1"/>
          </p:cNvSpPr>
          <p:nvPr>
            <p:ph idx="21" hasCustomPrompt="1"/>
          </p:nvPr>
        </p:nvSpPr>
        <p:spPr>
          <a:xfrm>
            <a:off x="9144000" y="1714501"/>
            <a:ext cx="3048000" cy="1714500"/>
          </a:xfrm>
          <a:prstGeom prst="rect">
            <a:avLst/>
          </a:prstGeom>
          <a:noFill/>
        </p:spPr>
        <p:txBody>
          <a:bodyPr lIns="228600" tIns="0" rIns="228600">
            <a:noAutofit/>
          </a:bodyPr>
          <a:lstStyle>
            <a:lvl1pPr>
              <a:defRPr b="1" i="0">
                <a:latin typeface="IBM Plex Sans" charset="0"/>
                <a:ea typeface="IBM Plex Sans" charset="0"/>
                <a:cs typeface="IBM Plex Sans" charset="0"/>
              </a:defRPr>
            </a:lvl1pPr>
            <a:lvl2pPr>
              <a:defRPr b="1" i="0">
                <a:latin typeface="IBM Plex Sans" charset="0"/>
                <a:ea typeface="IBM Plex Sans" charset="0"/>
                <a:cs typeface="IBM Plex Sans" charset="0"/>
              </a:defRPr>
            </a:lvl2pPr>
            <a:lvl3pPr>
              <a:defRPr b="1" i="0">
                <a:latin typeface="IBM Plex Sans" charset="0"/>
                <a:ea typeface="IBM Plex Sans" charset="0"/>
                <a:cs typeface="IBM Plex Sans" charset="0"/>
              </a:defRPr>
            </a:lvl3pPr>
            <a:lvl4pPr>
              <a:defRPr b="1" i="0">
                <a:latin typeface="IBM Plex Sans" charset="0"/>
                <a:ea typeface="IBM Plex Sans" charset="0"/>
                <a:cs typeface="IBM Plex Sans" charset="0"/>
              </a:defRPr>
            </a:lvl4pPr>
            <a:lvl5pPr>
              <a:defRPr b="1" i="0">
                <a:latin typeface="IBM Plex Sans" charset="0"/>
                <a:ea typeface="IBM Plex Sans" charset="0"/>
                <a:cs typeface="IBM Plex Sans"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1497770"/>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799978710"/>
      </p:ext>
    </p:extLst>
  </p:cSld>
  <p:clrMapOvr>
    <a:masterClrMapping/>
  </p:clrMapOvr>
  <p:transition spd="med"/>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dirty="0">
              <a:ln>
                <a:noFill/>
              </a:ln>
              <a:solidFill>
                <a:schemeClr val="bg1"/>
              </a:solidFill>
              <a:effectLst/>
              <a:latin typeface="+mn-lt"/>
            </a:endParaRPr>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5" y="6263482"/>
            <a:ext cx="819043" cy="304800"/>
          </a:xfrm>
          <a:prstGeom prst="rect">
            <a:avLst/>
          </a:prstGeom>
        </p:spPr>
      </p:pic>
      <p:sp>
        <p:nvSpPr>
          <p:cNvPr id="7" name="Title 1">
            <a:extLst>
              <a:ext uri="{FF2B5EF4-FFF2-40B4-BE49-F238E27FC236}">
                <a16:creationId xmlns:a16="http://schemas.microsoft.com/office/drawing/2014/main" id="{184617A5-E44D-86DD-8C8E-5D85DFCA435B}"/>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714820275"/>
      </p:ext>
    </p:extLst>
  </p:cSld>
  <p:clrMapOvr>
    <a:masterClrMapping/>
  </p:clrMapOvr>
  <p:transition spd="med"/>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5" y="6263482"/>
            <a:ext cx="819043" cy="304800"/>
          </a:xfrm>
          <a:prstGeom prst="rect">
            <a:avLst/>
          </a:prstGeom>
        </p:spPr>
      </p:pic>
      <p:sp>
        <p:nvSpPr>
          <p:cNvPr id="4" name="Title 1">
            <a:extLst>
              <a:ext uri="{FF2B5EF4-FFF2-40B4-BE49-F238E27FC236}">
                <a16:creationId xmlns:a16="http://schemas.microsoft.com/office/drawing/2014/main" id="{7CC25B71-827F-9C78-56BA-F30A6070AC9F}"/>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376423928"/>
      </p:ext>
    </p:extLst>
  </p:cSld>
  <p:clrMapOvr>
    <a:masterClrMapping/>
  </p:clrMapOvr>
  <p:transition spd="med"/>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5" y="6263482"/>
            <a:ext cx="819043" cy="304800"/>
          </a:xfrm>
          <a:prstGeom prst="rect">
            <a:avLst/>
          </a:prstGeom>
        </p:spPr>
      </p:pic>
      <p:sp>
        <p:nvSpPr>
          <p:cNvPr id="4" name="Title 1">
            <a:extLst>
              <a:ext uri="{FF2B5EF4-FFF2-40B4-BE49-F238E27FC236}">
                <a16:creationId xmlns:a16="http://schemas.microsoft.com/office/drawing/2014/main" id="{A6AD06EA-1AAE-9258-F68E-D0D307454A33}"/>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3495384824"/>
      </p:ext>
    </p:extLst>
  </p:cSld>
  <p:clrMapOvr>
    <a:masterClrMapping/>
  </p:clrMapOvr>
  <p:transition spd="med"/>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3687865984"/>
      </p:ext>
    </p:extLst>
  </p:cSld>
  <p:clrMapOvr>
    <a:masterClrMapping/>
  </p:clrMapOvr>
  <p:transition spd="med"/>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3208845119"/>
      </p:ext>
    </p:extLst>
  </p:cSld>
  <p:clrMapOvr>
    <a:masterClrMapping/>
  </p:clrMapOvr>
  <p:transition spd="med"/>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2795732418"/>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3577348723"/>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600"/>
            <a:ext cx="2477765"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6363186"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9398651"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280252"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3315717"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07410194"/>
      </p:ext>
    </p:extLst>
  </p:cSld>
  <p:clrMapOvr>
    <a:masterClrMapping/>
  </p:clrMapOvr>
  <p:transition spd="med"/>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2669301362"/>
      </p:ext>
    </p:extLst>
  </p:cSld>
  <p:clrMapOvr>
    <a:masterClrMapping/>
  </p:clrMapOvr>
  <p:transition spd="med"/>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210312"/>
            <a:ext cx="8569797" cy="4095750"/>
          </a:xfrm>
        </p:spPr>
        <p:txBody>
          <a:bodyPr/>
          <a:lstStyle>
            <a:lvl1pPr>
              <a:defRPr sz="85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1689667064"/>
      </p:ext>
    </p:extLst>
  </p:cSld>
  <p:clrMapOvr>
    <a:masterClrMapping/>
  </p:clrMapOvr>
  <p:transition spd="med"/>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224028"/>
            <a:ext cx="5520318" cy="4287044"/>
          </a:xfrm>
        </p:spPr>
        <p:txBody>
          <a:bodyPr/>
          <a:lstStyle>
            <a:lvl1pPr>
              <a:lnSpc>
                <a:spcPct val="100000"/>
              </a:lnSpc>
              <a:spcBef>
                <a:spcPts val="0"/>
              </a:spcBef>
              <a:defRPr sz="3199">
                <a:solidFill>
                  <a:schemeClr val="tx2"/>
                </a:solidFill>
              </a:defRPr>
            </a:lvl1pPr>
            <a:lvl2pPr marL="292549" indent="-292549">
              <a:lnSpc>
                <a:spcPct val="100000"/>
              </a:lnSpc>
              <a:spcBef>
                <a:spcPts val="0"/>
              </a:spcBef>
              <a:defRPr sz="3199">
                <a:solidFill>
                  <a:schemeClr val="tx2"/>
                </a:solidFill>
              </a:defRPr>
            </a:lvl2pPr>
            <a:lvl3pPr marL="548530" indent="-292549">
              <a:lnSpc>
                <a:spcPct val="100000"/>
              </a:lnSpc>
              <a:spcBef>
                <a:spcPts val="0"/>
              </a:spcBef>
              <a:defRPr sz="3199">
                <a:solidFill>
                  <a:schemeClr val="tx2"/>
                </a:solidFill>
              </a:defRPr>
            </a:lvl3pPr>
            <a:lvl4pPr marL="877648">
              <a:lnSpc>
                <a:spcPct val="100000"/>
              </a:lnSpc>
              <a:spcBef>
                <a:spcPts val="0"/>
              </a:spcBef>
              <a:defRPr sz="31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1101644486"/>
      </p:ext>
    </p:extLst>
  </p:cSld>
  <p:clrMapOvr>
    <a:masterClrMapping/>
  </p:clrMapOvr>
  <p:transition spd="med"/>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210312"/>
            <a:ext cx="7330121" cy="4858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1439007097"/>
      </p:ext>
    </p:extLst>
  </p:cSld>
  <p:clrMapOvr>
    <a:masterClrMapping/>
  </p:clrMapOvr>
  <p:transition spd="med"/>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649724"/>
            <a:ext cx="5524575"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2959168144"/>
      </p:ext>
    </p:extLst>
  </p:cSld>
  <p:clrMapOvr>
    <a:masterClrMapping/>
  </p:clrMapOvr>
  <p:transition spd="med"/>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3"/>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2206882121"/>
      </p:ext>
    </p:extLst>
  </p:cSld>
  <p:clrMapOvr>
    <a:masterClrMapping/>
  </p:clrMapOvr>
  <p:transition spd="med"/>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0" cy="2667794"/>
          </a:xfrm>
        </p:spPr>
        <p:txBody>
          <a:bodyPr/>
          <a:lstStyle>
            <a:lvl1pPr>
              <a:lnSpc>
                <a:spcPct val="100000"/>
              </a:lnSpc>
              <a:defRPr sz="4299">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8"/>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3845610582"/>
      </p:ext>
    </p:extLst>
  </p:cSld>
  <p:clrMapOvr>
    <a:masterClrMapping/>
  </p:clrMapOvr>
  <p:transition spd="med"/>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611276100"/>
      </p:ext>
    </p:extLst>
  </p:cSld>
  <p:clrMapOvr>
    <a:masterClrMapping/>
  </p:clrMapOvr>
  <p:transition spd="med"/>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1223038430"/>
      </p:ext>
    </p:extLst>
  </p:cSld>
  <p:clrMapOvr>
    <a:masterClrMapping/>
  </p:clrMapOvr>
  <p:transition spd="med"/>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268510047"/>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6363186"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9398651"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280252"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3315717"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63163738"/>
      </p:ext>
    </p:extLst>
  </p:cSld>
  <p:clrMapOvr>
    <a:masterClrMapping/>
  </p:clrMapOvr>
  <p:transition spd="med"/>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2546707383"/>
      </p:ext>
    </p:extLst>
  </p:cSld>
  <p:clrMapOvr>
    <a:masterClrMapping/>
  </p:clrMapOvr>
  <p:transition spd="med"/>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p:spPr>
        <p:txBody>
          <a:bodyPr/>
          <a:lstStyle>
            <a:lvl1pPr>
              <a:lnSpc>
                <a:spcPct val="100000"/>
              </a:lnSpc>
              <a:spcBef>
                <a:spcPts val="0"/>
              </a:spcBef>
              <a:defRPr sz="18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p:spPr>
        <p:txBody>
          <a:bodyPr anchor="ctr"/>
          <a:lstStyle>
            <a:lvl1pPr algn="ctr">
              <a:defRPr sz="8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76342208"/>
      </p:ext>
    </p:extLst>
  </p:cSld>
  <p:clrMapOvr>
    <a:masterClrMapping/>
  </p:clrMapOvr>
  <p:transition spd="med"/>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64353681"/>
      </p:ext>
    </p:extLst>
  </p:cSld>
  <p:clrMapOvr>
    <a:masterClrMapping/>
  </p:clrMapOvr>
  <p:transition spd="med"/>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20518961"/>
      </p:ext>
    </p:extLst>
  </p:cSld>
  <p:clrMapOvr>
    <a:masterClrMapping/>
  </p:clrMapOvr>
  <p:transition spd="med"/>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9897102"/>
      </p:ext>
    </p:extLst>
  </p:cSld>
  <p:clrMapOvr>
    <a:masterClrMapping/>
  </p:clrMapOvr>
  <p:transition spd="med"/>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1783251"/>
      </p:ext>
    </p:extLst>
  </p:cSld>
  <p:clrMapOvr>
    <a:masterClrMapping/>
  </p:clrMapOvr>
  <p:transition spd="med"/>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51995783"/>
      </p:ext>
    </p:extLst>
  </p:cSld>
  <p:clrMapOvr>
    <a:masterClrMapping/>
  </p:clrMapOvr>
  <p:transition spd="med"/>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000"/>
          </a:xfrm>
        </p:spPr>
        <p:txBody>
          <a:bodyPr rIns="0"/>
          <a:lstStyle>
            <a:lvl1pPr>
              <a:lnSpc>
                <a:spcPct val="100000"/>
              </a:lnSpc>
              <a:defRPr sz="14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75003719"/>
      </p:ext>
    </p:extLst>
  </p:cSld>
  <p:clrMapOvr>
    <a:masterClrMapping/>
  </p:clrMapOvr>
  <p:transition spd="med"/>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457776" cy="457200"/>
          </a:xfrm>
        </p:spPr>
        <p:txBody>
          <a:bodyPr anchor="ctr"/>
          <a:lstStyle>
            <a:lvl1pPr algn="ctr">
              <a:defRPr sz="8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3" y="288036"/>
            <a:ext cx="457776" cy="457200"/>
          </a:xfrm>
        </p:spPr>
        <p:txBody>
          <a:bodyPr anchor="ctr"/>
          <a:lstStyle>
            <a:lvl1pPr algn="ctr">
              <a:defRPr sz="8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76905355"/>
      </p:ext>
    </p:extLst>
  </p:cSld>
  <p:clrMapOvr>
    <a:masterClrMapping/>
  </p:clrMapOvr>
  <p:transition spd="med"/>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p:spPr>
        <p:txBody>
          <a:bodyPr anchor="ctr"/>
          <a:lstStyle>
            <a:lvl1pPr algn="ctr">
              <a:defRPr sz="8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p:spPr>
        <p:txBody>
          <a:bodyPr anchor="ctr"/>
          <a:lstStyle>
            <a:lvl1pPr algn="ctr">
              <a:defRPr sz="8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40924577"/>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3332555" y="288036"/>
            <a:ext cx="2481638" cy="2572542"/>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8999111"/>
      </p:ext>
    </p:extLst>
  </p:cSld>
  <p:clrMapOvr>
    <a:masterClrMapping/>
  </p:clrMapOvr>
  <p:transition spd="med"/>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1460406"/>
      </p:ext>
    </p:extLst>
  </p:cSld>
  <p:clrMapOvr>
    <a:masterClrMapping/>
  </p:clrMapOvr>
  <p:transition spd="med"/>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10000"/>
              </a:lnSpc>
              <a:defRPr sz="3199">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224028"/>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65425958"/>
      </p:ext>
    </p:extLst>
  </p:cSld>
  <p:clrMapOvr>
    <a:masterClrMapping/>
  </p:clrMapOvr>
  <p:transition spd="med"/>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6"/>
            <a:ext cx="2477765" cy="2286794"/>
          </a:xfrm>
        </p:spPr>
        <p:txBody>
          <a:bodyPr/>
          <a:lstStyle>
            <a:lvl1pPr>
              <a:lnSpc>
                <a:spcPct val="100000"/>
              </a:lnSpc>
              <a:defRPr sz="14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34802110"/>
      </p:ext>
    </p:extLst>
  </p:cSld>
  <p:clrMapOvr>
    <a:masterClrMapping/>
  </p:clrMapOvr>
  <p:transition spd="med"/>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7890566"/>
      </p:ext>
    </p:extLst>
  </p:cSld>
  <p:clrMapOvr>
    <a:masterClrMapping/>
  </p:clrMapOvr>
  <p:transition spd="med"/>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cxnSp>
        <p:nvCxnSpPr>
          <p:cNvPr id="3" name="Straight Connector 2">
            <a:extLst>
              <a:ext uri="{FF2B5EF4-FFF2-40B4-BE49-F238E27FC236}">
                <a16:creationId xmlns:a16="http://schemas.microsoft.com/office/drawing/2014/main" id="{3D492FDB-9D55-98D5-E9DE-229473DD5942}"/>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1F6D0C9D-C937-48E3-BE84-3DA0D1BC274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0B31714F-DB23-BEBB-75A7-6BFF47AECDDF}"/>
              </a:ext>
            </a:extLst>
          </p:cNvPr>
          <p:cNvCxnSpPr/>
          <p:nvPr userDrawn="1"/>
        </p:nvCxnSpPr>
        <p:spPr bwMode="auto">
          <a:xfrm>
            <a:off x="9146201"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48474578"/>
      </p:ext>
    </p:extLst>
  </p:cSld>
  <p:clrMapOvr>
    <a:masterClrMapping/>
  </p:clrMapOvr>
  <p:transition spd="med"/>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p:spPr>
        <p:txBody>
          <a:bodyPr/>
          <a:lstStyle>
            <a:lvl1pPr>
              <a:defRPr sz="7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76200770"/>
      </p:ext>
    </p:extLst>
  </p:cSld>
  <p:clrMapOvr>
    <a:masterClrMapping/>
  </p:clrMapOvr>
  <p:transition spd="med"/>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a:cxnSpLocks/>
          </p:cNvCxnSpPr>
          <p:nvPr userDrawn="1"/>
        </p:nvCxnSpPr>
        <p:spPr bwMode="auto">
          <a:xfrm>
            <a:off x="9142810"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92540700"/>
      </p:ext>
    </p:extLst>
  </p:cSld>
  <p:clrMapOvr>
    <a:masterClrMapping/>
  </p:clrMapOvr>
  <p:transition spd="med"/>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0" cy="1706563"/>
          </a:xfrm>
        </p:spPr>
        <p:txBody>
          <a:bodyPr rIns="0"/>
          <a:lstStyle>
            <a:lvl1pPr>
              <a:lnSpc>
                <a:spcPct val="110000"/>
              </a:lnSpc>
              <a:defRPr sz="1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2"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79289155"/>
      </p:ext>
    </p:extLst>
  </p:cSld>
  <p:clrMapOvr>
    <a:masterClrMapping/>
  </p:clrMapOvr>
  <p:transition spd="med"/>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358159523"/>
      </p:ext>
    </p:extLst>
  </p:cSld>
  <p:clrMapOvr>
    <a:masterClrMapping/>
  </p:clrMapOvr>
  <p:transition spd="med"/>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485775841"/>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6363186" y="713705"/>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9398651" y="713705"/>
            <a:ext cx="2481638" cy="185803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6363186" y="3759418"/>
            <a:ext cx="2481638" cy="186032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9398651" y="3759418"/>
            <a:ext cx="2481638" cy="1860326"/>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3332555" y="713704"/>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3332555" y="3759417"/>
            <a:ext cx="2481638" cy="186032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11290416"/>
      </p:ext>
    </p:extLst>
  </p:cSld>
  <p:clrMapOvr>
    <a:masterClrMapping/>
  </p:clrMapOvr>
  <p:transition spd="med"/>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5"/>
            <a:ext cx="8574559" cy="6289675"/>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121964138"/>
      </p:ext>
    </p:extLst>
  </p:cSld>
  <p:clrMapOvr>
    <a:masterClrMapping/>
  </p:clrMapOvr>
  <p:transition spd="med"/>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615896915"/>
      </p:ext>
    </p:extLst>
  </p:cSld>
  <p:clrMapOvr>
    <a:masterClrMapping/>
  </p:clrMapOvr>
  <p:transition spd="med"/>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339061755"/>
      </p:ext>
    </p:extLst>
  </p:cSld>
  <p:clrMapOvr>
    <a:masterClrMapping/>
  </p:clrMapOvr>
  <p:transition spd="med"/>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8196459"/>
      </p:ext>
    </p:extLst>
  </p:cSld>
  <p:clrMapOvr>
    <a:masterClrMapping/>
  </p:clrMapOvr>
  <p:transition spd="med"/>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en-US" dirty="0"/>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66946489"/>
      </p:ext>
    </p:extLst>
  </p:cSld>
  <p:clrMapOvr>
    <a:masterClrMapping/>
  </p:clrMapOvr>
  <p:transition spd="med"/>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42499718"/>
      </p:ext>
    </p:extLst>
  </p:cSld>
  <p:clrMapOvr>
    <a:masterClrMapping/>
  </p:clrMapOvr>
  <p:transition spd="med"/>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96418167"/>
      </p:ext>
    </p:extLst>
  </p:cSld>
  <p:clrMapOvr>
    <a:masterClrMapping/>
  </p:clrMapOvr>
  <p:transition spd="med"/>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16779459"/>
      </p:ext>
    </p:extLst>
  </p:cSld>
  <p:clrMapOvr>
    <a:masterClrMapping/>
  </p:clrMapOvr>
  <p:transition spd="med"/>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2938829287"/>
      </p:ext>
    </p:extLst>
  </p:cSld>
  <p:clrMapOvr>
    <a:masterClrMapping/>
  </p:clrMapOvr>
  <p:transition spd="med"/>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C18865-57AB-FC40-B78A-1B7E25E628B2}"/>
              </a:ext>
            </a:extLst>
          </p:cNvPr>
          <p:cNvSpPr>
            <a:spLocks noGrp="1"/>
          </p:cNvSpPr>
          <p:nvPr>
            <p:ph type="sldNum" sz="quarter" idx="10"/>
          </p:nvPr>
        </p:nvSpPr>
        <p:spPr/>
        <p:txBody>
          <a:bodyPr/>
          <a:lstStyle/>
          <a:p>
            <a:fld id="{A773E23E-549A-BC4E-BBED-21331E432B7B}" type="slidenum">
              <a:rPr lang="en-US" smtClean="0"/>
              <a:pPr/>
              <a:t>‹#›</a:t>
            </a:fld>
            <a:endParaRPr lang="en-US" dirty="0"/>
          </a:p>
        </p:txBody>
      </p:sp>
      <p:sp>
        <p:nvSpPr>
          <p:cNvPr id="6" name="TextBox 5">
            <a:extLst>
              <a:ext uri="{FF2B5EF4-FFF2-40B4-BE49-F238E27FC236}">
                <a16:creationId xmlns:a16="http://schemas.microsoft.com/office/drawing/2014/main" id="{C2769A4D-5C7A-C74F-8ED8-11B8196AB8A4}"/>
              </a:ext>
            </a:extLst>
          </p:cNvPr>
          <p:cNvSpPr txBox="1"/>
          <p:nvPr userDrawn="1"/>
        </p:nvSpPr>
        <p:spPr>
          <a:xfrm>
            <a:off x="4592170" y="6514708"/>
            <a:ext cx="2930610" cy="235898"/>
          </a:xfrm>
          <a:prstGeom prst="rect">
            <a:avLst/>
          </a:prstGeom>
          <a:noFill/>
        </p:spPr>
        <p:txBody>
          <a:bodyPr wrap="none" rtlCol="0">
            <a:spAutoFit/>
          </a:bodyPr>
          <a:lstStyle/>
          <a:p>
            <a:pPr algn="l"/>
            <a:r>
              <a:rPr lang="en-US" sz="933" dirty="0">
                <a:latin typeface="IBM Plex Sans" panose="020B0503050203000203" pitchFamily="34" charset="0"/>
              </a:rPr>
              <a:t>Transformation and Culture | Business Architecture</a:t>
            </a:r>
          </a:p>
        </p:txBody>
      </p:sp>
      <p:sp>
        <p:nvSpPr>
          <p:cNvPr id="7" name="Rectangle 6">
            <a:extLst>
              <a:ext uri="{FF2B5EF4-FFF2-40B4-BE49-F238E27FC236}">
                <a16:creationId xmlns:a16="http://schemas.microsoft.com/office/drawing/2014/main" id="{B65B70B5-3956-7346-A231-6C009D9DEFA2}"/>
              </a:ext>
            </a:extLst>
          </p:cNvPr>
          <p:cNvSpPr/>
          <p:nvPr userDrawn="1"/>
        </p:nvSpPr>
        <p:spPr>
          <a:xfrm>
            <a:off x="0" y="0"/>
            <a:ext cx="12192000" cy="739515"/>
          </a:xfrm>
          <a:prstGeom prst="rect">
            <a:avLst/>
          </a:prstGeom>
          <a:solidFill>
            <a:srgbClr val="012E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IBM Plex Sans" panose="020B0503050203000203" pitchFamily="34" charset="0"/>
            </a:endParaRPr>
          </a:p>
        </p:txBody>
      </p:sp>
      <p:sp>
        <p:nvSpPr>
          <p:cNvPr id="8" name="Title 1">
            <a:extLst>
              <a:ext uri="{FF2B5EF4-FFF2-40B4-BE49-F238E27FC236}">
                <a16:creationId xmlns:a16="http://schemas.microsoft.com/office/drawing/2014/main" id="{BA598AC8-627F-2145-AC8A-FF8C06BD1FEC}"/>
              </a:ext>
            </a:extLst>
          </p:cNvPr>
          <p:cNvSpPr>
            <a:spLocks noGrp="1"/>
          </p:cNvSpPr>
          <p:nvPr>
            <p:ph type="ctrTitle"/>
          </p:nvPr>
        </p:nvSpPr>
        <p:spPr>
          <a:xfrm>
            <a:off x="74209" y="71863"/>
            <a:ext cx="12011099" cy="557726"/>
          </a:xfrm>
          <a:prstGeom prst="rect">
            <a:avLst/>
          </a:prstGeom>
        </p:spPr>
        <p:txBody>
          <a:bodyPr anchor="t"/>
          <a:lstStyle>
            <a:lvl1pPr algn="l">
              <a:lnSpc>
                <a:spcPct val="120000"/>
              </a:lnSpc>
              <a:defRPr sz="2400" b="0">
                <a:solidFill>
                  <a:schemeClr val="bg1"/>
                </a:solidFill>
                <a:latin typeface="IBM Plex Sans" panose="020B0503050203000203" pitchFamily="34" charset="0"/>
              </a:defRPr>
            </a:lvl1pPr>
          </a:lstStyle>
          <a:p>
            <a:r>
              <a:rPr lang="en-US" dirty="0"/>
              <a:t>Click to edit Master title style</a:t>
            </a:r>
          </a:p>
        </p:txBody>
      </p:sp>
    </p:spTree>
    <p:extLst>
      <p:ext uri="{BB962C8B-B14F-4D97-AF65-F5344CB8AC3E}">
        <p14:creationId xmlns:p14="http://schemas.microsoft.com/office/powerpoint/2010/main" val="10227452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287301" y="3332988"/>
            <a:ext cx="2481638" cy="247725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557120"/>
      </p:ext>
    </p:extLst>
  </p:cSld>
  <p:clrMapOvr>
    <a:masterClrMapping/>
  </p:clrMapOvr>
  <p:transition spd="med"/>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4-3] 6 small boxes">
    <p:spTree>
      <p:nvGrpSpPr>
        <p:cNvPr id="1" name=""/>
        <p:cNvGrpSpPr/>
        <p:nvPr/>
      </p:nvGrpSpPr>
      <p:grpSpPr>
        <a:xfrm>
          <a:off x="0" y="0"/>
          <a:ext cx="0" cy="0"/>
          <a:chOff x="0" y="0"/>
          <a:chExt cx="0" cy="0"/>
        </a:xfrm>
      </p:grpSpPr>
      <p:sp>
        <p:nvSpPr>
          <p:cNvPr id="10" name="Content Placeholder 4"/>
          <p:cNvSpPr>
            <a:spLocks noGrp="1"/>
          </p:cNvSpPr>
          <p:nvPr>
            <p:ph sz="quarter" idx="18"/>
          </p:nvPr>
        </p:nvSpPr>
        <p:spPr>
          <a:xfrm>
            <a:off x="0" y="3429000"/>
            <a:ext cx="3048000" cy="3429000"/>
          </a:xfrm>
          <a:prstGeom prst="rect">
            <a:avLst/>
          </a:prstGeom>
          <a:solidFill>
            <a:srgbClr val="F4F4F4"/>
          </a:solidFill>
        </p:spPr>
        <p:txBody>
          <a:bodyPr lIns="457200" tIns="228600" rIns="228600" bIns="228600"/>
          <a:lstStyle>
            <a:lvl1pPr>
              <a:defRPr sz="1500" b="0" i="0">
                <a:solidFill>
                  <a:schemeClr val="tx1"/>
                </a:solidFill>
                <a:latin typeface="IBM Plex Sans" charset="0"/>
                <a:ea typeface="IBM Plex Sans" charset="0"/>
                <a:cs typeface="IBM Plex Sans"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6" name="Title 5"/>
          <p:cNvSpPr txBox="1">
            <a:spLocks/>
          </p:cNvSpPr>
          <p:nvPr userDrawn="1"/>
        </p:nvSpPr>
        <p:spPr>
          <a:xfrm>
            <a:off x="0" y="0"/>
            <a:ext cx="6096000" cy="3429000"/>
          </a:xfrm>
          <a:prstGeom prst="rect">
            <a:avLst/>
          </a:prstGeom>
          <a:solidFill>
            <a:srgbClr val="E0E0E0">
              <a:alpha val="60000"/>
            </a:srgbClr>
          </a:solidFill>
        </p:spPr>
        <p:txBody>
          <a:bodyPr vert="horz" lIns="190475" tIns="167618" rIns="190475" bIns="190475" rtlCol="0" anchor="t" anchorCtr="0">
            <a:noAutofit/>
          </a:bodyPr>
          <a:lstStyle>
            <a:lvl1pPr algn="l" defTabSz="730834" rtl="0" eaLnBrk="1" latinLnBrk="0" hangingPunct="1">
              <a:lnSpc>
                <a:spcPct val="90000"/>
              </a:lnSpc>
              <a:spcBef>
                <a:spcPct val="0"/>
              </a:spcBef>
              <a:buNone/>
              <a:defRPr sz="3836" kern="1200">
                <a:solidFill>
                  <a:schemeClr val="bg2"/>
                </a:solidFill>
                <a:latin typeface="+mj-lt"/>
                <a:ea typeface="Arial" charset="0"/>
                <a:cs typeface="Arial" charset="0"/>
              </a:defRPr>
            </a:lvl1pPr>
          </a:lstStyle>
          <a:p>
            <a:endParaRPr lang="en-US" sz="3196" b="0" i="0" dirty="0">
              <a:latin typeface="Arial Regular" charset="0"/>
            </a:endParaRPr>
          </a:p>
        </p:txBody>
      </p:sp>
      <p:sp>
        <p:nvSpPr>
          <p:cNvPr id="2" name="Title 1"/>
          <p:cNvSpPr>
            <a:spLocks noGrp="1"/>
          </p:cNvSpPr>
          <p:nvPr>
            <p:ph type="title" hasCustomPrompt="1"/>
          </p:nvPr>
        </p:nvSpPr>
        <p:spPr>
          <a:xfrm>
            <a:off x="381000" y="571500"/>
            <a:ext cx="5486400" cy="2286000"/>
          </a:xfrm>
        </p:spPr>
        <p:txBody>
          <a:bodyPr>
            <a:noAutofit/>
          </a:bodyPr>
          <a:lstStyle>
            <a:lvl1pPr>
              <a:defRPr sz="2333"/>
            </a:lvl1pPr>
          </a:lstStyle>
          <a:p>
            <a:r>
              <a:rPr lang="en-US" dirty="0"/>
              <a:t>Click to edit Master title style</a:t>
            </a:r>
            <a:br>
              <a:rPr lang="en-US" dirty="0"/>
            </a:br>
            <a:endParaRPr lang="en-US" dirty="0"/>
          </a:p>
        </p:txBody>
      </p:sp>
      <p:sp>
        <p:nvSpPr>
          <p:cNvPr id="8" name="Content Placeholder 9"/>
          <p:cNvSpPr>
            <a:spLocks noGrp="1"/>
          </p:cNvSpPr>
          <p:nvPr>
            <p:ph sz="quarter" idx="16"/>
          </p:nvPr>
        </p:nvSpPr>
        <p:spPr>
          <a:xfrm>
            <a:off x="6096000" y="0"/>
            <a:ext cx="3048000" cy="3429000"/>
          </a:xfrm>
          <a:prstGeom prst="rect">
            <a:avLst/>
          </a:prstGeom>
          <a:solidFill>
            <a:schemeClr val="bg1"/>
          </a:solidFill>
        </p:spPr>
        <p:txBody>
          <a:bodyPr lIns="228600" tIns="228600" rIns="228600" bIns="228600"/>
          <a:lstStyle>
            <a:lvl1pPr>
              <a:defRPr sz="1500" b="0" i="0">
                <a:solidFill>
                  <a:schemeClr val="tx1"/>
                </a:solidFill>
                <a:latin typeface="IBM Plex Sans" charset="0"/>
                <a:ea typeface="IBM Plex Sans" charset="0"/>
                <a:cs typeface="IBM Plex Sans" charset="0"/>
              </a:defRPr>
            </a:lvl1pPr>
          </a:lstStyle>
          <a:p>
            <a:pPr lvl="0"/>
            <a:r>
              <a:rPr lang="en-US"/>
              <a:t>Click to edit Master text styles</a:t>
            </a:r>
          </a:p>
        </p:txBody>
      </p:sp>
      <p:sp>
        <p:nvSpPr>
          <p:cNvPr id="9" name="Content Placeholder 7"/>
          <p:cNvSpPr>
            <a:spLocks noGrp="1"/>
          </p:cNvSpPr>
          <p:nvPr>
            <p:ph sz="quarter" idx="15"/>
          </p:nvPr>
        </p:nvSpPr>
        <p:spPr>
          <a:xfrm>
            <a:off x="9144000" y="0"/>
            <a:ext cx="3048000" cy="3429000"/>
          </a:xfrm>
          <a:prstGeom prst="rect">
            <a:avLst/>
          </a:prstGeom>
          <a:solidFill>
            <a:srgbClr val="F4F4F4"/>
          </a:solidFill>
        </p:spPr>
        <p:txBody>
          <a:bodyPr lIns="228600" tIns="228600" rIns="228600" bIns="228600"/>
          <a:lstStyle>
            <a:lvl1pPr>
              <a:defRPr sz="1500" b="0" i="0">
                <a:solidFill>
                  <a:schemeClr val="tx1"/>
                </a:solidFill>
                <a:latin typeface="IBM Plex Sans" charset="0"/>
                <a:ea typeface="IBM Plex Sans" charset="0"/>
                <a:cs typeface="IBM Plex Sans" charset="0"/>
              </a:defRPr>
            </a:lvl1pPr>
          </a:lstStyle>
          <a:p>
            <a:pPr lvl="0"/>
            <a:r>
              <a:rPr lang="en-US"/>
              <a:t>Click to edit Master text styles</a:t>
            </a:r>
          </a:p>
        </p:txBody>
      </p:sp>
      <p:sp>
        <p:nvSpPr>
          <p:cNvPr id="11" name="Content Placeholder 13"/>
          <p:cNvSpPr>
            <a:spLocks noGrp="1"/>
          </p:cNvSpPr>
          <p:nvPr>
            <p:ph sz="quarter" idx="17"/>
          </p:nvPr>
        </p:nvSpPr>
        <p:spPr>
          <a:xfrm>
            <a:off x="9144000" y="3429000"/>
            <a:ext cx="3048000" cy="3429000"/>
          </a:xfrm>
          <a:prstGeom prst="rect">
            <a:avLst/>
          </a:prstGeom>
          <a:solidFill>
            <a:schemeClr val="bg1"/>
          </a:solidFill>
        </p:spPr>
        <p:txBody>
          <a:bodyPr lIns="228600" tIns="228600" rIns="228600" bIns="228600"/>
          <a:lstStyle>
            <a:lvl1pPr>
              <a:defRPr sz="1500" b="0" i="0">
                <a:solidFill>
                  <a:schemeClr val="tx1"/>
                </a:solidFill>
                <a:latin typeface="IBM Plex Sans" charset="0"/>
                <a:ea typeface="IBM Plex Sans" charset="0"/>
                <a:cs typeface="IBM Plex Sans" charset="0"/>
              </a:defRPr>
            </a:lvl1pPr>
          </a:lstStyle>
          <a:p>
            <a:pPr lvl="0"/>
            <a:r>
              <a:rPr lang="en-US"/>
              <a:t>Click to 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9010" y="6515120"/>
            <a:ext cx="471765" cy="190502"/>
          </a:xfrm>
          <a:prstGeom prst="rect">
            <a:avLst/>
          </a:prstGeom>
        </p:spPr>
      </p:pic>
      <p:sp>
        <p:nvSpPr>
          <p:cNvPr id="19" name="Content Placeholder 9"/>
          <p:cNvSpPr>
            <a:spLocks noGrp="1"/>
          </p:cNvSpPr>
          <p:nvPr>
            <p:ph sz="quarter" idx="19"/>
          </p:nvPr>
        </p:nvSpPr>
        <p:spPr>
          <a:xfrm>
            <a:off x="3048000" y="3429000"/>
            <a:ext cx="3048000" cy="3429000"/>
          </a:xfrm>
          <a:prstGeom prst="rect">
            <a:avLst/>
          </a:prstGeom>
          <a:solidFill>
            <a:schemeClr val="bg1"/>
          </a:solidFill>
        </p:spPr>
        <p:txBody>
          <a:bodyPr lIns="228600" tIns="228600" rIns="228600" bIns="228600"/>
          <a:lstStyle>
            <a:lvl1pPr>
              <a:defRPr sz="1500" b="0" i="0">
                <a:solidFill>
                  <a:schemeClr val="tx1"/>
                </a:solidFill>
                <a:latin typeface="IBM Plex Sans" charset="0"/>
                <a:ea typeface="IBM Plex Sans" charset="0"/>
                <a:cs typeface="IBM Plex Sans" charset="0"/>
              </a:defRPr>
            </a:lvl1pPr>
          </a:lstStyle>
          <a:p>
            <a:pPr lvl="0"/>
            <a:r>
              <a:rPr lang="en-US"/>
              <a:t>Click to edit Master text styles</a:t>
            </a:r>
          </a:p>
        </p:txBody>
      </p:sp>
      <p:sp>
        <p:nvSpPr>
          <p:cNvPr id="21" name="Content Placeholder 7"/>
          <p:cNvSpPr>
            <a:spLocks noGrp="1"/>
          </p:cNvSpPr>
          <p:nvPr>
            <p:ph sz="quarter" idx="20"/>
          </p:nvPr>
        </p:nvSpPr>
        <p:spPr>
          <a:xfrm>
            <a:off x="6096000" y="3429000"/>
            <a:ext cx="3048000" cy="3429000"/>
          </a:xfrm>
          <a:prstGeom prst="rect">
            <a:avLst/>
          </a:prstGeom>
          <a:solidFill>
            <a:srgbClr val="F4F4F4"/>
          </a:solidFill>
        </p:spPr>
        <p:txBody>
          <a:bodyPr lIns="228600" tIns="228600" rIns="228600" bIns="228600"/>
          <a:lstStyle>
            <a:lvl1pPr>
              <a:defRPr sz="1500" b="0" i="0">
                <a:solidFill>
                  <a:schemeClr val="tx1"/>
                </a:solidFill>
                <a:latin typeface="IBM Plex Sans" charset="0"/>
                <a:ea typeface="IBM Plex Sans" charset="0"/>
                <a:cs typeface="IBM Plex Sans" charset="0"/>
              </a:defRPr>
            </a:lvl1pPr>
          </a:lstStyle>
          <a:p>
            <a:pPr lvl="0"/>
            <a:r>
              <a:rPr lang="en-US"/>
              <a:t>Click to edit Master text styles</a:t>
            </a:r>
          </a:p>
        </p:txBody>
      </p:sp>
      <p:pic>
        <p:nvPicPr>
          <p:cNvPr id="18" name="Picture 17">
            <a:extLst>
              <a:ext uri="{FF2B5EF4-FFF2-40B4-BE49-F238E27FC236}">
                <a16:creationId xmlns:a16="http://schemas.microsoft.com/office/drawing/2014/main" id="{09B0701B-7540-2D4A-8102-88493CA0749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8275" y="6553200"/>
            <a:ext cx="471765" cy="190500"/>
          </a:xfrm>
          <a:prstGeom prst="rect">
            <a:avLst/>
          </a:prstGeom>
        </p:spPr>
      </p:pic>
      <p:sp>
        <p:nvSpPr>
          <p:cNvPr id="24" name="Text Placeholder 13">
            <a:extLst>
              <a:ext uri="{FF2B5EF4-FFF2-40B4-BE49-F238E27FC236}">
                <a16:creationId xmlns:a16="http://schemas.microsoft.com/office/drawing/2014/main" id="{5346FFF0-AE49-DD44-9424-041D7790E274}"/>
              </a:ext>
            </a:extLst>
          </p:cNvPr>
          <p:cNvSpPr>
            <a:spLocks noGrp="1"/>
          </p:cNvSpPr>
          <p:nvPr>
            <p:ph type="body" sz="quarter" idx="21"/>
          </p:nvPr>
        </p:nvSpPr>
        <p:spPr>
          <a:xfrm>
            <a:off x="381001" y="6096001"/>
            <a:ext cx="2476500" cy="403860"/>
          </a:xfrm>
        </p:spPr>
        <p:txBody>
          <a:bodyPr anchor="b"/>
          <a:lstStyle>
            <a:lvl1pPr>
              <a:spcBef>
                <a:spcPts val="0"/>
              </a:spcBef>
              <a:defRPr sz="667">
                <a:solidFill>
                  <a:schemeClr val="tx1">
                    <a:alpha val="60000"/>
                  </a:schemeClr>
                </a:solidFill>
              </a:defRPr>
            </a:lvl1pPr>
          </a:lstStyle>
          <a:p>
            <a:pPr lvl="0"/>
            <a:r>
              <a:rPr lang="en-US"/>
              <a:t>Click to edit Master text styles</a:t>
            </a:r>
          </a:p>
        </p:txBody>
      </p:sp>
      <p:sp>
        <p:nvSpPr>
          <p:cNvPr id="4" name="Text Placeholder 7">
            <a:extLst>
              <a:ext uri="{FF2B5EF4-FFF2-40B4-BE49-F238E27FC236}">
                <a16:creationId xmlns:a16="http://schemas.microsoft.com/office/drawing/2014/main" id="{482AEBE7-81C6-9BC5-0838-F7EE168AEBE4}"/>
              </a:ext>
            </a:extLst>
          </p:cNvPr>
          <p:cNvSpPr>
            <a:spLocks noGrp="1"/>
          </p:cNvSpPr>
          <p:nvPr>
            <p:ph type="body" sz="quarter" idx="22" hasCustomPrompt="1"/>
          </p:nvPr>
        </p:nvSpPr>
        <p:spPr>
          <a:xfrm>
            <a:off x="381001" y="152402"/>
            <a:ext cx="2476497" cy="228599"/>
          </a:xfrm>
        </p:spPr>
        <p:txBody>
          <a:bodyPr lIns="0" tIns="0" rIns="0" bIns="0">
            <a:noAutofit/>
          </a:bodyPr>
          <a:lstStyle>
            <a:lvl1pPr marL="0" indent="0">
              <a:lnSpc>
                <a:spcPct val="100000"/>
              </a:lnSpc>
              <a:spcBef>
                <a:spcPts val="0"/>
              </a:spcBef>
              <a:spcAft>
                <a:spcPts val="1167"/>
              </a:spcAft>
              <a:buNone/>
              <a:defRPr sz="833" b="0" i="0">
                <a:solidFill>
                  <a:srgbClr val="6F6F6F"/>
                </a:solidFill>
                <a:latin typeface="IBM Plex Sans Medm" panose="020B0503050203000203" pitchFamily="34" charset="0"/>
              </a:defRPr>
            </a:lvl1pPr>
            <a:lvl2pPr>
              <a:defRPr sz="667" b="0" i="0">
                <a:latin typeface="IBM Plex Sans Medm" panose="020B0503050203000203" pitchFamily="34" charset="0"/>
              </a:defRPr>
            </a:lvl2pPr>
            <a:lvl3pPr>
              <a:defRPr sz="667" b="0" i="0">
                <a:latin typeface="IBM Plex Sans Medm" panose="020B0503050203000203" pitchFamily="34" charset="0"/>
              </a:defRPr>
            </a:lvl3pPr>
            <a:lvl4pPr>
              <a:defRPr sz="667" b="0" i="0">
                <a:latin typeface="IBM Plex Sans Medm" panose="020B0503050203000203" pitchFamily="34" charset="0"/>
              </a:defRPr>
            </a:lvl4pPr>
            <a:lvl5pPr>
              <a:defRPr sz="667" b="0" i="0">
                <a:latin typeface="IBM Plex Sans Medm" panose="020B0503050203000203" pitchFamily="34" charset="0"/>
              </a:defRPr>
            </a:lvl5pPr>
          </a:lstStyle>
          <a:p>
            <a:pPr lvl="0"/>
            <a:r>
              <a:rPr lang="en-US" dirty="0"/>
              <a:t>Click to edit optional section header </a:t>
            </a:r>
          </a:p>
        </p:txBody>
      </p:sp>
      <p:sp>
        <p:nvSpPr>
          <p:cNvPr id="3" name="TextBox 2">
            <a:extLst>
              <a:ext uri="{FF2B5EF4-FFF2-40B4-BE49-F238E27FC236}">
                <a16:creationId xmlns:a16="http://schemas.microsoft.com/office/drawing/2014/main" id="{F70727C7-2EA8-5D42-309A-BF80B40CFA03}"/>
              </a:ext>
            </a:extLst>
          </p:cNvPr>
          <p:cNvSpPr txBox="1"/>
          <p:nvPr userDrawn="1"/>
        </p:nvSpPr>
        <p:spPr>
          <a:xfrm>
            <a:off x="382982" y="6652260"/>
            <a:ext cx="379018" cy="213360"/>
          </a:xfrm>
          <a:prstGeom prst="rect">
            <a:avLst/>
          </a:prstGeom>
          <a:noFill/>
        </p:spPr>
        <p:txBody>
          <a:bodyPr wrap="square" lIns="0" tIns="0" rIns="0" bIns="0" rtlCol="0">
            <a:noAutofit/>
          </a:bodyPr>
          <a:lstStyle/>
          <a:p>
            <a:pPr algn="l">
              <a:lnSpc>
                <a:spcPct val="110000"/>
              </a:lnSpc>
              <a:spcBef>
                <a:spcPts val="1500"/>
              </a:spcBef>
            </a:pPr>
            <a:fld id="{5703191B-A4A8-4141-A229-4AAA1EA5695E}" type="slidenum">
              <a:rPr lang="en-US" sz="667" b="0" i="0" smtClean="0">
                <a:solidFill>
                  <a:schemeClr val="tx1"/>
                </a:solidFill>
                <a:latin typeface="IBM Plex Sans Medm" panose="020B0503050203000203" pitchFamily="34" charset="0"/>
                <a:ea typeface="IBM Plex Sans" charset="0"/>
                <a:cs typeface="IBM Plex Sans" charset="0"/>
              </a:rPr>
              <a:pPr algn="l">
                <a:lnSpc>
                  <a:spcPct val="110000"/>
                </a:lnSpc>
                <a:spcBef>
                  <a:spcPts val="1500"/>
                </a:spcBef>
              </a:pPr>
              <a:t>‹#›</a:t>
            </a:fld>
            <a:endParaRPr lang="en-US" sz="667" b="0" i="0" dirty="0">
              <a:solidFill>
                <a:schemeClr val="tx1"/>
              </a:solidFill>
              <a:latin typeface="IBM Plex Sans Medm" panose="020B0503050203000203" pitchFamily="34" charset="0"/>
              <a:ea typeface="IBM Plex Sans" charset="0"/>
              <a:cs typeface="IBM Plex Sans" charset="0"/>
            </a:endParaRPr>
          </a:p>
        </p:txBody>
      </p:sp>
      <p:sp>
        <p:nvSpPr>
          <p:cNvPr id="5" name="Footer Placeholder 3">
            <a:extLst>
              <a:ext uri="{FF2B5EF4-FFF2-40B4-BE49-F238E27FC236}">
                <a16:creationId xmlns:a16="http://schemas.microsoft.com/office/drawing/2014/main" id="{AEABBAC2-9ECF-018B-1A59-A48873DD3520}"/>
              </a:ext>
            </a:extLst>
          </p:cNvPr>
          <p:cNvSpPr txBox="1">
            <a:spLocks/>
          </p:cNvSpPr>
          <p:nvPr userDrawn="1"/>
        </p:nvSpPr>
        <p:spPr>
          <a:xfrm>
            <a:off x="762000" y="6622961"/>
            <a:ext cx="190368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7" b="0" i="0" dirty="0">
                <a:solidFill>
                  <a:srgbClr val="525252"/>
                </a:solidFill>
                <a:latin typeface="IBM Plex Sans Light" panose="020B0403050203000203" pitchFamily="34" charset="0"/>
                <a:ea typeface="IBM Plex Sans" charset="0"/>
                <a:cs typeface="IBM Plex Sans" charset="0"/>
              </a:rPr>
              <a:t>IBM Consulting  |  </a:t>
            </a:r>
            <a:r>
              <a:rPr lang="en-US" sz="667" b="0" i="0" dirty="0">
                <a:solidFill>
                  <a:srgbClr val="525252"/>
                </a:solidFill>
                <a:latin typeface="+mn-lt"/>
                <a:ea typeface="IBM Plex Sans" charset="0"/>
                <a:cs typeface="IBM Plex Sans" charset="0"/>
              </a:rPr>
              <a:t>©2023 IBM Corporation</a:t>
            </a:r>
            <a:r>
              <a:rPr lang="en-US" sz="667" b="0" i="0" dirty="0">
                <a:solidFill>
                  <a:srgbClr val="525252"/>
                </a:solidFill>
                <a:latin typeface="IBM Plex Sans Light" panose="020B0403050203000203" pitchFamily="34" charset="0"/>
                <a:ea typeface="IBM Plex Sans" charset="0"/>
                <a:cs typeface="IBM Plex Sans" charset="0"/>
              </a:rPr>
              <a:t>  </a:t>
            </a:r>
          </a:p>
        </p:txBody>
      </p:sp>
    </p:spTree>
    <p:extLst>
      <p:ext uri="{BB962C8B-B14F-4D97-AF65-F5344CB8AC3E}">
        <p14:creationId xmlns:p14="http://schemas.microsoft.com/office/powerpoint/2010/main" val="3373193692"/>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544" indent="0">
              <a:buNone/>
              <a:defRPr/>
            </a:lvl3pPr>
            <a:lvl4pPr marL="579380" indent="0">
              <a:buNone/>
              <a:defRPr/>
            </a:lvl4pPr>
            <a:lvl5pPr marL="84158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544" indent="0">
              <a:buNone/>
              <a:defRPr/>
            </a:lvl3pPr>
            <a:lvl4pPr marL="579380" indent="0">
              <a:buNone/>
              <a:defRPr/>
            </a:lvl4pPr>
            <a:lvl5pPr marL="84158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Automation / © IBM Corporation 2023</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12399207"/>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1235503463"/>
      </p:ext>
    </p:extLst>
  </p:cSld>
  <p:clrMapOvr>
    <a:masterClrMapping/>
  </p:clrMapOvr>
  <p:transition spd="med"/>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1842096357"/>
      </p:ext>
    </p:extLst>
  </p:cSld>
  <p:clrMapOvr>
    <a:masterClrMapping/>
  </p:clrMapOvr>
  <p:transition spd="med"/>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483622513"/>
      </p:ext>
    </p:extLst>
  </p:cSld>
  <p:clrMapOvr>
    <a:masterClrMapping/>
  </p:clrMapOvr>
  <p:transition spd="med"/>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698643707"/>
      </p:ext>
    </p:extLst>
  </p:cSld>
  <p:clrMapOvr>
    <a:masterClrMapping/>
  </p:clrMapOvr>
  <p:transition spd="med"/>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2587770471"/>
      </p:ext>
    </p:extLst>
  </p:cSld>
  <p:clrMapOvr>
    <a:masterClrMapping/>
  </p:clrMapOvr>
  <p:transition spd="med"/>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3547373690"/>
      </p:ext>
    </p:extLst>
  </p:cSld>
  <p:clrMapOvr>
    <a:masterClrMapping/>
  </p:clrMapOvr>
  <p:transition spd="med"/>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1158605044"/>
      </p:ext>
    </p:extLst>
  </p:cSld>
  <p:clrMapOvr>
    <a:masterClrMapping/>
  </p:clrMapOvr>
  <p:transition spd="med"/>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3812667046"/>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600"/>
            <a:ext cx="2474590" cy="1706563"/>
          </a:xfrm>
        </p:spPr>
        <p:txBody>
          <a:bodyPr rIns="0"/>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275969" y="3332988"/>
            <a:ext cx="2512742" cy="247725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3329263" y="3332988"/>
            <a:ext cx="2512742" cy="247725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6361876" y="3350711"/>
            <a:ext cx="2512742" cy="245953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9394676" y="3332988"/>
            <a:ext cx="2489064" cy="247724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9404886" y="288037"/>
            <a:ext cx="2489064"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6345360" y="288037"/>
            <a:ext cx="2489064" cy="257254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93514379"/>
      </p:ext>
    </p:extLst>
  </p:cSld>
  <p:clrMapOvr>
    <a:masterClrMapping/>
  </p:clrMapOvr>
  <p:transition spd="med"/>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210312"/>
            <a:ext cx="8569797" cy="4095750"/>
          </a:xfrm>
        </p:spPr>
        <p:txBody>
          <a:bodyPr/>
          <a:lstStyle>
            <a:lvl1pPr>
              <a:defRPr sz="85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2696492470"/>
      </p:ext>
    </p:extLst>
  </p:cSld>
  <p:clrMapOvr>
    <a:masterClrMapping/>
  </p:clrMapOvr>
  <p:transition spd="med"/>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224028"/>
            <a:ext cx="5520318" cy="4287044"/>
          </a:xfrm>
        </p:spPr>
        <p:txBody>
          <a:bodyPr/>
          <a:lstStyle>
            <a:lvl1pPr>
              <a:lnSpc>
                <a:spcPct val="100000"/>
              </a:lnSpc>
              <a:spcBef>
                <a:spcPts val="0"/>
              </a:spcBef>
              <a:defRPr sz="3199">
                <a:solidFill>
                  <a:schemeClr val="tx2"/>
                </a:solidFill>
              </a:defRPr>
            </a:lvl1pPr>
            <a:lvl2pPr marL="292549" indent="-292549">
              <a:lnSpc>
                <a:spcPct val="100000"/>
              </a:lnSpc>
              <a:spcBef>
                <a:spcPts val="0"/>
              </a:spcBef>
              <a:defRPr sz="3199">
                <a:solidFill>
                  <a:schemeClr val="tx2"/>
                </a:solidFill>
              </a:defRPr>
            </a:lvl2pPr>
            <a:lvl3pPr marL="548530" indent="-292549">
              <a:lnSpc>
                <a:spcPct val="100000"/>
              </a:lnSpc>
              <a:spcBef>
                <a:spcPts val="0"/>
              </a:spcBef>
              <a:defRPr sz="3199">
                <a:solidFill>
                  <a:schemeClr val="tx2"/>
                </a:solidFill>
              </a:defRPr>
            </a:lvl3pPr>
            <a:lvl4pPr marL="877648">
              <a:lnSpc>
                <a:spcPct val="100000"/>
              </a:lnSpc>
              <a:spcBef>
                <a:spcPts val="0"/>
              </a:spcBef>
              <a:defRPr sz="31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5820419"/>
      </p:ext>
    </p:extLst>
  </p:cSld>
  <p:clrMapOvr>
    <a:masterClrMapping/>
  </p:clrMapOvr>
  <p:transition spd="med"/>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210312"/>
            <a:ext cx="7330121" cy="4858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3388815410"/>
      </p:ext>
    </p:extLst>
  </p:cSld>
  <p:clrMapOvr>
    <a:masterClrMapping/>
  </p:clrMapOvr>
  <p:transition spd="med"/>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649724"/>
            <a:ext cx="5524575"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579670152"/>
      </p:ext>
    </p:extLst>
  </p:cSld>
  <p:clrMapOvr>
    <a:masterClrMapping/>
  </p:clrMapOvr>
  <p:transition spd="med"/>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3"/>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2922201206"/>
      </p:ext>
    </p:extLst>
  </p:cSld>
  <p:clrMapOvr>
    <a:masterClrMapping/>
  </p:clrMapOvr>
  <p:transition spd="med"/>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0" cy="2667794"/>
          </a:xfrm>
        </p:spPr>
        <p:txBody>
          <a:bodyPr/>
          <a:lstStyle>
            <a:lvl1pPr>
              <a:lnSpc>
                <a:spcPct val="100000"/>
              </a:lnSpc>
              <a:defRPr sz="4299">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8"/>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2224836803"/>
      </p:ext>
    </p:extLst>
  </p:cSld>
  <p:clrMapOvr>
    <a:masterClrMapping/>
  </p:clrMapOvr>
  <p:transition spd="med"/>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2823184834"/>
      </p:ext>
    </p:extLst>
  </p:cSld>
  <p:clrMapOvr>
    <a:masterClrMapping/>
  </p:clrMapOvr>
  <p:transition spd="med"/>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643304443"/>
      </p:ext>
    </p:extLst>
  </p:cSld>
  <p:clrMapOvr>
    <a:masterClrMapping/>
  </p:clrMapOvr>
  <p:transition spd="med"/>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3624090619"/>
      </p:ext>
    </p:extLst>
  </p:cSld>
  <p:clrMapOvr>
    <a:masterClrMapping/>
  </p:clrMapOvr>
  <p:transition spd="med"/>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2040307763"/>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7"/>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3334110"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67674304"/>
      </p:ext>
    </p:extLst>
  </p:cSld>
  <p:clrMapOvr>
    <a:masterClrMapping/>
  </p:clrMapOvr>
  <p:transition spd="med"/>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p:spPr>
        <p:txBody>
          <a:bodyPr/>
          <a:lstStyle>
            <a:lvl1pPr>
              <a:lnSpc>
                <a:spcPct val="100000"/>
              </a:lnSpc>
              <a:spcBef>
                <a:spcPts val="0"/>
              </a:spcBef>
              <a:defRPr sz="18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p:spPr>
        <p:txBody>
          <a:bodyPr anchor="ctr"/>
          <a:lstStyle>
            <a:lvl1pPr algn="ctr">
              <a:defRPr sz="8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52137237"/>
      </p:ext>
    </p:extLst>
  </p:cSld>
  <p:clrMapOvr>
    <a:masterClrMapping/>
  </p:clrMapOvr>
  <p:transition spd="med"/>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49663681"/>
      </p:ext>
    </p:extLst>
  </p:cSld>
  <p:clrMapOvr>
    <a:masterClrMapping/>
  </p:clrMapOvr>
  <p:transition spd="med"/>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16259043"/>
      </p:ext>
    </p:extLst>
  </p:cSld>
  <p:clrMapOvr>
    <a:masterClrMapping/>
  </p:clrMapOvr>
  <p:transition spd="med"/>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07827505"/>
      </p:ext>
    </p:extLst>
  </p:cSld>
  <p:clrMapOvr>
    <a:masterClrMapping/>
  </p:clrMapOvr>
  <p:transition spd="med"/>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06470228"/>
      </p:ext>
    </p:extLst>
  </p:cSld>
  <p:clrMapOvr>
    <a:masterClrMapping/>
  </p:clrMapOvr>
  <p:transition spd="med"/>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82735704"/>
      </p:ext>
    </p:extLst>
  </p:cSld>
  <p:clrMapOvr>
    <a:masterClrMapping/>
  </p:clrMapOvr>
  <p:transition spd="med"/>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794"/>
          </a:xfrm>
        </p:spPr>
        <p:txBody>
          <a:bodyPr rIns="0"/>
          <a:lstStyle>
            <a:lvl1pPr>
              <a:lnSpc>
                <a:spcPct val="100000"/>
              </a:lnSpc>
              <a:defRPr sz="14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48788079"/>
      </p:ext>
    </p:extLst>
  </p:cSld>
  <p:clrMapOvr>
    <a:masterClrMapping/>
  </p:clrMapOvr>
  <p:transition spd="med"/>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607997" cy="607231"/>
          </a:xfrm>
        </p:spPr>
        <p:txBody>
          <a:bodyPr anchor="ctr"/>
          <a:lstStyle>
            <a:lvl1pPr algn="ctr">
              <a:defRPr sz="8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p:spPr>
        <p:txBody>
          <a:bodyPr anchor="ctr"/>
          <a:lstStyle>
            <a:lvl1pPr algn="ctr">
              <a:defRPr sz="8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28176128"/>
      </p:ext>
    </p:extLst>
  </p:cSld>
  <p:clrMapOvr>
    <a:masterClrMapping/>
  </p:clrMapOvr>
  <p:transition spd="med"/>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p:spPr>
        <p:txBody>
          <a:bodyPr anchor="ctr"/>
          <a:lstStyle>
            <a:lvl1pPr algn="ctr">
              <a:defRPr sz="8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p:spPr>
        <p:txBody>
          <a:bodyPr anchor="ctr"/>
          <a:lstStyle>
            <a:lvl1pPr algn="ctr">
              <a:defRPr sz="8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65095352"/>
      </p:ext>
    </p:extLst>
  </p:cSld>
  <p:clrMapOvr>
    <a:masterClrMapping/>
  </p:clrMapOvr>
  <p:transition spd="med"/>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54713504"/>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96591319"/>
      </p:ext>
    </p:extLst>
  </p:cSld>
  <p:clrMapOvr>
    <a:masterClrMapping/>
  </p:clrMapOvr>
  <p:transition spd="med"/>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10000"/>
              </a:lnSpc>
              <a:defRPr sz="3199">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224028"/>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96033102"/>
      </p:ext>
    </p:extLst>
  </p:cSld>
  <p:clrMapOvr>
    <a:masterClrMapping/>
  </p:clrMapOvr>
  <p:transition spd="med"/>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6"/>
            <a:ext cx="2477765" cy="2286794"/>
          </a:xfrm>
        </p:spPr>
        <p:txBody>
          <a:bodyPr/>
          <a:lstStyle>
            <a:lvl1pPr>
              <a:lnSpc>
                <a:spcPct val="100000"/>
              </a:lnSpc>
              <a:defRPr sz="14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90505386"/>
      </p:ext>
    </p:extLst>
  </p:cSld>
  <p:clrMapOvr>
    <a:masterClrMapping/>
  </p:clrMapOvr>
  <p:transition spd="med"/>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49034020"/>
      </p:ext>
    </p:extLst>
  </p:cSld>
  <p:clrMapOvr>
    <a:masterClrMapping/>
  </p:clrMapOvr>
  <p:transition spd="med"/>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67013666"/>
      </p:ext>
    </p:extLst>
  </p:cSld>
  <p:clrMapOvr>
    <a:masterClrMapping/>
  </p:clrMapOvr>
  <p:transition spd="med"/>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p:spPr>
        <p:txBody>
          <a:bodyPr/>
          <a:lstStyle>
            <a:lvl1pPr>
              <a:defRPr sz="7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15085935"/>
      </p:ext>
    </p:extLst>
  </p:cSld>
  <p:clrMapOvr>
    <a:masterClrMapping/>
  </p:clrMapOvr>
  <p:transition spd="med"/>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6539884"/>
      </p:ext>
    </p:extLst>
  </p:cSld>
  <p:clrMapOvr>
    <a:masterClrMapping/>
  </p:clrMapOvr>
  <p:transition spd="med"/>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0" cy="1706563"/>
          </a:xfrm>
        </p:spPr>
        <p:txBody>
          <a:bodyPr rIns="0"/>
          <a:lstStyle>
            <a:lvl1pPr>
              <a:lnSpc>
                <a:spcPct val="110000"/>
              </a:lnSpc>
              <a:defRPr sz="1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2"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25276770"/>
      </p:ext>
    </p:extLst>
  </p:cSld>
  <p:clrMapOvr>
    <a:masterClrMapping/>
  </p:clrMapOvr>
  <p:transition spd="med"/>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015879312"/>
      </p:ext>
    </p:extLst>
  </p:cSld>
  <p:clrMapOvr>
    <a:masterClrMapping/>
  </p:clrMapOvr>
  <p:transition spd="med"/>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5582970"/>
      </p:ext>
    </p:extLst>
  </p:cSld>
  <p:clrMapOvr>
    <a:masterClrMapping/>
  </p:clrMapOvr>
  <p:transition spd="med"/>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5"/>
            <a:ext cx="8574559" cy="6289675"/>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922935728"/>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6"/>
            <a:ext cx="8574559" cy="6289675"/>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281498"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42824748"/>
      </p:ext>
    </p:extLst>
  </p:cSld>
  <p:clrMapOvr>
    <a:masterClrMapping/>
  </p:clrMapOvr>
  <p:transition spd="med"/>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199071096"/>
      </p:ext>
    </p:extLst>
  </p:cSld>
  <p:clrMapOvr>
    <a:masterClrMapping/>
  </p:clrMapOvr>
  <p:transition spd="med"/>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495064458"/>
      </p:ext>
    </p:extLst>
  </p:cSld>
  <p:clrMapOvr>
    <a:masterClrMapping/>
  </p:clrMapOvr>
  <p:transition spd="med"/>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67680722"/>
      </p:ext>
    </p:extLst>
  </p:cSld>
  <p:clrMapOvr>
    <a:masterClrMapping/>
  </p:clrMapOvr>
  <p:transition spd="med"/>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03417760"/>
      </p:ext>
    </p:extLst>
  </p:cSld>
  <p:clrMapOvr>
    <a:masterClrMapping/>
  </p:clrMapOvr>
  <p:transition spd="med"/>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69972911"/>
      </p:ext>
    </p:extLst>
  </p:cSld>
  <p:clrMapOvr>
    <a:masterClrMapping/>
  </p:clrMapOvr>
  <p:transition spd="med"/>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352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60140070"/>
      </p:ext>
    </p:extLst>
  </p:cSld>
  <p:clrMapOvr>
    <a:masterClrMapping/>
  </p:clrMapOvr>
  <p:transition spd="med"/>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81061332"/>
      </p:ext>
    </p:extLst>
  </p:cSld>
  <p:clrMapOvr>
    <a:masterClrMapping/>
  </p:clrMapOvr>
  <p:transition spd="med"/>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2244594734"/>
      </p:ext>
    </p:extLst>
  </p:cSld>
  <p:clrMapOvr>
    <a:masterClrMapping/>
  </p:clrMapOvr>
  <p:transition spd="med"/>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1704497230"/>
      </p:ext>
    </p:extLst>
  </p:cSld>
  <p:clrMapOvr>
    <a:masterClrMapping/>
  </p:clrMapOvr>
  <p:transition spd="med"/>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1250817046"/>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6500507"/>
      </p:ext>
    </p:extLst>
  </p:cSld>
  <p:clrMapOvr>
    <a:masterClrMapping/>
  </p:clrMapOvr>
  <p:transition spd="med"/>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45862341"/>
      </p:ext>
    </p:extLst>
  </p:cSld>
  <p:clrMapOvr>
    <a:masterClrMapping/>
  </p:clrMapOvr>
  <p:transition spd="med"/>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433215995"/>
      </p:ext>
    </p:extLst>
  </p:cSld>
  <p:clrMapOvr>
    <a:masterClrMapping/>
  </p:clrMapOvr>
  <p:transition spd="med"/>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3188308509"/>
      </p:ext>
    </p:extLst>
  </p:cSld>
  <p:clrMapOvr>
    <a:masterClrMapping/>
  </p:clrMapOvr>
  <p:transition spd="med"/>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2344780367"/>
      </p:ext>
    </p:extLst>
  </p:cSld>
  <p:clrMapOvr>
    <a:masterClrMapping/>
  </p:clrMapOvr>
  <p:transition spd="med"/>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51459720"/>
      </p:ext>
    </p:extLst>
  </p:cSld>
  <p:clrMapOvr>
    <a:masterClrMapping/>
  </p:clrMapOvr>
  <p:transition spd="med"/>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52871236"/>
      </p:ext>
    </p:extLst>
  </p:cSld>
  <p:clrMapOvr>
    <a:masterClrMapping/>
  </p:clrMapOvr>
  <p:transition spd="med"/>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210312"/>
            <a:ext cx="8569797" cy="4095750"/>
          </a:xfrm>
        </p:spPr>
        <p:txBody>
          <a:bodyPr/>
          <a:lstStyle>
            <a:lvl1pPr>
              <a:defRPr sz="85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01225562"/>
      </p:ext>
    </p:extLst>
  </p:cSld>
  <p:clrMapOvr>
    <a:masterClrMapping/>
  </p:clrMapOvr>
  <p:transition spd="med"/>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224028"/>
            <a:ext cx="5520318" cy="4287044"/>
          </a:xfrm>
        </p:spPr>
        <p:txBody>
          <a:bodyPr/>
          <a:lstStyle>
            <a:lvl1pPr>
              <a:lnSpc>
                <a:spcPct val="100000"/>
              </a:lnSpc>
              <a:spcBef>
                <a:spcPts val="0"/>
              </a:spcBef>
              <a:defRPr sz="3199">
                <a:solidFill>
                  <a:schemeClr val="tx2"/>
                </a:solidFill>
              </a:defRPr>
            </a:lvl1pPr>
            <a:lvl2pPr marL="292549" indent="-292549">
              <a:lnSpc>
                <a:spcPct val="100000"/>
              </a:lnSpc>
              <a:spcBef>
                <a:spcPts val="0"/>
              </a:spcBef>
              <a:defRPr sz="3199">
                <a:solidFill>
                  <a:schemeClr val="tx2"/>
                </a:solidFill>
              </a:defRPr>
            </a:lvl2pPr>
            <a:lvl3pPr marL="548530" indent="-292549">
              <a:lnSpc>
                <a:spcPct val="100000"/>
              </a:lnSpc>
              <a:spcBef>
                <a:spcPts val="0"/>
              </a:spcBef>
              <a:defRPr sz="3199">
                <a:solidFill>
                  <a:schemeClr val="tx2"/>
                </a:solidFill>
              </a:defRPr>
            </a:lvl3pPr>
            <a:lvl4pPr marL="877648">
              <a:lnSpc>
                <a:spcPct val="100000"/>
              </a:lnSpc>
              <a:spcBef>
                <a:spcPts val="0"/>
              </a:spcBef>
              <a:defRPr sz="31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76287711"/>
      </p:ext>
    </p:extLst>
  </p:cSld>
  <p:clrMapOvr>
    <a:masterClrMapping/>
  </p:clrMapOvr>
  <p:transition spd="med"/>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210312"/>
            <a:ext cx="7330121" cy="4858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24342969"/>
      </p:ext>
    </p:extLst>
  </p:cSld>
  <p:clrMapOvr>
    <a:masterClrMapping/>
  </p:clrMapOvr>
  <p:transition spd="med"/>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649724"/>
            <a:ext cx="5524575"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41799735"/>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a:prstGeom prst="rect">
            <a:avLst/>
          </a:prstGeom>
        </p:spPr>
        <p:txBody>
          <a:bodyPr anchor="b"/>
          <a:lstStyle>
            <a:lvl1pPr>
              <a:lnSpc>
                <a:spcPct val="100000"/>
              </a:lnSpc>
              <a:spcBef>
                <a:spcPts val="0"/>
              </a:spcBef>
              <a:defRPr sz="18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1918729378"/>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034261017"/>
      </p:ext>
    </p:extLst>
  </p:cSld>
  <p:clrMapOvr>
    <a:masterClrMapping/>
  </p:clrMapOvr>
  <p:transition spd="med"/>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3"/>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32982471"/>
      </p:ext>
    </p:extLst>
  </p:cSld>
  <p:clrMapOvr>
    <a:masterClrMapping/>
  </p:clrMapOvr>
  <p:transition spd="med"/>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0" cy="2667794"/>
          </a:xfrm>
        </p:spPr>
        <p:txBody>
          <a:bodyPr/>
          <a:lstStyle>
            <a:lvl1pPr>
              <a:lnSpc>
                <a:spcPct val="100000"/>
              </a:lnSpc>
              <a:defRPr sz="4299">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8"/>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26587164"/>
      </p:ext>
    </p:extLst>
  </p:cSld>
  <p:clrMapOvr>
    <a:masterClrMapping/>
  </p:clrMapOvr>
  <p:transition spd="med"/>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25342391"/>
      </p:ext>
    </p:extLst>
  </p:cSld>
  <p:clrMapOvr>
    <a:masterClrMapping/>
  </p:clrMapOvr>
  <p:transition spd="med"/>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45200046"/>
      </p:ext>
    </p:extLst>
  </p:cSld>
  <p:clrMapOvr>
    <a:masterClrMapping/>
  </p:clrMapOvr>
  <p:transition spd="med"/>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endParaRPr lang="en-US"/>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37830306"/>
      </p:ext>
    </p:extLst>
  </p:cSld>
  <p:clrMapOvr>
    <a:masterClrMapping/>
  </p:clrMapOvr>
  <p:transition spd="med"/>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endParaRPr lang="en-US"/>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03186003"/>
      </p:ext>
    </p:extLst>
  </p:cSld>
  <p:clrMapOvr>
    <a:masterClrMapping/>
  </p:clrMapOvr>
  <p:transition spd="med"/>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p:spPr>
        <p:txBody>
          <a:bodyPr/>
          <a:lstStyle>
            <a:lvl1pPr>
              <a:lnSpc>
                <a:spcPct val="100000"/>
              </a:lnSpc>
              <a:spcBef>
                <a:spcPts val="0"/>
              </a:spcBef>
              <a:defRPr sz="18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p:spPr>
        <p:txBody>
          <a:bodyPr anchor="ctr"/>
          <a:lstStyle>
            <a:lvl1pPr algn="ctr">
              <a:defRPr sz="8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767643"/>
      </p:ext>
    </p:extLst>
  </p:cSld>
  <p:clrMapOvr>
    <a:masterClrMapping/>
  </p:clrMapOvr>
  <p:transition spd="med"/>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09835649"/>
      </p:ext>
    </p:extLst>
  </p:cSld>
  <p:clrMapOvr>
    <a:masterClrMapping/>
  </p:clrMapOvr>
  <p:transition spd="med"/>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27932851"/>
      </p:ext>
    </p:extLst>
  </p:cSld>
  <p:clrMapOvr>
    <a:masterClrMapping/>
  </p:clrMapOvr>
  <p:transition spd="med"/>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59608186"/>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58561"/>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094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6381618" y="3058561"/>
            <a:ext cx="1163957"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6381618" y="4762500"/>
            <a:ext cx="1163957"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6381618" y="1323037"/>
            <a:ext cx="1163957"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1674594" y="1309437"/>
            <a:ext cx="2877873" cy="126231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1674594" y="3058562"/>
            <a:ext cx="2877873"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1674593" y="4762500"/>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6377613" y="3072162"/>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6377613" y="47761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6377613" y="13230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6377613" y="3082625"/>
            <a:ext cx="1145388"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6377613" y="4786563"/>
            <a:ext cx="1145388"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6377613" y="1333500"/>
            <a:ext cx="1145388"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7764207" y="1333500"/>
            <a:ext cx="2921430" cy="126231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7764207" y="3082625"/>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7764207" y="4786563"/>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25674502"/>
      </p:ext>
    </p:extLst>
  </p:cSld>
  <p:clrMapOvr>
    <a:masterClrMapping/>
  </p:clrMapOvr>
  <p:transition spd="med"/>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18240054"/>
      </p:ext>
    </p:extLst>
  </p:cSld>
  <p:clrMapOvr>
    <a:masterClrMapping/>
  </p:clrMapOvr>
  <p:transition spd="med"/>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21114299"/>
      </p:ext>
    </p:extLst>
  </p:cSld>
  <p:clrMapOvr>
    <a:masterClrMapping/>
  </p:clrMapOvr>
  <p:transition spd="med"/>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794"/>
          </a:xfrm>
        </p:spPr>
        <p:txBody>
          <a:bodyPr rIns="0"/>
          <a:lstStyle>
            <a:lvl1pPr>
              <a:lnSpc>
                <a:spcPct val="100000"/>
              </a:lnSpc>
              <a:defRPr sz="14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067959"/>
      </p:ext>
    </p:extLst>
  </p:cSld>
  <p:clrMapOvr>
    <a:masterClrMapping/>
  </p:clrMapOvr>
  <p:transition spd="med"/>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607997" cy="607231"/>
          </a:xfrm>
        </p:spPr>
        <p:txBody>
          <a:bodyPr anchor="ctr"/>
          <a:lstStyle>
            <a:lvl1pPr algn="ctr">
              <a:defRPr sz="8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p:spPr>
        <p:txBody>
          <a:bodyPr anchor="ctr"/>
          <a:lstStyle>
            <a:lvl1pPr algn="ctr">
              <a:defRPr sz="8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94381544"/>
      </p:ext>
    </p:extLst>
  </p:cSld>
  <p:clrMapOvr>
    <a:masterClrMapping/>
  </p:clrMapOvr>
  <p:transition spd="med"/>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p:spPr>
        <p:txBody>
          <a:bodyPr anchor="ctr"/>
          <a:lstStyle>
            <a:lvl1pPr algn="ctr">
              <a:defRPr sz="8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p:spPr>
        <p:txBody>
          <a:bodyPr anchor="ctr"/>
          <a:lstStyle>
            <a:lvl1pPr algn="ctr">
              <a:defRPr sz="8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63065927"/>
      </p:ext>
    </p:extLst>
  </p:cSld>
  <p:clrMapOvr>
    <a:masterClrMapping/>
  </p:clrMapOvr>
  <p:transition spd="med"/>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13396621"/>
      </p:ext>
    </p:extLst>
  </p:cSld>
  <p:clrMapOvr>
    <a:masterClrMapping/>
  </p:clrMapOvr>
  <p:transition spd="med"/>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224028"/>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10000"/>
              </a:lnSpc>
              <a:defRPr sz="3199">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26421708"/>
      </p:ext>
    </p:extLst>
  </p:cSld>
  <p:clrMapOvr>
    <a:masterClrMapping/>
  </p:clrMapOvr>
  <p:transition spd="med"/>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6"/>
            <a:ext cx="2477765" cy="2286794"/>
          </a:xfrm>
        </p:spPr>
        <p:txBody>
          <a:bodyPr/>
          <a:lstStyle>
            <a:lvl1pPr>
              <a:lnSpc>
                <a:spcPct val="100000"/>
              </a:lnSpc>
              <a:defRPr sz="14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63014906"/>
      </p:ext>
    </p:extLst>
  </p:cSld>
  <p:clrMapOvr>
    <a:masterClrMapping/>
  </p:clrMapOvr>
  <p:transition spd="med"/>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31616710"/>
      </p:ext>
    </p:extLst>
  </p:cSld>
  <p:clrMapOvr>
    <a:masterClrMapping/>
  </p:clrMapOvr>
  <p:transition spd="med"/>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10677402"/>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dirty="0"/>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74733516"/>
      </p:ext>
    </p:extLst>
  </p:cSld>
  <p:clrMapOvr>
    <a:masterClrMapping/>
  </p:clrMapOvr>
  <p:transition spd="med"/>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p:spPr>
        <p:txBody>
          <a:bodyPr/>
          <a:lstStyle>
            <a:lvl1pPr>
              <a:defRPr sz="7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34831391"/>
      </p:ext>
    </p:extLst>
  </p:cSld>
  <p:clrMapOvr>
    <a:masterClrMapping/>
  </p:clrMapOvr>
  <p:transition spd="med"/>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43254969"/>
      </p:ext>
    </p:extLst>
  </p:cSld>
  <p:clrMapOvr>
    <a:masterClrMapping/>
  </p:clrMapOvr>
  <p:transition spd="med"/>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0" cy="1706563"/>
          </a:xfrm>
        </p:spPr>
        <p:txBody>
          <a:bodyPr rIns="0"/>
          <a:lstStyle>
            <a:lvl1pPr>
              <a:lnSpc>
                <a:spcPct val="110000"/>
              </a:lnSpc>
              <a:defRPr sz="18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2"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96489394"/>
      </p:ext>
    </p:extLst>
  </p:cSld>
  <p:clrMapOvr>
    <a:masterClrMapping/>
  </p:clrMapOvr>
  <p:transition spd="med"/>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1583097704"/>
      </p:ext>
    </p:extLst>
  </p:cSld>
  <p:clrMapOvr>
    <a:masterClrMapping/>
  </p:clrMapOvr>
  <p:transition spd="med"/>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705162891"/>
      </p:ext>
    </p:extLst>
  </p:cSld>
  <p:clrMapOvr>
    <a:masterClrMapping/>
  </p:clrMapOvr>
  <p:transition spd="med"/>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5"/>
            <a:ext cx="8574559" cy="6289675"/>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2121164423"/>
      </p:ext>
    </p:extLst>
  </p:cSld>
  <p:clrMapOvr>
    <a:masterClrMapping/>
  </p:clrMapOvr>
  <p:transition spd="med"/>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482159017"/>
      </p:ext>
    </p:extLst>
  </p:cSld>
  <p:clrMapOvr>
    <a:masterClrMapping/>
  </p:clrMapOvr>
  <p:transition spd="med"/>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4016719032"/>
      </p:ext>
    </p:extLst>
  </p:cSld>
  <p:clrMapOvr>
    <a:masterClrMapping/>
  </p:clrMapOvr>
  <p:transition spd="med"/>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58893751"/>
      </p:ext>
    </p:extLst>
  </p:cSld>
  <p:clrMapOvr>
    <a:masterClrMapping/>
  </p:clrMapOvr>
  <p:transition spd="med"/>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17056698"/>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95936402"/>
      </p:ext>
    </p:extLst>
  </p:cSld>
  <p:clrMapOvr>
    <a:masterClrMapping/>
  </p:clrMapOvr>
  <p:transition spd="med"/>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0616630"/>
      </p:ext>
    </p:extLst>
  </p:cSld>
  <p:clrMapOvr>
    <a:masterClrMapping/>
  </p:clrMapOvr>
  <p:transition spd="med"/>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352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34037992"/>
      </p:ext>
    </p:extLst>
  </p:cSld>
  <p:clrMapOvr>
    <a:masterClrMapping/>
  </p:clrMapOvr>
  <p:transition spd="med"/>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p>
            <a:endParaRPr lang="en-US"/>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47313654"/>
      </p:ext>
    </p:extLst>
  </p:cSld>
  <p:clrMapOvr>
    <a:masterClrMapping/>
  </p:clrMapOvr>
  <p:transition spd="med"/>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856620265"/>
      </p:ext>
    </p:extLst>
  </p:cSld>
  <p:clrMapOvr>
    <a:masterClrMapping/>
  </p:clrMapOvr>
  <p:transition spd="med"/>
</p:sldLayout>
</file>

<file path=ppt/slideLayouts/slideLayout434.xml><?xml version="1.0" encoding="utf-8"?>
<p:sldLayout xmlns:a="http://schemas.openxmlformats.org/drawingml/2006/main" xmlns:r="http://schemas.openxmlformats.org/officeDocument/2006/relationships" xmlns:p="http://schemas.openxmlformats.org/presentationml/2006/main" userDrawn="1">
  <p:cSld name="4. Divider with tex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A7118BE-EDEE-1C4C-95E1-9F042430A7BB}"/>
              </a:ext>
            </a:extLst>
          </p:cNvPr>
          <p:cNvSpPr/>
          <p:nvPr userDrawn="1"/>
        </p:nvSpPr>
        <p:spPr>
          <a:xfrm>
            <a:off x="0" y="0"/>
            <a:ext cx="6096000" cy="6858000"/>
          </a:xfrm>
          <a:prstGeom prst="rect">
            <a:avLst/>
          </a:prstGeom>
          <a:solidFill>
            <a:srgbClr val="E5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9" name="Title 1">
            <a:extLst>
              <a:ext uri="{FF2B5EF4-FFF2-40B4-BE49-F238E27FC236}">
                <a16:creationId xmlns:a16="http://schemas.microsoft.com/office/drawing/2014/main" id="{BC52A26D-7A26-E44D-ACFF-BBB6A99749C4}"/>
              </a:ext>
            </a:extLst>
          </p:cNvPr>
          <p:cNvSpPr>
            <a:spLocks noGrp="1"/>
          </p:cNvSpPr>
          <p:nvPr>
            <p:ph type="title"/>
          </p:nvPr>
        </p:nvSpPr>
        <p:spPr>
          <a:xfrm>
            <a:off x="381002" y="875771"/>
            <a:ext cx="4038865" cy="4877594"/>
          </a:xfrm>
        </p:spPr>
        <p:txBody>
          <a:bodyPr lIns="0" tIns="0" rIns="0" bIns="0" anchor="t" anchorCtr="0">
            <a:noAutofit/>
          </a:bodyPr>
          <a:lstStyle>
            <a:lvl1pPr>
              <a:lnSpc>
                <a:spcPct val="100000"/>
              </a:lnSpc>
              <a:spcAft>
                <a:spcPts val="6000"/>
              </a:spcAft>
              <a:defRPr sz="5333" b="0" i="0">
                <a:solidFill>
                  <a:srgbClr val="0F62FE"/>
                </a:solidFill>
                <a:latin typeface="IBM Plex Sans ExtLt" panose="020B0303050203000203" pitchFamily="34" charset="0"/>
              </a:defRPr>
            </a:lvl1pPr>
          </a:lstStyle>
          <a:p>
            <a:r>
              <a:rPr lang="en-US"/>
              <a:t>Click to edit Master title style</a:t>
            </a:r>
          </a:p>
        </p:txBody>
      </p:sp>
      <p:sp>
        <p:nvSpPr>
          <p:cNvPr id="10" name="Text Placeholder 7">
            <a:extLst>
              <a:ext uri="{FF2B5EF4-FFF2-40B4-BE49-F238E27FC236}">
                <a16:creationId xmlns:a16="http://schemas.microsoft.com/office/drawing/2014/main" id="{C7E62F4B-AD46-B54A-969A-335720FBDE8A}"/>
              </a:ext>
            </a:extLst>
          </p:cNvPr>
          <p:cNvSpPr>
            <a:spLocks noGrp="1"/>
          </p:cNvSpPr>
          <p:nvPr>
            <p:ph type="body" sz="quarter" idx="13"/>
          </p:nvPr>
        </p:nvSpPr>
        <p:spPr>
          <a:xfrm>
            <a:off x="381000" y="381000"/>
            <a:ext cx="5524500" cy="190500"/>
          </a:xfrm>
        </p:spPr>
        <p:txBody>
          <a:bodyPr lIns="0" tIns="0" rIns="0" bIns="0">
            <a:noAutofit/>
          </a:bodyPr>
          <a:lstStyle>
            <a:lvl1pPr marL="0" indent="0">
              <a:lnSpc>
                <a:spcPct val="100000"/>
              </a:lnSpc>
              <a:spcBef>
                <a:spcPts val="0"/>
              </a:spcBef>
              <a:spcAft>
                <a:spcPts val="1167"/>
              </a:spcAft>
              <a:buNone/>
              <a:defRPr sz="833" b="0" i="0">
                <a:solidFill>
                  <a:srgbClr val="001141"/>
                </a:solidFill>
                <a:latin typeface="IBM Plex Sans Medm" panose="020B0503050203000203" pitchFamily="34" charset="0"/>
              </a:defRPr>
            </a:lvl1pPr>
            <a:lvl2pPr>
              <a:defRPr sz="667" b="0" i="0">
                <a:latin typeface="IBM Plex Sans Medm" panose="020B0503050203000203" pitchFamily="34" charset="0"/>
              </a:defRPr>
            </a:lvl2pPr>
            <a:lvl3pPr>
              <a:defRPr sz="667" b="0" i="0">
                <a:latin typeface="IBM Plex Sans Medm" panose="020B0503050203000203" pitchFamily="34" charset="0"/>
              </a:defRPr>
            </a:lvl3pPr>
            <a:lvl4pPr>
              <a:defRPr sz="667" b="0" i="0">
                <a:latin typeface="IBM Plex Sans Medm" panose="020B0503050203000203" pitchFamily="34" charset="0"/>
              </a:defRPr>
            </a:lvl4pPr>
            <a:lvl5pPr>
              <a:defRPr sz="667" b="0" i="0">
                <a:latin typeface="IBM Plex Sans Medm" panose="020B0503050203000203" pitchFamily="34" charset="0"/>
              </a:defRPr>
            </a:lvl5pPr>
          </a:lstStyle>
          <a:p>
            <a:pPr lvl="0"/>
            <a:r>
              <a:rPr lang="en-US" dirty="0"/>
              <a:t>Click to edit Master text styles</a:t>
            </a:r>
          </a:p>
        </p:txBody>
      </p:sp>
      <p:grpSp>
        <p:nvGrpSpPr>
          <p:cNvPr id="11" name="Group 10">
            <a:extLst>
              <a:ext uri="{FF2B5EF4-FFF2-40B4-BE49-F238E27FC236}">
                <a16:creationId xmlns:a16="http://schemas.microsoft.com/office/drawing/2014/main" id="{B59F9782-4CB3-5E49-A169-EADD93729521}"/>
              </a:ext>
            </a:extLst>
          </p:cNvPr>
          <p:cNvGrpSpPr/>
          <p:nvPr userDrawn="1"/>
        </p:nvGrpSpPr>
        <p:grpSpPr>
          <a:xfrm>
            <a:off x="661513" y="6609395"/>
            <a:ext cx="2489725" cy="183809"/>
            <a:chOff x="914400" y="7899655"/>
            <a:chExt cx="2987670" cy="220571"/>
          </a:xfrm>
        </p:grpSpPr>
        <p:sp>
          <p:nvSpPr>
            <p:cNvPr id="12" name="Footer Placeholder 3">
              <a:extLst>
                <a:ext uri="{FF2B5EF4-FFF2-40B4-BE49-F238E27FC236}">
                  <a16:creationId xmlns:a16="http://schemas.microsoft.com/office/drawing/2014/main" id="{15717F7F-FFC1-FC44-8F5B-F68061A90481}"/>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1000"/>
                </a:spcAft>
              </a:pPr>
              <a:r>
                <a:rPr lang="en-US" sz="666" b="0" i="0" dirty="0">
                  <a:solidFill>
                    <a:srgbClr val="001141"/>
                  </a:solidFill>
                  <a:latin typeface="IBM Plex Sans" charset="0"/>
                  <a:ea typeface="IBM Plex Sans" charset="0"/>
                  <a:cs typeface="IBM Plex Sans" charset="0"/>
                </a:rPr>
                <a:t>©</a:t>
              </a:r>
              <a:r>
                <a:rPr lang="en-US" sz="333" b="0" i="0" dirty="0">
                  <a:solidFill>
                    <a:srgbClr val="001141"/>
                  </a:solidFill>
                  <a:latin typeface="IBM Plex Sans" charset="0"/>
                  <a:ea typeface="IBM Plex Sans" charset="0"/>
                  <a:cs typeface="IBM Plex Sans" charset="0"/>
                </a:rPr>
                <a:t> </a:t>
              </a:r>
              <a:r>
                <a:rPr lang="en-US" sz="666" b="0" i="0" dirty="0">
                  <a:solidFill>
                    <a:srgbClr val="001141"/>
                  </a:solidFill>
                  <a:latin typeface="IBM Plex Sans" charset="0"/>
                  <a:ea typeface="IBM Plex Sans" charset="0"/>
                  <a:cs typeface="IBM Plex Sans" charset="0"/>
                </a:rPr>
                <a:t>2022 IBM Corporation</a:t>
              </a:r>
              <a:r>
                <a:rPr lang="en-US" sz="666" b="0" i="0" baseline="0" dirty="0">
                  <a:solidFill>
                    <a:srgbClr val="001141"/>
                  </a:solidFill>
                  <a:latin typeface="IBM Plex Sans" charset="0"/>
                  <a:ea typeface="IBM Plex Sans" charset="0"/>
                  <a:cs typeface="IBM Plex Sans" charset="0"/>
                </a:rPr>
                <a:t>              </a:t>
              </a:r>
              <a:r>
                <a:rPr lang="en-US" sz="666" b="0" i="0" dirty="0">
                  <a:solidFill>
                    <a:srgbClr val="001141"/>
                  </a:solidFill>
                  <a:latin typeface="IBM Plex Sans" charset="0"/>
                  <a:ea typeface="IBM Plex Sans" charset="0"/>
                  <a:cs typeface="IBM Plex Sans" charset="0"/>
                </a:rPr>
                <a:t> </a:t>
              </a:r>
            </a:p>
          </p:txBody>
        </p:sp>
        <p:sp>
          <p:nvSpPr>
            <p:cNvPr id="13" name="Date Placeholder 2">
              <a:extLst>
                <a:ext uri="{FF2B5EF4-FFF2-40B4-BE49-F238E27FC236}">
                  <a16:creationId xmlns:a16="http://schemas.microsoft.com/office/drawing/2014/main" id="{FD128882-6AFB-DC49-802D-DB4BCB50D96A}"/>
                </a:ext>
              </a:extLst>
            </p:cNvPr>
            <p:cNvSpPr txBox="1">
              <a:spLocks/>
            </p:cNvSpPr>
            <p:nvPr userDrawn="1"/>
          </p:nvSpPr>
          <p:spPr>
            <a:xfrm>
              <a:off x="2256150" y="7899655"/>
              <a:ext cx="164592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1000"/>
                </a:spcAft>
                <a:tabLst/>
                <a:defRPr/>
              </a:pPr>
              <a:r>
                <a:rPr lang="en-US" sz="666" b="0" i="0" dirty="0">
                  <a:solidFill>
                    <a:srgbClr val="001141"/>
                  </a:solidFill>
                  <a:latin typeface="IBM Plex Sans" charset="0"/>
                  <a:ea typeface="IBM Plex Sans" charset="0"/>
                  <a:cs typeface="IBM Plex Sans" charset="0"/>
                </a:rPr>
                <a:t> IBM  HR</a:t>
              </a:r>
            </a:p>
          </p:txBody>
        </p:sp>
      </p:grpSp>
      <p:sp>
        <p:nvSpPr>
          <p:cNvPr id="16" name="Text Placeholder 15">
            <a:extLst>
              <a:ext uri="{FF2B5EF4-FFF2-40B4-BE49-F238E27FC236}">
                <a16:creationId xmlns:a16="http://schemas.microsoft.com/office/drawing/2014/main" id="{52FA02FE-691C-904C-B089-B5EE30906095}"/>
              </a:ext>
            </a:extLst>
          </p:cNvPr>
          <p:cNvSpPr>
            <a:spLocks noGrp="1"/>
          </p:cNvSpPr>
          <p:nvPr>
            <p:ph type="body" sz="quarter" idx="14"/>
          </p:nvPr>
        </p:nvSpPr>
        <p:spPr>
          <a:xfrm>
            <a:off x="6286502" y="381000"/>
            <a:ext cx="2553229" cy="1371600"/>
          </a:xfrm>
        </p:spPr>
        <p:txBody>
          <a:bodyPr lIns="0" tIns="0" rIns="0" bIns="0">
            <a:noAutofit/>
          </a:bodyPr>
          <a:lstStyle>
            <a:lvl1pPr marL="0" indent="0">
              <a:lnSpc>
                <a:spcPct val="100000"/>
              </a:lnSpc>
              <a:spcBef>
                <a:spcPts val="0"/>
              </a:spcBef>
              <a:spcAft>
                <a:spcPts val="1667"/>
              </a:spcAft>
              <a:buNone/>
              <a:defRPr sz="1333" b="0" i="0">
                <a:latin typeface="IBM Plex Sans Light" panose="020B0403050203000203" pitchFamily="34" charset="0"/>
              </a:defRPr>
            </a:lvl1pPr>
          </a:lstStyle>
          <a:p>
            <a:pPr lvl="0"/>
            <a:r>
              <a:rPr lang="en-US" dirty="0"/>
              <a:t>Click to edit Master text styles</a:t>
            </a:r>
          </a:p>
        </p:txBody>
      </p:sp>
      <p:sp>
        <p:nvSpPr>
          <p:cNvPr id="17" name="Text Placeholder 15">
            <a:extLst>
              <a:ext uri="{FF2B5EF4-FFF2-40B4-BE49-F238E27FC236}">
                <a16:creationId xmlns:a16="http://schemas.microsoft.com/office/drawing/2014/main" id="{A8123DCF-ACE9-AA42-A3EA-FF4951084866}"/>
              </a:ext>
            </a:extLst>
          </p:cNvPr>
          <p:cNvSpPr>
            <a:spLocks noGrp="1"/>
          </p:cNvSpPr>
          <p:nvPr>
            <p:ph type="body" sz="quarter" idx="15"/>
          </p:nvPr>
        </p:nvSpPr>
        <p:spPr>
          <a:xfrm>
            <a:off x="9218753" y="381000"/>
            <a:ext cx="2592247" cy="1371600"/>
          </a:xfrm>
        </p:spPr>
        <p:txBody>
          <a:bodyPr lIns="0" tIns="0" rIns="0" bIns="0">
            <a:noAutofit/>
          </a:bodyPr>
          <a:lstStyle>
            <a:lvl1pPr marL="0" indent="0">
              <a:lnSpc>
                <a:spcPct val="100000"/>
              </a:lnSpc>
              <a:spcBef>
                <a:spcPts val="0"/>
              </a:spcBef>
              <a:spcAft>
                <a:spcPts val="1667"/>
              </a:spcAft>
              <a:buNone/>
              <a:defRPr sz="1333" b="0" i="0">
                <a:latin typeface="IBM Plex Sans Light" panose="020B0403050203000203" pitchFamily="34" charset="0"/>
              </a:defRPr>
            </a:lvl1pPr>
          </a:lstStyle>
          <a:p>
            <a:pPr lvl="0"/>
            <a:r>
              <a:rPr lang="en-US" dirty="0"/>
              <a:t>Click to edit Master text styles</a:t>
            </a:r>
          </a:p>
        </p:txBody>
      </p:sp>
      <p:sp>
        <p:nvSpPr>
          <p:cNvPr id="18" name="Text Placeholder 15">
            <a:extLst>
              <a:ext uri="{FF2B5EF4-FFF2-40B4-BE49-F238E27FC236}">
                <a16:creationId xmlns:a16="http://schemas.microsoft.com/office/drawing/2014/main" id="{2542DBC9-C492-114A-B222-E094FD427560}"/>
              </a:ext>
            </a:extLst>
          </p:cNvPr>
          <p:cNvSpPr>
            <a:spLocks noGrp="1"/>
          </p:cNvSpPr>
          <p:nvPr>
            <p:ph type="body" sz="quarter" idx="16"/>
          </p:nvPr>
        </p:nvSpPr>
        <p:spPr>
          <a:xfrm>
            <a:off x="6286502" y="1943583"/>
            <a:ext cx="2553229" cy="4381283"/>
          </a:xfrm>
        </p:spPr>
        <p:txBody>
          <a:bodyPr lIns="0" tIns="0" rIns="0" bIns="0">
            <a:noAutofit/>
          </a:bodyPr>
          <a:lstStyle>
            <a:lvl1pPr marL="0" indent="0">
              <a:lnSpc>
                <a:spcPct val="100000"/>
              </a:lnSpc>
              <a:spcBef>
                <a:spcPts val="0"/>
              </a:spcBef>
              <a:spcAft>
                <a:spcPts val="1667"/>
              </a:spcAft>
              <a:buNone/>
              <a:defRPr sz="1333" b="0" i="0">
                <a:latin typeface="IBM Plex Sans Medm" panose="020B0503050203000203" pitchFamily="34" charset="0"/>
              </a:defRPr>
            </a:lvl1pPr>
          </a:lstStyle>
          <a:p>
            <a:pPr lvl="0"/>
            <a:r>
              <a:rPr lang="en-US" dirty="0"/>
              <a:t>Click to edit Master text styles</a:t>
            </a:r>
          </a:p>
        </p:txBody>
      </p:sp>
      <p:sp>
        <p:nvSpPr>
          <p:cNvPr id="19" name="Text Placeholder 15">
            <a:extLst>
              <a:ext uri="{FF2B5EF4-FFF2-40B4-BE49-F238E27FC236}">
                <a16:creationId xmlns:a16="http://schemas.microsoft.com/office/drawing/2014/main" id="{AA0AAFEE-9EDA-2049-97B8-9766D2089305}"/>
              </a:ext>
            </a:extLst>
          </p:cNvPr>
          <p:cNvSpPr>
            <a:spLocks noGrp="1"/>
          </p:cNvSpPr>
          <p:nvPr>
            <p:ph type="body" sz="quarter" idx="17"/>
          </p:nvPr>
        </p:nvSpPr>
        <p:spPr>
          <a:xfrm>
            <a:off x="9218753" y="1943583"/>
            <a:ext cx="2592247" cy="4381283"/>
          </a:xfrm>
        </p:spPr>
        <p:txBody>
          <a:bodyPr lIns="0" tIns="0" rIns="0" bIns="0">
            <a:noAutofit/>
          </a:bodyPr>
          <a:lstStyle>
            <a:lvl1pPr marL="0" indent="0">
              <a:lnSpc>
                <a:spcPct val="100000"/>
              </a:lnSpc>
              <a:spcBef>
                <a:spcPts val="0"/>
              </a:spcBef>
              <a:spcAft>
                <a:spcPts val="1667"/>
              </a:spcAft>
              <a:buNone/>
              <a:defRPr sz="1333" b="0" i="0">
                <a:latin typeface="IBM Plex Sans Medm" panose="020B0503050203000203" pitchFamily="34" charset="0"/>
              </a:defRPr>
            </a:lvl1pPr>
          </a:lstStyle>
          <a:p>
            <a:pPr lvl="0"/>
            <a:r>
              <a:rPr lang="en-US" dirty="0"/>
              <a:t>Click to edit Master text styles</a:t>
            </a:r>
          </a:p>
        </p:txBody>
      </p:sp>
      <p:sp>
        <p:nvSpPr>
          <p:cNvPr id="20" name="Slide Number Placeholder 2">
            <a:extLst>
              <a:ext uri="{FF2B5EF4-FFF2-40B4-BE49-F238E27FC236}">
                <a16:creationId xmlns:a16="http://schemas.microsoft.com/office/drawing/2014/main" id="{698ECAB5-A913-B54A-9779-71F61AF417EB}"/>
              </a:ext>
            </a:extLst>
          </p:cNvPr>
          <p:cNvSpPr txBox="1">
            <a:spLocks/>
          </p:cNvSpPr>
          <p:nvPr userDrawn="1"/>
        </p:nvSpPr>
        <p:spPr>
          <a:xfrm>
            <a:off x="379048" y="6611958"/>
            <a:ext cx="273233" cy="182542"/>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667" b="0" i="0" smtClean="0">
                <a:solidFill>
                  <a:srgbClr val="001141"/>
                </a:solidFill>
                <a:latin typeface="IBM Plex Sans" charset="0"/>
                <a:ea typeface="IBM Plex Sans" charset="0"/>
                <a:cs typeface="IBM Plex Sans" charset="0"/>
              </a:rPr>
              <a:pPr algn="l"/>
              <a:t>‹#›</a:t>
            </a:fld>
            <a:endParaRPr lang="en-US" sz="667" b="0" i="0" dirty="0">
              <a:solidFill>
                <a:srgbClr val="001141"/>
              </a:solidFill>
              <a:latin typeface="IBM Plex Sans" charset="0"/>
              <a:ea typeface="IBM Plex Sans" charset="0"/>
              <a:cs typeface="IBM Plex Sans" charset="0"/>
            </a:endParaRPr>
          </a:p>
        </p:txBody>
      </p:sp>
    </p:spTree>
    <p:extLst>
      <p:ext uri="{BB962C8B-B14F-4D97-AF65-F5344CB8AC3E}">
        <p14:creationId xmlns:p14="http://schemas.microsoft.com/office/powerpoint/2010/main" val="1770171923"/>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31C656-D380-6296-59CF-02C1923DDFC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A22425-EDED-9E8D-C7BB-2CD7005B17A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261A957-31C0-E953-29A4-CEF99901212B}"/>
              </a:ext>
            </a:extLst>
          </p:cNvPr>
          <p:cNvSpPr>
            <a:spLocks noGrp="1"/>
          </p:cNvSpPr>
          <p:nvPr>
            <p:ph type="dt" sz="half" idx="10"/>
          </p:nvPr>
        </p:nvSpPr>
        <p:spPr/>
        <p:txBody>
          <a:bodyPr/>
          <a:lstStyle/>
          <a:p>
            <a:fld id="{D9325739-1F5C-4968-BAD3-D4A860E7EF67}" type="datetimeFigureOut">
              <a:rPr lang="en-US" smtClean="0"/>
              <a:t>9/5/24</a:t>
            </a:fld>
            <a:endParaRPr lang="en-US"/>
          </a:p>
        </p:txBody>
      </p:sp>
      <p:sp>
        <p:nvSpPr>
          <p:cNvPr id="5" name="Footer Placeholder 4">
            <a:extLst>
              <a:ext uri="{FF2B5EF4-FFF2-40B4-BE49-F238E27FC236}">
                <a16:creationId xmlns:a16="http://schemas.microsoft.com/office/drawing/2014/main" id="{A7A409A3-0C14-2A9B-F355-15CD070F63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AA90DB-18F9-742E-0275-BF02992B273F}"/>
              </a:ext>
            </a:extLst>
          </p:cNvPr>
          <p:cNvSpPr>
            <a:spLocks noGrp="1"/>
          </p:cNvSpPr>
          <p:nvPr>
            <p:ph type="sldNum" sz="quarter" idx="12"/>
          </p:nvPr>
        </p:nvSpPr>
        <p:spPr/>
        <p:txBody>
          <a:bodyPr/>
          <a:lstStyle/>
          <a:p>
            <a:fld id="{2A4DEA43-6D16-4DCB-9EDF-C86B71FE0EA8}" type="slidenum">
              <a:rPr lang="en-US" smtClean="0"/>
              <a:t>‹#›</a:t>
            </a:fld>
            <a:endParaRPr lang="en-US"/>
          </a:p>
        </p:txBody>
      </p:sp>
    </p:spTree>
    <p:extLst>
      <p:ext uri="{BB962C8B-B14F-4D97-AF65-F5344CB8AC3E}">
        <p14:creationId xmlns:p14="http://schemas.microsoft.com/office/powerpoint/2010/main" val="2823049666"/>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C546D-BE64-EC6F-EF38-D5AB4894B59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36E35CC-4F80-D3E7-CC2D-816D846C006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91F3193-217C-12F1-0E7C-1D352A602FA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2159A02-3E03-0E97-CAEF-45BE7BC85841}"/>
              </a:ext>
            </a:extLst>
          </p:cNvPr>
          <p:cNvSpPr>
            <a:spLocks noGrp="1"/>
          </p:cNvSpPr>
          <p:nvPr>
            <p:ph type="dt" sz="half" idx="10"/>
          </p:nvPr>
        </p:nvSpPr>
        <p:spPr/>
        <p:txBody>
          <a:bodyPr/>
          <a:lstStyle/>
          <a:p>
            <a:fld id="{C2FD7DE3-D4F6-49E1-835C-2782D72A2258}" type="datetimeFigureOut">
              <a:rPr lang="en-US" smtClean="0"/>
              <a:t>9/5/24</a:t>
            </a:fld>
            <a:endParaRPr lang="en-US"/>
          </a:p>
        </p:txBody>
      </p:sp>
      <p:sp>
        <p:nvSpPr>
          <p:cNvPr id="6" name="Footer Placeholder 5">
            <a:extLst>
              <a:ext uri="{FF2B5EF4-FFF2-40B4-BE49-F238E27FC236}">
                <a16:creationId xmlns:a16="http://schemas.microsoft.com/office/drawing/2014/main" id="{D134F6D0-0483-DAF8-4988-E8793CEF38F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66E7A8-C776-D164-B814-B2AE204098D6}"/>
              </a:ext>
            </a:extLst>
          </p:cNvPr>
          <p:cNvSpPr>
            <a:spLocks noGrp="1"/>
          </p:cNvSpPr>
          <p:nvPr>
            <p:ph type="sldNum" sz="quarter" idx="12"/>
          </p:nvPr>
        </p:nvSpPr>
        <p:spPr/>
        <p:txBody>
          <a:bodyPr/>
          <a:lstStyle/>
          <a:p>
            <a:fld id="{05CEE970-D453-4B96-9BAA-67CD50ED0B6D}" type="slidenum">
              <a:rPr lang="en-US" smtClean="0"/>
              <a:t>‹#›</a:t>
            </a:fld>
            <a:endParaRPr lang="en-US"/>
          </a:p>
        </p:txBody>
      </p:sp>
    </p:spTree>
    <p:extLst>
      <p:ext uri="{BB962C8B-B14F-4D97-AF65-F5344CB8AC3E}">
        <p14:creationId xmlns:p14="http://schemas.microsoft.com/office/powerpoint/2010/main" val="14879490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352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29843688"/>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lvl1pPr>
              <a:defRPr b="0" i="0">
                <a:latin typeface="IBM Plex Sans Light" panose="020B0403050203000203" pitchFamily="34" charset="0"/>
              </a:defRPr>
            </a:lvl1p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49598409"/>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4211743346"/>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2831625827"/>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dirty="0">
              <a:ln>
                <a:noFill/>
              </a:ln>
              <a:solidFill>
                <a:schemeClr val="bg1"/>
              </a:solidFill>
              <a:effectLst/>
              <a:latin typeface="+mn-lt"/>
            </a:endParaRPr>
          </a:p>
        </p:txBody>
      </p:sp>
      <p:sp>
        <p:nvSpPr>
          <p:cNvPr id="7" name="Title 1">
            <a:extLst>
              <a:ext uri="{FF2B5EF4-FFF2-40B4-BE49-F238E27FC236}">
                <a16:creationId xmlns:a16="http://schemas.microsoft.com/office/drawing/2014/main" id="{184617A5-E44D-86DD-8C8E-5D85DFCA435B}"/>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2238064559"/>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CC25B71-827F-9C78-56BA-F30A6070AC9F}"/>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311026621"/>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1119877597"/>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6AD06EA-1AAE-9258-F68E-D0D307454A33}"/>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000393291"/>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660167304"/>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589263350"/>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endParaRPr lang="en-US" dirty="0"/>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51976702"/>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61327807"/>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210312"/>
            <a:ext cx="8569797" cy="4095750"/>
          </a:xfrm>
        </p:spPr>
        <p:txBody>
          <a:bodyPr/>
          <a:lstStyle>
            <a:lvl1pPr>
              <a:defRPr sz="8598" b="0" i="0">
                <a:solidFill>
                  <a:schemeClr val="tx2"/>
                </a:solidFill>
                <a:latin typeface="IBM Plex Sans ExtraLigh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81551666"/>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224028"/>
            <a:ext cx="5520318" cy="4287044"/>
          </a:xfrm>
        </p:spPr>
        <p:txBody>
          <a:bodyPr/>
          <a:lstStyle>
            <a:lvl1pPr>
              <a:lnSpc>
                <a:spcPct val="100000"/>
              </a:lnSpc>
              <a:spcBef>
                <a:spcPts val="0"/>
              </a:spcBef>
              <a:defRPr sz="3199">
                <a:solidFill>
                  <a:schemeClr val="tx2"/>
                </a:solidFill>
              </a:defRPr>
            </a:lvl1pPr>
            <a:lvl2pPr marL="292549" indent="-292549">
              <a:lnSpc>
                <a:spcPct val="100000"/>
              </a:lnSpc>
              <a:spcBef>
                <a:spcPts val="0"/>
              </a:spcBef>
              <a:defRPr sz="3199">
                <a:solidFill>
                  <a:schemeClr val="tx2"/>
                </a:solidFill>
              </a:defRPr>
            </a:lvl2pPr>
            <a:lvl3pPr marL="548530" indent="-292549">
              <a:lnSpc>
                <a:spcPct val="100000"/>
              </a:lnSpc>
              <a:spcBef>
                <a:spcPts val="0"/>
              </a:spcBef>
              <a:defRPr sz="3199">
                <a:solidFill>
                  <a:schemeClr val="tx2"/>
                </a:solidFill>
              </a:defRPr>
            </a:lvl3pPr>
            <a:lvl4pPr marL="877648">
              <a:lnSpc>
                <a:spcPct val="100000"/>
              </a:lnSpc>
              <a:spcBef>
                <a:spcPts val="0"/>
              </a:spcBef>
              <a:defRPr sz="31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p>
            <a:endParaRPr lang="en-US" dirty="0"/>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62693602"/>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210312"/>
            <a:ext cx="7330121" cy="4858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31989358"/>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649724"/>
            <a:ext cx="5524575" cy="1771650"/>
          </a:xfrm>
        </p:spPr>
        <p:txBody>
          <a:bodyPr anchor="b"/>
          <a:lstStyle>
            <a:lvl1pPr>
              <a:lnSpc>
                <a:spcPct val="90000"/>
              </a:lnSpc>
              <a:spcBef>
                <a:spcPts val="0"/>
              </a:spcBef>
              <a:defRPr sz="12897" b="0" i="0">
                <a:solidFill>
                  <a:schemeClr val="accent1"/>
                </a:solidFill>
                <a:latin typeface="IBM Plex Sans ExtraLight" panose="020B0303050203000203" pitchFamily="34" charset="0"/>
              </a:defRPr>
            </a:lvl1pPr>
          </a:lstStyle>
          <a:p>
            <a:r>
              <a:rPr lang="en-US" dirty="0"/>
              <a:t>↗︎00M</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b="0" i="0">
                <a:solidFill>
                  <a:schemeClr val="accent1"/>
                </a:solidFill>
                <a:latin typeface="IBM Plex Sans ExtraLigh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endParaRPr lang="en-US" dirty="0"/>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46339588"/>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4"/>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endParaRPr lang="en-US" dirty="0"/>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35979555"/>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192600"/>
            <a:ext cx="5049180" cy="285750"/>
          </a:xfrm>
          <a:prstGeom prst="rect">
            <a:avLst/>
          </a:prstGeom>
        </p:spPr>
        <p:txBody>
          <a:bodyPr/>
          <a:lstStyle>
            <a:lvl1pPr>
              <a:lnSpc>
                <a:spcPct val="100000"/>
              </a:lnSpc>
              <a:spcBef>
                <a:spcPts val="0"/>
              </a:spcBef>
              <a:defRPr sz="18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3317262476"/>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0" cy="2667794"/>
          </a:xfrm>
        </p:spPr>
        <p:txBody>
          <a:bodyPr/>
          <a:lstStyle>
            <a:lvl1pPr>
              <a:lnSpc>
                <a:spcPct val="100000"/>
              </a:lnSpc>
              <a:defRPr sz="4299">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8"/>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p>
            <a:endParaRPr lang="en-US" dirty="0"/>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74977361"/>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p>
            <a:endParaRPr lang="en-US" dirty="0"/>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57701179"/>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p>
            <a:endParaRPr lang="en-US" dirty="0"/>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41044529"/>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1" name="Straight Connector 20" descr="Vertical column divider ">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2" name="Straight Connector 21" descr="Vertical column divider ">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endParaRPr lang="en-US" dirty="0"/>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02086308"/>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endParaRPr lang="en-US" dirty="0"/>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18079273"/>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p:spPr>
        <p:txBody>
          <a:bodyPr/>
          <a:lstStyle>
            <a:lvl1pPr>
              <a:lnSpc>
                <a:spcPct val="100000"/>
              </a:lnSpc>
              <a:spcBef>
                <a:spcPts val="0"/>
              </a:spcBef>
              <a:defRPr sz="18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dirty="0"/>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p:spPr>
        <p:txBody>
          <a:bodyPr anchor="ctr"/>
          <a:lstStyle>
            <a:lvl1pPr algn="ctr">
              <a:defRPr sz="800">
                <a:solidFill>
                  <a:schemeClr val="tx1"/>
                </a:solidFill>
              </a:defRPr>
            </a:lvl1pPr>
          </a:lstStyle>
          <a:p>
            <a:r>
              <a:rPr lang="en-US" dirty="0"/>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dirty="0"/>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91778996"/>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71842712"/>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17216678"/>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98642475"/>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92738771"/>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a:prstGeom prst="rect">
            <a:avLst/>
          </a:prstGeom>
        </p:spPr>
        <p:txBody>
          <a:bodyPr/>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098"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9415794" y="284956"/>
            <a:ext cx="2476178" cy="5715794"/>
          </a:xfrm>
          <a:prstGeom prst="rect">
            <a:avLst/>
          </a:prstGeom>
        </p:spPr>
        <p:txBody>
          <a:bodyPr/>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098"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83023432"/>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99884591"/>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000"/>
          </a:xfrm>
        </p:spPr>
        <p:txBody>
          <a:bodyPr rIns="0"/>
          <a:lstStyle>
            <a:lvl1pPr>
              <a:lnSpc>
                <a:spcPct val="100000"/>
              </a:lnSpc>
              <a:defRPr sz="14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95076120"/>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dirty="0"/>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457776" cy="457200"/>
          </a:xfrm>
        </p:spPr>
        <p:txBody>
          <a:bodyPr anchor="ctr"/>
          <a:lstStyle>
            <a:lvl1pPr algn="ctr">
              <a:defRPr sz="800">
                <a:solidFill>
                  <a:schemeClr val="tx1"/>
                </a:solidFill>
              </a:defRPr>
            </a:lvl1pPr>
          </a:lstStyle>
          <a:p>
            <a:r>
              <a:rPr lang="en-US" dirty="0"/>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3" y="288036"/>
            <a:ext cx="457776" cy="457200"/>
          </a:xfrm>
        </p:spPr>
        <p:txBody>
          <a:bodyPr anchor="ctr"/>
          <a:lstStyle>
            <a:lvl1pPr algn="ctr">
              <a:defRPr sz="800">
                <a:solidFill>
                  <a:schemeClr val="tx1"/>
                </a:solidFill>
              </a:defRPr>
            </a:lvl1pPr>
          </a:lstStyle>
          <a:p>
            <a:r>
              <a:rPr lang="en-US" dirty="0"/>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72465740"/>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dirty="0"/>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p:spPr>
        <p:txBody>
          <a:bodyPr anchor="ctr"/>
          <a:lstStyle>
            <a:lvl1pPr algn="ctr">
              <a:defRPr sz="800"/>
            </a:lvl1pPr>
          </a:lstStyle>
          <a:p>
            <a:r>
              <a:rPr lang="en-US" dirty="0"/>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dirty="0"/>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p:spPr>
        <p:txBody>
          <a:bodyPr anchor="ctr"/>
          <a:lstStyle>
            <a:lvl1pPr algn="ctr">
              <a:defRPr sz="800"/>
            </a:lvl1pPr>
          </a:lstStyle>
          <a:p>
            <a:r>
              <a:rPr lang="en-US" dirty="0"/>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62153698"/>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US" dirty="0"/>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84604169"/>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224028"/>
          </a:xfrm>
        </p:spPr>
        <p:txBody>
          <a:bodyPr/>
          <a:lstStyle>
            <a:lvl1pPr>
              <a:defRPr sz="1400">
                <a:solidFill>
                  <a:schemeClr val="tx2"/>
                </a:solidFill>
              </a:defRPr>
            </a:lvl1pPr>
          </a:lstStyle>
          <a:p>
            <a:pPr lvl="0"/>
            <a:r>
              <a:rPr lang="en-US" dirty="0"/>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10000"/>
              </a:lnSpc>
              <a:defRPr sz="3199">
                <a:solidFill>
                  <a:schemeClr val="tx2"/>
                </a:solidFill>
              </a:defRPr>
            </a:lvl1pPr>
          </a:lstStyle>
          <a:p>
            <a:r>
              <a:rPr lang="en-US" dirty="0"/>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60089911"/>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6"/>
            <a:ext cx="2477765" cy="2286794"/>
          </a:xfrm>
        </p:spPr>
        <p:txBody>
          <a:bodyPr/>
          <a:lstStyle>
            <a:lvl1pPr>
              <a:lnSpc>
                <a:spcPct val="100000"/>
              </a:lnSpc>
              <a:defRPr sz="14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44221973"/>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4787868"/>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7" name="Straight Connector 6" descr="Vertical column divider ">
            <a:extLst>
              <a:ext uri="{FF2B5EF4-FFF2-40B4-BE49-F238E27FC236}">
                <a16:creationId xmlns:a16="http://schemas.microsoft.com/office/drawing/2014/main" id="{1F6D0C9D-C937-48E3-BE84-3DA0D1BC274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8" name="Straight Connector 7" descr="Vertical column divider ">
            <a:extLst>
              <a:ext uri="{FF2B5EF4-FFF2-40B4-BE49-F238E27FC236}">
                <a16:creationId xmlns:a16="http://schemas.microsoft.com/office/drawing/2014/main" id="{0B31714F-DB23-BEBB-75A7-6BFF47AECDDF}"/>
              </a:ext>
            </a:extLst>
          </p:cNvPr>
          <p:cNvCxnSpPr/>
          <p:nvPr userDrawn="1"/>
        </p:nvCxnSpPr>
        <p:spPr bwMode="auto">
          <a:xfrm>
            <a:off x="9146201"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3" name="Straight Connector 2" descr="Horizontal row divider">
            <a:extLst>
              <a:ext uri="{FF2B5EF4-FFF2-40B4-BE49-F238E27FC236}">
                <a16:creationId xmlns:a16="http://schemas.microsoft.com/office/drawing/2014/main" id="{3D492FDB-9D55-98D5-E9DE-229473DD5942}"/>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56205886"/>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en-US" dirty="0"/>
              <a:t>Click to edit Master title style</a:t>
            </a:r>
          </a:p>
        </p:txBody>
      </p:sp>
      <p:cxnSp>
        <p:nvCxnSpPr>
          <p:cNvPr id="24" name="Straight Connector 23" descr="Vertical column divider">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p:spPr>
        <p:txBody>
          <a:bodyPr/>
          <a:lstStyle>
            <a:lvl1pPr>
              <a:defRPr sz="700">
                <a:solidFill>
                  <a:schemeClr val="tx1"/>
                </a:solidFill>
              </a:defRPr>
            </a:lvl1pPr>
          </a:lstStyle>
          <a:p>
            <a:r>
              <a:rPr lang="en-US" dirty="0"/>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dirty="0"/>
              <a:t>Icon</a:t>
            </a:r>
          </a:p>
        </p:txBody>
      </p:sp>
      <p:cxnSp>
        <p:nvCxnSpPr>
          <p:cNvPr id="23" name="Straight Connector 22" descr="Horizontal row divider">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dirty="0"/>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dirty="0"/>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dirty="0"/>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83049855"/>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93774640"/>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67246632"/>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0" cy="1706563"/>
          </a:xfrm>
        </p:spPr>
        <p:txBody>
          <a:bodyPr rIns="0"/>
          <a:lstStyle>
            <a:lvl1pPr>
              <a:lnSpc>
                <a:spcPct val="110000"/>
              </a:lnSpc>
              <a:defRPr sz="1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2"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descr="Horizontal row divider">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descr="Vertical column divider">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descr="Vertical column divider">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descr="Vertical column divider">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60973859"/>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3025358572"/>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dirty="0"/>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969147607"/>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6"/>
            <a:ext cx="8574559" cy="6289675"/>
          </a:xfrm>
          <a:solidFill>
            <a:srgbClr val="E0E0E0"/>
          </a:solidFill>
        </p:spPr>
        <p:txBody>
          <a:bodyPr anchor="ctr"/>
          <a:lstStyle>
            <a:lvl1pPr algn="ctr">
              <a:defRPr>
                <a:solidFill>
                  <a:schemeClr val="accent5"/>
                </a:solidFill>
              </a:defRPr>
            </a:lvl1pPr>
          </a:lstStyle>
          <a:p>
            <a:r>
              <a:rPr lang="en-US" dirty="0"/>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3301068272"/>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dirty="0"/>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2448824650"/>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060560912"/>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45317772"/>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36354532"/>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43046642"/>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192600"/>
            <a:ext cx="8569797" cy="4095750"/>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424461406"/>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52717306"/>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p>
            <a:endParaRPr lang="en-US" dirty="0"/>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18784371"/>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2321098805"/>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1803363922"/>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dirty="0">
              <a:ln>
                <a:noFill/>
              </a:ln>
              <a:solidFill>
                <a:schemeClr val="bg1"/>
              </a:solidFill>
              <a:effectLst/>
              <a:latin typeface="+mn-lt"/>
            </a:endParaRPr>
          </a:p>
        </p:txBody>
      </p:sp>
      <p:sp>
        <p:nvSpPr>
          <p:cNvPr id="7" name="Title 1">
            <a:extLst>
              <a:ext uri="{FF2B5EF4-FFF2-40B4-BE49-F238E27FC236}">
                <a16:creationId xmlns:a16="http://schemas.microsoft.com/office/drawing/2014/main" id="{184617A5-E44D-86DD-8C8E-5D85DFCA435B}"/>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727932148"/>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CC25B71-827F-9C78-56BA-F30A6070AC9F}"/>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997000757"/>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6AD06EA-1AAE-9258-F68E-D0D307454A33}"/>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2392961908"/>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2895645298"/>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1693485715"/>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endParaRPr lang="en-US" dirty="0"/>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18680275"/>
      </p:ext>
    </p:extLst>
  </p:cSld>
  <p:clrMapOvr>
    <a:masterClrMapping/>
  </p:clrMapOvr>
  <p:transition spd="med"/>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26" Type="http://schemas.openxmlformats.org/officeDocument/2006/relationships/slideLayout" Target="../slideLayouts/slideLayout367.xml"/><Relationship Id="rId39" Type="http://schemas.openxmlformats.org/officeDocument/2006/relationships/slideLayout" Target="../slideLayouts/slideLayout380.xml"/><Relationship Id="rId21" Type="http://schemas.openxmlformats.org/officeDocument/2006/relationships/slideLayout" Target="../slideLayouts/slideLayout362.xml"/><Relationship Id="rId34" Type="http://schemas.openxmlformats.org/officeDocument/2006/relationships/slideLayout" Target="../slideLayouts/slideLayout375.xml"/><Relationship Id="rId42" Type="http://schemas.openxmlformats.org/officeDocument/2006/relationships/slideLayout" Target="../slideLayouts/slideLayout383.xml"/><Relationship Id="rId47" Type="http://schemas.openxmlformats.org/officeDocument/2006/relationships/theme" Target="../theme/theme10.xml"/><Relationship Id="rId7" Type="http://schemas.openxmlformats.org/officeDocument/2006/relationships/slideLayout" Target="../slideLayouts/slideLayout348.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29" Type="http://schemas.openxmlformats.org/officeDocument/2006/relationships/slideLayout" Target="../slideLayouts/slideLayout370.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24" Type="http://schemas.openxmlformats.org/officeDocument/2006/relationships/slideLayout" Target="../slideLayouts/slideLayout365.xml"/><Relationship Id="rId32" Type="http://schemas.openxmlformats.org/officeDocument/2006/relationships/slideLayout" Target="../slideLayouts/slideLayout373.xml"/><Relationship Id="rId37" Type="http://schemas.openxmlformats.org/officeDocument/2006/relationships/slideLayout" Target="../slideLayouts/slideLayout378.xml"/><Relationship Id="rId40" Type="http://schemas.openxmlformats.org/officeDocument/2006/relationships/slideLayout" Target="../slideLayouts/slideLayout381.xml"/><Relationship Id="rId45" Type="http://schemas.openxmlformats.org/officeDocument/2006/relationships/slideLayout" Target="../slideLayouts/slideLayout386.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23" Type="http://schemas.openxmlformats.org/officeDocument/2006/relationships/slideLayout" Target="../slideLayouts/slideLayout364.xml"/><Relationship Id="rId28" Type="http://schemas.openxmlformats.org/officeDocument/2006/relationships/slideLayout" Target="../slideLayouts/slideLayout369.xml"/><Relationship Id="rId36" Type="http://schemas.openxmlformats.org/officeDocument/2006/relationships/slideLayout" Target="../slideLayouts/slideLayout377.xml"/><Relationship Id="rId10" Type="http://schemas.openxmlformats.org/officeDocument/2006/relationships/slideLayout" Target="../slideLayouts/slideLayout351.xml"/><Relationship Id="rId19" Type="http://schemas.openxmlformats.org/officeDocument/2006/relationships/slideLayout" Target="../slideLayouts/slideLayout360.xml"/><Relationship Id="rId31" Type="http://schemas.openxmlformats.org/officeDocument/2006/relationships/slideLayout" Target="../slideLayouts/slideLayout372.xml"/><Relationship Id="rId44" Type="http://schemas.openxmlformats.org/officeDocument/2006/relationships/slideLayout" Target="../slideLayouts/slideLayout385.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 Id="rId22" Type="http://schemas.openxmlformats.org/officeDocument/2006/relationships/slideLayout" Target="../slideLayouts/slideLayout363.xml"/><Relationship Id="rId27" Type="http://schemas.openxmlformats.org/officeDocument/2006/relationships/slideLayout" Target="../slideLayouts/slideLayout368.xml"/><Relationship Id="rId30" Type="http://schemas.openxmlformats.org/officeDocument/2006/relationships/slideLayout" Target="../slideLayouts/slideLayout371.xml"/><Relationship Id="rId35" Type="http://schemas.openxmlformats.org/officeDocument/2006/relationships/slideLayout" Target="../slideLayouts/slideLayout376.xml"/><Relationship Id="rId43" Type="http://schemas.openxmlformats.org/officeDocument/2006/relationships/slideLayout" Target="../slideLayouts/slideLayout384.xml"/><Relationship Id="rId8" Type="http://schemas.openxmlformats.org/officeDocument/2006/relationships/slideLayout" Target="../slideLayouts/slideLayout349.xml"/><Relationship Id="rId3" Type="http://schemas.openxmlformats.org/officeDocument/2006/relationships/slideLayout" Target="../slideLayouts/slideLayout344.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5" Type="http://schemas.openxmlformats.org/officeDocument/2006/relationships/slideLayout" Target="../slideLayouts/slideLayout366.xml"/><Relationship Id="rId33" Type="http://schemas.openxmlformats.org/officeDocument/2006/relationships/slideLayout" Target="../slideLayouts/slideLayout374.xml"/><Relationship Id="rId38" Type="http://schemas.openxmlformats.org/officeDocument/2006/relationships/slideLayout" Target="../slideLayouts/slideLayout379.xml"/><Relationship Id="rId46" Type="http://schemas.openxmlformats.org/officeDocument/2006/relationships/slideLayout" Target="../slideLayouts/slideLayout387.xml"/><Relationship Id="rId20" Type="http://schemas.openxmlformats.org/officeDocument/2006/relationships/slideLayout" Target="../slideLayouts/slideLayout361.xml"/><Relationship Id="rId41" Type="http://schemas.openxmlformats.org/officeDocument/2006/relationships/slideLayout" Target="../slideLayouts/slideLayout38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400.xml"/><Relationship Id="rId18" Type="http://schemas.openxmlformats.org/officeDocument/2006/relationships/slideLayout" Target="../slideLayouts/slideLayout405.xml"/><Relationship Id="rId26" Type="http://schemas.openxmlformats.org/officeDocument/2006/relationships/slideLayout" Target="../slideLayouts/slideLayout413.xml"/><Relationship Id="rId39" Type="http://schemas.openxmlformats.org/officeDocument/2006/relationships/slideLayout" Target="../slideLayouts/slideLayout426.xml"/><Relationship Id="rId21" Type="http://schemas.openxmlformats.org/officeDocument/2006/relationships/slideLayout" Target="../slideLayouts/slideLayout408.xml"/><Relationship Id="rId34" Type="http://schemas.openxmlformats.org/officeDocument/2006/relationships/slideLayout" Target="../slideLayouts/slideLayout421.xml"/><Relationship Id="rId42" Type="http://schemas.openxmlformats.org/officeDocument/2006/relationships/slideLayout" Target="../slideLayouts/slideLayout429.xml"/><Relationship Id="rId47" Type="http://schemas.openxmlformats.org/officeDocument/2006/relationships/slideLayout" Target="../slideLayouts/slideLayout434.xml"/><Relationship Id="rId50" Type="http://schemas.openxmlformats.org/officeDocument/2006/relationships/theme" Target="../theme/theme11.xml"/><Relationship Id="rId7" Type="http://schemas.openxmlformats.org/officeDocument/2006/relationships/slideLayout" Target="../slideLayouts/slideLayout394.xml"/><Relationship Id="rId2" Type="http://schemas.openxmlformats.org/officeDocument/2006/relationships/slideLayout" Target="../slideLayouts/slideLayout389.xml"/><Relationship Id="rId16" Type="http://schemas.openxmlformats.org/officeDocument/2006/relationships/slideLayout" Target="../slideLayouts/slideLayout403.xml"/><Relationship Id="rId29" Type="http://schemas.openxmlformats.org/officeDocument/2006/relationships/slideLayout" Target="../slideLayouts/slideLayout416.xml"/><Relationship Id="rId11" Type="http://schemas.openxmlformats.org/officeDocument/2006/relationships/slideLayout" Target="../slideLayouts/slideLayout398.xml"/><Relationship Id="rId24" Type="http://schemas.openxmlformats.org/officeDocument/2006/relationships/slideLayout" Target="../slideLayouts/slideLayout411.xml"/><Relationship Id="rId32" Type="http://schemas.openxmlformats.org/officeDocument/2006/relationships/slideLayout" Target="../slideLayouts/slideLayout419.xml"/><Relationship Id="rId37" Type="http://schemas.openxmlformats.org/officeDocument/2006/relationships/slideLayout" Target="../slideLayouts/slideLayout424.xml"/><Relationship Id="rId40" Type="http://schemas.openxmlformats.org/officeDocument/2006/relationships/slideLayout" Target="../slideLayouts/slideLayout427.xml"/><Relationship Id="rId45" Type="http://schemas.openxmlformats.org/officeDocument/2006/relationships/slideLayout" Target="../slideLayouts/slideLayout432.xml"/><Relationship Id="rId5" Type="http://schemas.openxmlformats.org/officeDocument/2006/relationships/slideLayout" Target="../slideLayouts/slideLayout392.xml"/><Relationship Id="rId15" Type="http://schemas.openxmlformats.org/officeDocument/2006/relationships/slideLayout" Target="../slideLayouts/slideLayout402.xml"/><Relationship Id="rId23" Type="http://schemas.openxmlformats.org/officeDocument/2006/relationships/slideLayout" Target="../slideLayouts/slideLayout410.xml"/><Relationship Id="rId28" Type="http://schemas.openxmlformats.org/officeDocument/2006/relationships/slideLayout" Target="../slideLayouts/slideLayout415.xml"/><Relationship Id="rId36" Type="http://schemas.openxmlformats.org/officeDocument/2006/relationships/slideLayout" Target="../slideLayouts/slideLayout423.xml"/><Relationship Id="rId49" Type="http://schemas.openxmlformats.org/officeDocument/2006/relationships/slideLayout" Target="../slideLayouts/slideLayout436.xml"/><Relationship Id="rId10" Type="http://schemas.openxmlformats.org/officeDocument/2006/relationships/slideLayout" Target="../slideLayouts/slideLayout397.xml"/><Relationship Id="rId19" Type="http://schemas.openxmlformats.org/officeDocument/2006/relationships/slideLayout" Target="../slideLayouts/slideLayout406.xml"/><Relationship Id="rId31" Type="http://schemas.openxmlformats.org/officeDocument/2006/relationships/slideLayout" Target="../slideLayouts/slideLayout418.xml"/><Relationship Id="rId44" Type="http://schemas.openxmlformats.org/officeDocument/2006/relationships/slideLayout" Target="../slideLayouts/slideLayout431.xml"/><Relationship Id="rId4" Type="http://schemas.openxmlformats.org/officeDocument/2006/relationships/slideLayout" Target="../slideLayouts/slideLayout391.xml"/><Relationship Id="rId9" Type="http://schemas.openxmlformats.org/officeDocument/2006/relationships/slideLayout" Target="../slideLayouts/slideLayout396.xml"/><Relationship Id="rId14" Type="http://schemas.openxmlformats.org/officeDocument/2006/relationships/slideLayout" Target="../slideLayouts/slideLayout401.xml"/><Relationship Id="rId22" Type="http://schemas.openxmlformats.org/officeDocument/2006/relationships/slideLayout" Target="../slideLayouts/slideLayout409.xml"/><Relationship Id="rId27" Type="http://schemas.openxmlformats.org/officeDocument/2006/relationships/slideLayout" Target="../slideLayouts/slideLayout414.xml"/><Relationship Id="rId30" Type="http://schemas.openxmlformats.org/officeDocument/2006/relationships/slideLayout" Target="../slideLayouts/slideLayout417.xml"/><Relationship Id="rId35" Type="http://schemas.openxmlformats.org/officeDocument/2006/relationships/slideLayout" Target="../slideLayouts/slideLayout422.xml"/><Relationship Id="rId43" Type="http://schemas.openxmlformats.org/officeDocument/2006/relationships/slideLayout" Target="../slideLayouts/slideLayout430.xml"/><Relationship Id="rId48" Type="http://schemas.openxmlformats.org/officeDocument/2006/relationships/slideLayout" Target="../slideLayouts/slideLayout435.xml"/><Relationship Id="rId8" Type="http://schemas.openxmlformats.org/officeDocument/2006/relationships/slideLayout" Target="../slideLayouts/slideLayout395.xml"/><Relationship Id="rId3" Type="http://schemas.openxmlformats.org/officeDocument/2006/relationships/slideLayout" Target="../slideLayouts/slideLayout390.xml"/><Relationship Id="rId12" Type="http://schemas.openxmlformats.org/officeDocument/2006/relationships/slideLayout" Target="../slideLayouts/slideLayout399.xml"/><Relationship Id="rId17" Type="http://schemas.openxmlformats.org/officeDocument/2006/relationships/slideLayout" Target="../slideLayouts/slideLayout404.xml"/><Relationship Id="rId25" Type="http://schemas.openxmlformats.org/officeDocument/2006/relationships/slideLayout" Target="../slideLayouts/slideLayout412.xml"/><Relationship Id="rId33" Type="http://schemas.openxmlformats.org/officeDocument/2006/relationships/slideLayout" Target="../slideLayouts/slideLayout420.xml"/><Relationship Id="rId38" Type="http://schemas.openxmlformats.org/officeDocument/2006/relationships/slideLayout" Target="../slideLayouts/slideLayout425.xml"/><Relationship Id="rId46" Type="http://schemas.openxmlformats.org/officeDocument/2006/relationships/slideLayout" Target="../slideLayouts/slideLayout433.xml"/><Relationship Id="rId20" Type="http://schemas.openxmlformats.org/officeDocument/2006/relationships/slideLayout" Target="../slideLayouts/slideLayout407.xml"/><Relationship Id="rId41" Type="http://schemas.openxmlformats.org/officeDocument/2006/relationships/slideLayout" Target="../slideLayouts/slideLayout428.xml"/><Relationship Id="rId1" Type="http://schemas.openxmlformats.org/officeDocument/2006/relationships/slideLayout" Target="../slideLayouts/slideLayout388.xml"/><Relationship Id="rId6" Type="http://schemas.openxmlformats.org/officeDocument/2006/relationships/slideLayout" Target="../slideLayouts/slideLayout39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slideLayout" Target="../slideLayouts/slideLayout88.xml"/><Relationship Id="rId47" Type="http://schemas.openxmlformats.org/officeDocument/2006/relationships/theme" Target="../theme/theme2.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45" Type="http://schemas.openxmlformats.org/officeDocument/2006/relationships/slideLayout" Target="../slideLayouts/slideLayout91.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4" Type="http://schemas.openxmlformats.org/officeDocument/2006/relationships/slideLayout" Target="../slideLayouts/slideLayout90.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slideLayout" Target="../slideLayouts/slideLayout89.xml"/><Relationship Id="rId8" Type="http://schemas.openxmlformats.org/officeDocument/2006/relationships/slideLayout" Target="../slideLayouts/slideLayout54.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46" Type="http://schemas.openxmlformats.org/officeDocument/2006/relationships/slideLayout" Target="../slideLayouts/slideLayout92.xml"/><Relationship Id="rId20" Type="http://schemas.openxmlformats.org/officeDocument/2006/relationships/slideLayout" Target="../slideLayouts/slideLayout66.xml"/><Relationship Id="rId41" Type="http://schemas.openxmlformats.org/officeDocument/2006/relationships/slideLayout" Target="../slideLayouts/slideLayout8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9" Type="http://schemas.openxmlformats.org/officeDocument/2006/relationships/slideLayout" Target="../slideLayouts/slideLayout131.xml"/><Relationship Id="rId21" Type="http://schemas.openxmlformats.org/officeDocument/2006/relationships/slideLayout" Target="../slideLayouts/slideLayout113.xml"/><Relationship Id="rId34" Type="http://schemas.openxmlformats.org/officeDocument/2006/relationships/slideLayout" Target="../slideLayouts/slideLayout126.xml"/><Relationship Id="rId42" Type="http://schemas.openxmlformats.org/officeDocument/2006/relationships/slideLayout" Target="../slideLayouts/slideLayout134.xml"/><Relationship Id="rId47" Type="http://schemas.openxmlformats.org/officeDocument/2006/relationships/theme" Target="../theme/theme3.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37" Type="http://schemas.openxmlformats.org/officeDocument/2006/relationships/slideLayout" Target="../slideLayouts/slideLayout129.xml"/><Relationship Id="rId40" Type="http://schemas.openxmlformats.org/officeDocument/2006/relationships/slideLayout" Target="../slideLayouts/slideLayout132.xml"/><Relationship Id="rId45" Type="http://schemas.openxmlformats.org/officeDocument/2006/relationships/slideLayout" Target="../slideLayouts/slideLayout137.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36" Type="http://schemas.openxmlformats.org/officeDocument/2006/relationships/slideLayout" Target="../slideLayouts/slideLayout128.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slideLayout" Target="../slideLayouts/slideLayout123.xml"/><Relationship Id="rId44" Type="http://schemas.openxmlformats.org/officeDocument/2006/relationships/slideLayout" Target="../slideLayouts/slideLayout136.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slideLayout" Target="../slideLayouts/slideLayout127.xml"/><Relationship Id="rId43" Type="http://schemas.openxmlformats.org/officeDocument/2006/relationships/slideLayout" Target="../slideLayouts/slideLayout135.xml"/><Relationship Id="rId8" Type="http://schemas.openxmlformats.org/officeDocument/2006/relationships/slideLayout" Target="../slideLayouts/slideLayout100.xml"/><Relationship Id="rId3" Type="http://schemas.openxmlformats.org/officeDocument/2006/relationships/slideLayout" Target="../slideLayouts/slideLayout95.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slideLayout" Target="../slideLayouts/slideLayout125.xml"/><Relationship Id="rId38" Type="http://schemas.openxmlformats.org/officeDocument/2006/relationships/slideLayout" Target="../slideLayouts/slideLayout130.xml"/><Relationship Id="rId46" Type="http://schemas.openxmlformats.org/officeDocument/2006/relationships/slideLayout" Target="../slideLayouts/slideLayout138.xml"/><Relationship Id="rId20" Type="http://schemas.openxmlformats.org/officeDocument/2006/relationships/slideLayout" Target="../slideLayouts/slideLayout112.xml"/><Relationship Id="rId41" Type="http://schemas.openxmlformats.org/officeDocument/2006/relationships/slideLayout" Target="../slideLayouts/slideLayout13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9" Type="http://schemas.openxmlformats.org/officeDocument/2006/relationships/slideLayout" Target="../slideLayouts/slideLayout177.xml"/><Relationship Id="rId21" Type="http://schemas.openxmlformats.org/officeDocument/2006/relationships/slideLayout" Target="../slideLayouts/slideLayout159.xml"/><Relationship Id="rId34" Type="http://schemas.openxmlformats.org/officeDocument/2006/relationships/slideLayout" Target="../slideLayouts/slideLayout172.xml"/><Relationship Id="rId42" Type="http://schemas.openxmlformats.org/officeDocument/2006/relationships/slideLayout" Target="../slideLayouts/slideLayout180.xml"/><Relationship Id="rId7" Type="http://schemas.openxmlformats.org/officeDocument/2006/relationships/slideLayout" Target="../slideLayouts/slideLayout14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9" Type="http://schemas.openxmlformats.org/officeDocument/2006/relationships/slideLayout" Target="../slideLayouts/slideLayout167.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45" Type="http://schemas.openxmlformats.org/officeDocument/2006/relationships/slideLayout" Target="../slideLayouts/slideLayout183.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slideLayout" Target="../slideLayouts/slideLayout169.xml"/><Relationship Id="rId44" Type="http://schemas.openxmlformats.org/officeDocument/2006/relationships/slideLayout" Target="../slideLayouts/slideLayout182.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 Id="rId43" Type="http://schemas.openxmlformats.org/officeDocument/2006/relationships/slideLayout" Target="../slideLayouts/slideLayout181.xml"/><Relationship Id="rId8" Type="http://schemas.openxmlformats.org/officeDocument/2006/relationships/slideLayout" Target="../slideLayouts/slideLayout146.xml"/><Relationship Id="rId3" Type="http://schemas.openxmlformats.org/officeDocument/2006/relationships/slideLayout" Target="../slideLayouts/slideLayout141.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46" Type="http://schemas.openxmlformats.org/officeDocument/2006/relationships/theme" Target="../theme/theme4.xml"/><Relationship Id="rId20" Type="http://schemas.openxmlformats.org/officeDocument/2006/relationships/slideLayout" Target="../slideLayouts/slideLayout158.xml"/><Relationship Id="rId41" Type="http://schemas.openxmlformats.org/officeDocument/2006/relationships/slideLayout" Target="../slideLayouts/slideLayout17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oleObject" Target="../embeddings/oleObject1.bin"/><Relationship Id="rId3" Type="http://schemas.openxmlformats.org/officeDocument/2006/relationships/slideLayout" Target="../slideLayouts/slideLayout186.xml"/><Relationship Id="rId7" Type="http://schemas.openxmlformats.org/officeDocument/2006/relationships/slideLayout" Target="../slideLayouts/slideLayout190.xml"/><Relationship Id="rId12" Type="http://schemas.openxmlformats.org/officeDocument/2006/relationships/tags" Target="../tags/tag1.xml"/><Relationship Id="rId2" Type="http://schemas.openxmlformats.org/officeDocument/2006/relationships/slideLayout" Target="../slideLayouts/slideLayout185.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theme" Target="../theme/theme5.xml"/><Relationship Id="rId5" Type="http://schemas.openxmlformats.org/officeDocument/2006/relationships/slideLayout" Target="../slideLayouts/slideLayout188.xml"/><Relationship Id="rId10" Type="http://schemas.openxmlformats.org/officeDocument/2006/relationships/slideLayout" Target="../slideLayouts/slideLayout193.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image" Target="../media/image17.emf"/></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26" Type="http://schemas.openxmlformats.org/officeDocument/2006/relationships/slideLayout" Target="../slideLayouts/slideLayout219.xml"/><Relationship Id="rId39" Type="http://schemas.openxmlformats.org/officeDocument/2006/relationships/slideLayout" Target="../slideLayouts/slideLayout232.xml"/><Relationship Id="rId21" Type="http://schemas.openxmlformats.org/officeDocument/2006/relationships/slideLayout" Target="../slideLayouts/slideLayout214.xml"/><Relationship Id="rId34" Type="http://schemas.openxmlformats.org/officeDocument/2006/relationships/slideLayout" Target="../slideLayouts/slideLayout227.xml"/><Relationship Id="rId42" Type="http://schemas.openxmlformats.org/officeDocument/2006/relationships/slideLayout" Target="../slideLayouts/slideLayout235.xml"/><Relationship Id="rId47" Type="http://schemas.openxmlformats.org/officeDocument/2006/relationships/slideLayout" Target="../slideLayouts/slideLayout240.xml"/><Relationship Id="rId50" Type="http://schemas.openxmlformats.org/officeDocument/2006/relationships/theme" Target="../theme/theme6.xml"/><Relationship Id="rId7" Type="http://schemas.openxmlformats.org/officeDocument/2006/relationships/slideLayout" Target="../slideLayouts/slideLayout200.xml"/><Relationship Id="rId2" Type="http://schemas.openxmlformats.org/officeDocument/2006/relationships/slideLayout" Target="../slideLayouts/slideLayout195.xml"/><Relationship Id="rId16" Type="http://schemas.openxmlformats.org/officeDocument/2006/relationships/slideLayout" Target="../slideLayouts/slideLayout209.xml"/><Relationship Id="rId29" Type="http://schemas.openxmlformats.org/officeDocument/2006/relationships/slideLayout" Target="../slideLayouts/slideLayout222.xml"/><Relationship Id="rId11" Type="http://schemas.openxmlformats.org/officeDocument/2006/relationships/slideLayout" Target="../slideLayouts/slideLayout204.xml"/><Relationship Id="rId24" Type="http://schemas.openxmlformats.org/officeDocument/2006/relationships/slideLayout" Target="../slideLayouts/slideLayout217.xml"/><Relationship Id="rId32" Type="http://schemas.openxmlformats.org/officeDocument/2006/relationships/slideLayout" Target="../slideLayouts/slideLayout225.xml"/><Relationship Id="rId37" Type="http://schemas.openxmlformats.org/officeDocument/2006/relationships/slideLayout" Target="../slideLayouts/slideLayout230.xml"/><Relationship Id="rId40" Type="http://schemas.openxmlformats.org/officeDocument/2006/relationships/slideLayout" Target="../slideLayouts/slideLayout233.xml"/><Relationship Id="rId45" Type="http://schemas.openxmlformats.org/officeDocument/2006/relationships/slideLayout" Target="../slideLayouts/slideLayout238.xml"/><Relationship Id="rId5" Type="http://schemas.openxmlformats.org/officeDocument/2006/relationships/slideLayout" Target="../slideLayouts/slideLayout198.xml"/><Relationship Id="rId15" Type="http://schemas.openxmlformats.org/officeDocument/2006/relationships/slideLayout" Target="../slideLayouts/slideLayout208.xml"/><Relationship Id="rId23" Type="http://schemas.openxmlformats.org/officeDocument/2006/relationships/slideLayout" Target="../slideLayouts/slideLayout216.xml"/><Relationship Id="rId28" Type="http://schemas.openxmlformats.org/officeDocument/2006/relationships/slideLayout" Target="../slideLayouts/slideLayout221.xml"/><Relationship Id="rId36" Type="http://schemas.openxmlformats.org/officeDocument/2006/relationships/slideLayout" Target="../slideLayouts/slideLayout229.xml"/><Relationship Id="rId49" Type="http://schemas.openxmlformats.org/officeDocument/2006/relationships/slideLayout" Target="../slideLayouts/slideLayout242.xml"/><Relationship Id="rId10" Type="http://schemas.openxmlformats.org/officeDocument/2006/relationships/slideLayout" Target="../slideLayouts/slideLayout203.xml"/><Relationship Id="rId19" Type="http://schemas.openxmlformats.org/officeDocument/2006/relationships/slideLayout" Target="../slideLayouts/slideLayout212.xml"/><Relationship Id="rId31" Type="http://schemas.openxmlformats.org/officeDocument/2006/relationships/slideLayout" Target="../slideLayouts/slideLayout224.xml"/><Relationship Id="rId44" Type="http://schemas.openxmlformats.org/officeDocument/2006/relationships/slideLayout" Target="../slideLayouts/slideLayout237.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 Id="rId22" Type="http://schemas.openxmlformats.org/officeDocument/2006/relationships/slideLayout" Target="../slideLayouts/slideLayout215.xml"/><Relationship Id="rId27" Type="http://schemas.openxmlformats.org/officeDocument/2006/relationships/slideLayout" Target="../slideLayouts/slideLayout220.xml"/><Relationship Id="rId30" Type="http://schemas.openxmlformats.org/officeDocument/2006/relationships/slideLayout" Target="../slideLayouts/slideLayout223.xml"/><Relationship Id="rId35" Type="http://schemas.openxmlformats.org/officeDocument/2006/relationships/slideLayout" Target="../slideLayouts/slideLayout228.xml"/><Relationship Id="rId43" Type="http://schemas.openxmlformats.org/officeDocument/2006/relationships/slideLayout" Target="../slideLayouts/slideLayout236.xml"/><Relationship Id="rId48" Type="http://schemas.openxmlformats.org/officeDocument/2006/relationships/slideLayout" Target="../slideLayouts/slideLayout241.xml"/><Relationship Id="rId8" Type="http://schemas.openxmlformats.org/officeDocument/2006/relationships/slideLayout" Target="../slideLayouts/slideLayout201.xml"/><Relationship Id="rId3" Type="http://schemas.openxmlformats.org/officeDocument/2006/relationships/slideLayout" Target="../slideLayouts/slideLayout196.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5" Type="http://schemas.openxmlformats.org/officeDocument/2006/relationships/slideLayout" Target="../slideLayouts/slideLayout218.xml"/><Relationship Id="rId33" Type="http://schemas.openxmlformats.org/officeDocument/2006/relationships/slideLayout" Target="../slideLayouts/slideLayout226.xml"/><Relationship Id="rId38" Type="http://schemas.openxmlformats.org/officeDocument/2006/relationships/slideLayout" Target="../slideLayouts/slideLayout231.xml"/><Relationship Id="rId46" Type="http://schemas.openxmlformats.org/officeDocument/2006/relationships/slideLayout" Target="../slideLayouts/slideLayout239.xml"/><Relationship Id="rId20" Type="http://schemas.openxmlformats.org/officeDocument/2006/relationships/slideLayout" Target="../slideLayouts/slideLayout213.xml"/><Relationship Id="rId41" Type="http://schemas.openxmlformats.org/officeDocument/2006/relationships/slideLayout" Target="../slideLayouts/slideLayout234.xml"/><Relationship Id="rId1" Type="http://schemas.openxmlformats.org/officeDocument/2006/relationships/slideLayout" Target="../slideLayouts/slideLayout194.xml"/><Relationship Id="rId6" Type="http://schemas.openxmlformats.org/officeDocument/2006/relationships/slideLayout" Target="../slideLayouts/slideLayout199.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245.xml"/><Relationship Id="rId7" Type="http://schemas.openxmlformats.org/officeDocument/2006/relationships/theme" Target="../theme/theme7.xml"/><Relationship Id="rId2" Type="http://schemas.openxmlformats.org/officeDocument/2006/relationships/slideLayout" Target="../slideLayouts/slideLayout244.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5" Type="http://schemas.openxmlformats.org/officeDocument/2006/relationships/slideLayout" Target="../slideLayouts/slideLayout247.xml"/><Relationship Id="rId4" Type="http://schemas.openxmlformats.org/officeDocument/2006/relationships/slideLayout" Target="../slideLayouts/slideLayout246.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26" Type="http://schemas.openxmlformats.org/officeDocument/2006/relationships/slideLayout" Target="../slideLayouts/slideLayout274.xml"/><Relationship Id="rId39" Type="http://schemas.openxmlformats.org/officeDocument/2006/relationships/slideLayout" Target="../slideLayouts/slideLayout287.xml"/><Relationship Id="rId21" Type="http://schemas.openxmlformats.org/officeDocument/2006/relationships/slideLayout" Target="../slideLayouts/slideLayout269.xml"/><Relationship Id="rId34" Type="http://schemas.openxmlformats.org/officeDocument/2006/relationships/slideLayout" Target="../slideLayouts/slideLayout282.xml"/><Relationship Id="rId42" Type="http://schemas.openxmlformats.org/officeDocument/2006/relationships/slideLayout" Target="../slideLayouts/slideLayout290.xml"/><Relationship Id="rId7" Type="http://schemas.openxmlformats.org/officeDocument/2006/relationships/slideLayout" Target="../slideLayouts/slideLayout255.xml"/><Relationship Id="rId2" Type="http://schemas.openxmlformats.org/officeDocument/2006/relationships/slideLayout" Target="../slideLayouts/slideLayout250.xml"/><Relationship Id="rId16" Type="http://schemas.openxmlformats.org/officeDocument/2006/relationships/slideLayout" Target="../slideLayouts/slideLayout264.xml"/><Relationship Id="rId29" Type="http://schemas.openxmlformats.org/officeDocument/2006/relationships/slideLayout" Target="../slideLayouts/slideLayout277.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24" Type="http://schemas.openxmlformats.org/officeDocument/2006/relationships/slideLayout" Target="../slideLayouts/slideLayout272.xml"/><Relationship Id="rId32" Type="http://schemas.openxmlformats.org/officeDocument/2006/relationships/slideLayout" Target="../slideLayouts/slideLayout280.xml"/><Relationship Id="rId37" Type="http://schemas.openxmlformats.org/officeDocument/2006/relationships/slideLayout" Target="../slideLayouts/slideLayout285.xml"/><Relationship Id="rId40" Type="http://schemas.openxmlformats.org/officeDocument/2006/relationships/slideLayout" Target="../slideLayouts/slideLayout288.xml"/><Relationship Id="rId45" Type="http://schemas.openxmlformats.org/officeDocument/2006/relationships/theme" Target="../theme/theme8.xml"/><Relationship Id="rId5" Type="http://schemas.openxmlformats.org/officeDocument/2006/relationships/slideLayout" Target="../slideLayouts/slideLayout253.xml"/><Relationship Id="rId15" Type="http://schemas.openxmlformats.org/officeDocument/2006/relationships/slideLayout" Target="../slideLayouts/slideLayout263.xml"/><Relationship Id="rId23" Type="http://schemas.openxmlformats.org/officeDocument/2006/relationships/slideLayout" Target="../slideLayouts/slideLayout271.xml"/><Relationship Id="rId28" Type="http://schemas.openxmlformats.org/officeDocument/2006/relationships/slideLayout" Target="../slideLayouts/slideLayout276.xml"/><Relationship Id="rId36" Type="http://schemas.openxmlformats.org/officeDocument/2006/relationships/slideLayout" Target="../slideLayouts/slideLayout284.xml"/><Relationship Id="rId10" Type="http://schemas.openxmlformats.org/officeDocument/2006/relationships/slideLayout" Target="../slideLayouts/slideLayout258.xml"/><Relationship Id="rId19" Type="http://schemas.openxmlformats.org/officeDocument/2006/relationships/slideLayout" Target="../slideLayouts/slideLayout267.xml"/><Relationship Id="rId31" Type="http://schemas.openxmlformats.org/officeDocument/2006/relationships/slideLayout" Target="../slideLayouts/slideLayout279.xml"/><Relationship Id="rId44" Type="http://schemas.openxmlformats.org/officeDocument/2006/relationships/slideLayout" Target="../slideLayouts/slideLayout292.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 Id="rId22" Type="http://schemas.openxmlformats.org/officeDocument/2006/relationships/slideLayout" Target="../slideLayouts/slideLayout270.xml"/><Relationship Id="rId27" Type="http://schemas.openxmlformats.org/officeDocument/2006/relationships/slideLayout" Target="../slideLayouts/slideLayout275.xml"/><Relationship Id="rId30" Type="http://schemas.openxmlformats.org/officeDocument/2006/relationships/slideLayout" Target="../slideLayouts/slideLayout278.xml"/><Relationship Id="rId35" Type="http://schemas.openxmlformats.org/officeDocument/2006/relationships/slideLayout" Target="../slideLayouts/slideLayout283.xml"/><Relationship Id="rId43" Type="http://schemas.openxmlformats.org/officeDocument/2006/relationships/slideLayout" Target="../slideLayouts/slideLayout291.xml"/><Relationship Id="rId8" Type="http://schemas.openxmlformats.org/officeDocument/2006/relationships/slideLayout" Target="../slideLayouts/slideLayout256.xml"/><Relationship Id="rId3" Type="http://schemas.openxmlformats.org/officeDocument/2006/relationships/slideLayout" Target="../slideLayouts/slideLayout251.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5" Type="http://schemas.openxmlformats.org/officeDocument/2006/relationships/slideLayout" Target="../slideLayouts/slideLayout273.xml"/><Relationship Id="rId33" Type="http://schemas.openxmlformats.org/officeDocument/2006/relationships/slideLayout" Target="../slideLayouts/slideLayout281.xml"/><Relationship Id="rId38" Type="http://schemas.openxmlformats.org/officeDocument/2006/relationships/slideLayout" Target="../slideLayouts/slideLayout286.xml"/><Relationship Id="rId20" Type="http://schemas.openxmlformats.org/officeDocument/2006/relationships/slideLayout" Target="../slideLayouts/slideLayout268.xml"/><Relationship Id="rId41" Type="http://schemas.openxmlformats.org/officeDocument/2006/relationships/slideLayout" Target="../slideLayouts/slideLayout28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26" Type="http://schemas.openxmlformats.org/officeDocument/2006/relationships/slideLayout" Target="../slideLayouts/slideLayout318.xml"/><Relationship Id="rId39" Type="http://schemas.openxmlformats.org/officeDocument/2006/relationships/slideLayout" Target="../slideLayouts/slideLayout331.xml"/><Relationship Id="rId21" Type="http://schemas.openxmlformats.org/officeDocument/2006/relationships/slideLayout" Target="../slideLayouts/slideLayout313.xml"/><Relationship Id="rId34" Type="http://schemas.openxmlformats.org/officeDocument/2006/relationships/slideLayout" Target="../slideLayouts/slideLayout326.xml"/><Relationship Id="rId42" Type="http://schemas.openxmlformats.org/officeDocument/2006/relationships/slideLayout" Target="../slideLayouts/slideLayout334.xml"/><Relationship Id="rId47" Type="http://schemas.openxmlformats.org/officeDocument/2006/relationships/slideLayout" Target="../slideLayouts/slideLayout339.xml"/><Relationship Id="rId50" Type="http://schemas.openxmlformats.org/officeDocument/2006/relationships/theme" Target="../theme/theme9.xml"/><Relationship Id="rId7" Type="http://schemas.openxmlformats.org/officeDocument/2006/relationships/slideLayout" Target="../slideLayouts/slideLayout299.xml"/><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9" Type="http://schemas.openxmlformats.org/officeDocument/2006/relationships/slideLayout" Target="../slideLayouts/slideLayout321.xml"/><Relationship Id="rId11" Type="http://schemas.openxmlformats.org/officeDocument/2006/relationships/slideLayout" Target="../slideLayouts/slideLayout303.xml"/><Relationship Id="rId24" Type="http://schemas.openxmlformats.org/officeDocument/2006/relationships/slideLayout" Target="../slideLayouts/slideLayout316.xml"/><Relationship Id="rId32" Type="http://schemas.openxmlformats.org/officeDocument/2006/relationships/slideLayout" Target="../slideLayouts/slideLayout324.xml"/><Relationship Id="rId37" Type="http://schemas.openxmlformats.org/officeDocument/2006/relationships/slideLayout" Target="../slideLayouts/slideLayout329.xml"/><Relationship Id="rId40" Type="http://schemas.openxmlformats.org/officeDocument/2006/relationships/slideLayout" Target="../slideLayouts/slideLayout332.xml"/><Relationship Id="rId45" Type="http://schemas.openxmlformats.org/officeDocument/2006/relationships/slideLayout" Target="../slideLayouts/slideLayout337.xml"/><Relationship Id="rId5" Type="http://schemas.openxmlformats.org/officeDocument/2006/relationships/slideLayout" Target="../slideLayouts/slideLayout297.xml"/><Relationship Id="rId15" Type="http://schemas.openxmlformats.org/officeDocument/2006/relationships/slideLayout" Target="../slideLayouts/slideLayout307.xml"/><Relationship Id="rId23" Type="http://schemas.openxmlformats.org/officeDocument/2006/relationships/slideLayout" Target="../slideLayouts/slideLayout315.xml"/><Relationship Id="rId28" Type="http://schemas.openxmlformats.org/officeDocument/2006/relationships/slideLayout" Target="../slideLayouts/slideLayout320.xml"/><Relationship Id="rId36" Type="http://schemas.openxmlformats.org/officeDocument/2006/relationships/slideLayout" Target="../slideLayouts/slideLayout328.xml"/><Relationship Id="rId49" Type="http://schemas.openxmlformats.org/officeDocument/2006/relationships/slideLayout" Target="../slideLayouts/slideLayout341.xml"/><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31" Type="http://schemas.openxmlformats.org/officeDocument/2006/relationships/slideLayout" Target="../slideLayouts/slideLayout323.xml"/><Relationship Id="rId44" Type="http://schemas.openxmlformats.org/officeDocument/2006/relationships/slideLayout" Target="../slideLayouts/slideLayout336.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slideLayout" Target="../slideLayouts/slideLayout314.xml"/><Relationship Id="rId27" Type="http://schemas.openxmlformats.org/officeDocument/2006/relationships/slideLayout" Target="../slideLayouts/slideLayout319.xml"/><Relationship Id="rId30" Type="http://schemas.openxmlformats.org/officeDocument/2006/relationships/slideLayout" Target="../slideLayouts/slideLayout322.xml"/><Relationship Id="rId35" Type="http://schemas.openxmlformats.org/officeDocument/2006/relationships/slideLayout" Target="../slideLayouts/slideLayout327.xml"/><Relationship Id="rId43" Type="http://schemas.openxmlformats.org/officeDocument/2006/relationships/slideLayout" Target="../slideLayouts/slideLayout335.xml"/><Relationship Id="rId48" Type="http://schemas.openxmlformats.org/officeDocument/2006/relationships/slideLayout" Target="../slideLayouts/slideLayout340.xml"/><Relationship Id="rId8" Type="http://schemas.openxmlformats.org/officeDocument/2006/relationships/slideLayout" Target="../slideLayouts/slideLayout300.xml"/><Relationship Id="rId3" Type="http://schemas.openxmlformats.org/officeDocument/2006/relationships/slideLayout" Target="../slideLayouts/slideLayout295.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slideLayout" Target="../slideLayouts/slideLayout317.xml"/><Relationship Id="rId33" Type="http://schemas.openxmlformats.org/officeDocument/2006/relationships/slideLayout" Target="../slideLayouts/slideLayout325.xml"/><Relationship Id="rId38" Type="http://schemas.openxmlformats.org/officeDocument/2006/relationships/slideLayout" Target="../slideLayouts/slideLayout330.xml"/><Relationship Id="rId46" Type="http://schemas.openxmlformats.org/officeDocument/2006/relationships/slideLayout" Target="../slideLayouts/slideLayout338.xml"/><Relationship Id="rId20" Type="http://schemas.openxmlformats.org/officeDocument/2006/relationships/slideLayout" Target="../slideLayouts/slideLayout312.xml"/><Relationship Id="rId41" Type="http://schemas.openxmlformats.org/officeDocument/2006/relationships/slideLayout" Target="../slideLayouts/slideLayout333.xml"/><Relationship Id="rId1" Type="http://schemas.openxmlformats.org/officeDocument/2006/relationships/slideLayout" Target="../slideLayouts/slideLayout293.xml"/><Relationship Id="rId6" Type="http://schemas.openxmlformats.org/officeDocument/2006/relationships/slideLayout" Target="../slideLayouts/slideLayout2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507"/>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825825299"/>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Lst>
  <p:transition spd="med"/>
  <p:hf sldNum="0" hdr="0" ftr="0" dt="0"/>
  <p:txStyles>
    <p:titleStyle>
      <a:lvl1pPr marL="0" marR="0" indent="0" algn="l" defTabSz="1218956" rtl="0" eaLnBrk="1" latinLnBrk="0" hangingPunct="1">
        <a:lnSpc>
          <a:spcPct val="100000"/>
        </a:lnSpc>
        <a:spcBef>
          <a:spcPts val="0"/>
        </a:spcBef>
        <a:spcAft>
          <a:spcPts val="0"/>
        </a:spcAft>
        <a:buClrTx/>
        <a:buSzTx/>
        <a:buFontTx/>
        <a:buNone/>
        <a:tabLst/>
        <a:defRPr sz="3199"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00000"/>
        </a:lnSpc>
        <a:spcBef>
          <a:spcPts val="0"/>
        </a:spcBef>
        <a:spcAft>
          <a:spcPts val="0"/>
        </a:spcAft>
        <a:buClr>
          <a:schemeClr val="tx1"/>
        </a:buClr>
        <a:buSzTx/>
        <a:buFont typeface="Arial" panose="020B0604020202020204" pitchFamily="34" charset="0"/>
        <a:buNone/>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163767"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329334"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493101"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342831" marR="0" indent="0" algn="l" defTabSz="1218956" rtl="0" eaLnBrk="1" latinLnBrk="0" hangingPunct="1">
        <a:lnSpc>
          <a:spcPct val="110000"/>
        </a:lnSpc>
        <a:spcBef>
          <a:spcPts val="1450"/>
        </a:spcBef>
        <a:spcAft>
          <a:spcPts val="0"/>
        </a:spcAft>
        <a:buClrTx/>
        <a:buSzPct val="100000"/>
        <a:buFont typeface="Arial" panose="020B0604020202020204" pitchFamily="34" charset="0"/>
        <a:buNone/>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507"/>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1930530638"/>
      </p:ext>
    </p:extLst>
  </p:cSld>
  <p:clrMap bg1="dk1" tx1="lt1" bg2="dk2" tx2="lt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 id="2147484032" r:id="rId22"/>
    <p:sldLayoutId id="2147484033" r:id="rId23"/>
    <p:sldLayoutId id="2147484034" r:id="rId24"/>
    <p:sldLayoutId id="2147484035" r:id="rId25"/>
    <p:sldLayoutId id="2147484036" r:id="rId26"/>
    <p:sldLayoutId id="2147484037" r:id="rId27"/>
    <p:sldLayoutId id="2147484038" r:id="rId28"/>
    <p:sldLayoutId id="2147484039" r:id="rId29"/>
    <p:sldLayoutId id="2147484040" r:id="rId30"/>
    <p:sldLayoutId id="2147484041" r:id="rId31"/>
    <p:sldLayoutId id="2147484042" r:id="rId32"/>
    <p:sldLayoutId id="2147484043" r:id="rId33"/>
    <p:sldLayoutId id="2147484044" r:id="rId34"/>
    <p:sldLayoutId id="2147484045" r:id="rId35"/>
    <p:sldLayoutId id="2147484046" r:id="rId36"/>
    <p:sldLayoutId id="2147484047" r:id="rId37"/>
    <p:sldLayoutId id="2147484048" r:id="rId38"/>
    <p:sldLayoutId id="2147484049" r:id="rId39"/>
    <p:sldLayoutId id="2147484050" r:id="rId40"/>
    <p:sldLayoutId id="2147484051" r:id="rId41"/>
    <p:sldLayoutId id="2147484052" r:id="rId42"/>
    <p:sldLayoutId id="2147484053" r:id="rId43"/>
    <p:sldLayoutId id="2147484054" r:id="rId44"/>
    <p:sldLayoutId id="2147484055" r:id="rId45"/>
    <p:sldLayoutId id="2147484056" r:id="rId46"/>
  </p:sldLayoutIdLst>
  <p:transition spd="med"/>
  <p:hf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507"/>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3618425708"/>
      </p:ext>
    </p:extLst>
  </p:cSld>
  <p:clrMap bg1="dk1" tx1="lt1" bg2="dk2" tx2="lt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1" r:id="rId14"/>
    <p:sldLayoutId id="2147484072" r:id="rId15"/>
    <p:sldLayoutId id="2147484073" r:id="rId16"/>
    <p:sldLayoutId id="2147484074" r:id="rId17"/>
    <p:sldLayoutId id="2147484075" r:id="rId18"/>
    <p:sldLayoutId id="2147484076" r:id="rId19"/>
    <p:sldLayoutId id="2147484077" r:id="rId20"/>
    <p:sldLayoutId id="2147484078" r:id="rId21"/>
    <p:sldLayoutId id="2147484079" r:id="rId22"/>
    <p:sldLayoutId id="2147484080" r:id="rId23"/>
    <p:sldLayoutId id="2147484081" r:id="rId24"/>
    <p:sldLayoutId id="2147484082" r:id="rId25"/>
    <p:sldLayoutId id="2147484083" r:id="rId26"/>
    <p:sldLayoutId id="2147484084" r:id="rId27"/>
    <p:sldLayoutId id="2147484085" r:id="rId28"/>
    <p:sldLayoutId id="2147484086" r:id="rId29"/>
    <p:sldLayoutId id="2147484087" r:id="rId30"/>
    <p:sldLayoutId id="2147484088" r:id="rId31"/>
    <p:sldLayoutId id="2147484089" r:id="rId32"/>
    <p:sldLayoutId id="2147484090" r:id="rId33"/>
    <p:sldLayoutId id="2147484091" r:id="rId34"/>
    <p:sldLayoutId id="2147484092" r:id="rId35"/>
    <p:sldLayoutId id="2147484093" r:id="rId36"/>
    <p:sldLayoutId id="2147484094" r:id="rId37"/>
    <p:sldLayoutId id="2147484095" r:id="rId38"/>
    <p:sldLayoutId id="2147484096" r:id="rId39"/>
    <p:sldLayoutId id="2147484097" r:id="rId40"/>
    <p:sldLayoutId id="2147484098" r:id="rId41"/>
    <p:sldLayoutId id="2147484099" r:id="rId42"/>
    <p:sldLayoutId id="2147484100" r:id="rId43"/>
    <p:sldLayoutId id="2147484101" r:id="rId44"/>
    <p:sldLayoutId id="2147484102" r:id="rId45"/>
    <p:sldLayoutId id="2147484103" r:id="rId46"/>
    <p:sldLayoutId id="2147484104" r:id="rId47"/>
    <p:sldLayoutId id="2147484105" r:id="rId48"/>
    <p:sldLayoutId id="2147484106" r:id="rId49"/>
  </p:sldLayoutIdLst>
  <p:transition spd="med"/>
  <p:hf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8" name="Title Text"/>
          <p:cNvSpPr txBox="1">
            <a:spLocks noGrp="1"/>
          </p:cNvSpPr>
          <p:nvPr>
            <p:ph type="title"/>
          </p:nvPr>
        </p:nvSpPr>
        <p:spPr>
          <a:xfrm>
            <a:off x="287300" y="288925"/>
            <a:ext cx="11293592"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endParaRPr lang="en-US" dirty="0"/>
          </a:p>
        </p:txBody>
      </p:sp>
      <p:sp>
        <p:nvSpPr>
          <p:cNvPr id="47" name="Slide Number"/>
          <p:cNvSpPr txBox="1">
            <a:spLocks noGrp="1"/>
          </p:cNvSpPr>
          <p:nvPr>
            <p:ph type="sldNum" sz="quarter" idx="2"/>
          </p:nvPr>
        </p:nvSpPr>
        <p:spPr>
          <a:xfrm>
            <a:off x="11769264" y="6469380"/>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87552748"/>
      </p:ext>
    </p:extLst>
  </p:cSld>
  <p:clrMap bg1="dk1" tx1="lt1" bg2="dk2" tx2="lt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30" r:id="rId23"/>
    <p:sldLayoutId id="2147483731" r:id="rId24"/>
    <p:sldLayoutId id="2147483732" r:id="rId25"/>
    <p:sldLayoutId id="2147483733" r:id="rId26"/>
    <p:sldLayoutId id="2147483734" r:id="rId27"/>
    <p:sldLayoutId id="2147483735" r:id="rId28"/>
    <p:sldLayoutId id="2147483736" r:id="rId29"/>
    <p:sldLayoutId id="2147483737" r:id="rId30"/>
    <p:sldLayoutId id="2147483738" r:id="rId31"/>
    <p:sldLayoutId id="2147483739" r:id="rId32"/>
    <p:sldLayoutId id="2147483740" r:id="rId33"/>
    <p:sldLayoutId id="2147483741" r:id="rId34"/>
    <p:sldLayoutId id="2147483742" r:id="rId35"/>
    <p:sldLayoutId id="2147483743" r:id="rId36"/>
    <p:sldLayoutId id="2147483744" r:id="rId37"/>
    <p:sldLayoutId id="2147483745" r:id="rId38"/>
    <p:sldLayoutId id="2147483746" r:id="rId39"/>
    <p:sldLayoutId id="2147483747" r:id="rId40"/>
    <p:sldLayoutId id="2147483748" r:id="rId41"/>
    <p:sldLayoutId id="2147483749" r:id="rId42"/>
    <p:sldLayoutId id="2147483750" r:id="rId43"/>
    <p:sldLayoutId id="2147483751" r:id="rId44"/>
    <p:sldLayoutId id="2147483752" r:id="rId45"/>
    <p:sldLayoutId id="2147483753" r:id="rId46"/>
  </p:sldLayoutIdLst>
  <p:transition spd="med"/>
  <p:hf hdr="0" ft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8" name="Title Text"/>
          <p:cNvSpPr txBox="1">
            <a:spLocks noGrp="1"/>
          </p:cNvSpPr>
          <p:nvPr>
            <p:ph type="title"/>
          </p:nvPr>
        </p:nvSpPr>
        <p:spPr>
          <a:xfrm>
            <a:off x="287300" y="288925"/>
            <a:ext cx="11293592"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Footer text (optional)</a:t>
            </a:r>
            <a:endParaRPr lang="en-US" dirty="0"/>
          </a:p>
        </p:txBody>
      </p:sp>
      <p:sp>
        <p:nvSpPr>
          <p:cNvPr id="47" name="Slide Number"/>
          <p:cNvSpPr txBox="1">
            <a:spLocks noGrp="1"/>
          </p:cNvSpPr>
          <p:nvPr>
            <p:ph type="sldNum" sz="quarter" idx="2"/>
          </p:nvPr>
        </p:nvSpPr>
        <p:spPr>
          <a:xfrm>
            <a:off x="11769264" y="6469380"/>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27618532"/>
      </p:ext>
    </p:extLst>
  </p:cSld>
  <p:clrMap bg1="dk1" tx1="lt1" bg2="dk2" tx2="lt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781" r:id="rId27"/>
    <p:sldLayoutId id="2147483782" r:id="rId28"/>
    <p:sldLayoutId id="2147483783" r:id="rId29"/>
    <p:sldLayoutId id="2147483784" r:id="rId30"/>
    <p:sldLayoutId id="2147483785" r:id="rId31"/>
    <p:sldLayoutId id="2147483786" r:id="rId32"/>
    <p:sldLayoutId id="2147483787" r:id="rId33"/>
    <p:sldLayoutId id="2147483788" r:id="rId34"/>
    <p:sldLayoutId id="2147483789" r:id="rId35"/>
    <p:sldLayoutId id="2147483790" r:id="rId36"/>
    <p:sldLayoutId id="2147483791" r:id="rId37"/>
    <p:sldLayoutId id="2147483792" r:id="rId38"/>
    <p:sldLayoutId id="2147483793" r:id="rId39"/>
    <p:sldLayoutId id="2147483794" r:id="rId40"/>
    <p:sldLayoutId id="2147483795" r:id="rId41"/>
    <p:sldLayoutId id="2147483796" r:id="rId42"/>
    <p:sldLayoutId id="2147483797" r:id="rId43"/>
    <p:sldLayoutId id="2147483798" r:id="rId44"/>
    <p:sldLayoutId id="2147483799" r:id="rId45"/>
    <p:sldLayoutId id="2147483800" r:id="rId46"/>
  </p:sldLayoutIdLst>
  <p:transition spd="med"/>
  <p:hf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a:extLst>
              <a:ext uri="{FF2B5EF4-FFF2-40B4-BE49-F238E27FC236}">
                <a16:creationId xmlns:a16="http://schemas.microsoft.com/office/drawing/2014/main" id="{99C4C034-5BF8-4ADC-8B01-D9C85EE330E5}"/>
              </a:ext>
            </a:extLst>
          </p:cNvPr>
          <p:cNvSpPr>
            <a:spLocks noGrp="1" noChangeArrowheads="1"/>
          </p:cNvSpPr>
          <p:nvPr>
            <p:ph type="title"/>
          </p:nvPr>
        </p:nvSpPr>
        <p:spPr bwMode="auto">
          <a:xfrm>
            <a:off x="280988" y="268288"/>
            <a:ext cx="5522912" cy="572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
        <p:nvSpPr>
          <p:cNvPr id="1027" name="Text Placeholder">
            <a:extLst>
              <a:ext uri="{FF2B5EF4-FFF2-40B4-BE49-F238E27FC236}">
                <a16:creationId xmlns:a16="http://schemas.microsoft.com/office/drawing/2014/main" id="{ED6627BF-0F6A-438A-8848-C2E662F375CB}"/>
              </a:ext>
            </a:extLst>
          </p:cNvPr>
          <p:cNvSpPr>
            <a:spLocks noGrp="1" noChangeArrowheads="1"/>
          </p:cNvSpPr>
          <p:nvPr>
            <p:ph type="body" idx="1"/>
          </p:nvPr>
        </p:nvSpPr>
        <p:spPr bwMode="auto">
          <a:xfrm>
            <a:off x="6388100" y="268288"/>
            <a:ext cx="5499100" cy="572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7" name="Footer Placeholder">
            <a:extLst>
              <a:ext uri="{FF2B5EF4-FFF2-40B4-BE49-F238E27FC236}">
                <a16:creationId xmlns:a16="http://schemas.microsoft.com/office/drawing/2014/main" id="{56D8A17E-095F-45F2-B082-5455DB89D098}"/>
              </a:ext>
            </a:extLst>
          </p:cNvPr>
          <p:cNvSpPr>
            <a:spLocks noGrp="1"/>
          </p:cNvSpPr>
          <p:nvPr>
            <p:ph type="ftr" sz="quarter" idx="3"/>
          </p:nvPr>
        </p:nvSpPr>
        <p:spPr>
          <a:xfrm>
            <a:off x="304800" y="6400800"/>
            <a:ext cx="5486400" cy="222250"/>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b="0" i="0">
                <a:solidFill>
                  <a:schemeClr val="tx1"/>
                </a:solidFill>
                <a:latin typeface="IBM Plex Sans" panose="020B0503050203000203" pitchFamily="34" charset="0"/>
              </a:defRPr>
            </a:lvl1pPr>
          </a:lstStyle>
          <a:p>
            <a:pPr>
              <a:defRPr/>
            </a:pPr>
            <a:r>
              <a:rPr lang="en-US"/>
              <a:t>Group Name / DOC ID / Month XX, 2022 / © 2022 IBM Corporation</a:t>
            </a:r>
          </a:p>
        </p:txBody>
      </p:sp>
      <p:sp>
        <p:nvSpPr>
          <p:cNvPr id="8" name="Slide Number Placeholder">
            <a:extLst>
              <a:ext uri="{FF2B5EF4-FFF2-40B4-BE49-F238E27FC236}">
                <a16:creationId xmlns:a16="http://schemas.microsoft.com/office/drawing/2014/main" id="{D5A90D70-042E-47CC-96EE-0272EA8684E8}"/>
              </a:ext>
            </a:extLst>
          </p:cNvPr>
          <p:cNvSpPr>
            <a:spLocks noGrp="1"/>
          </p:cNvSpPr>
          <p:nvPr>
            <p:ph type="sldNum" sz="quarter" idx="4"/>
          </p:nvPr>
        </p:nvSpPr>
        <p:spPr>
          <a:xfrm>
            <a:off x="9448800" y="6400800"/>
            <a:ext cx="2438400" cy="222250"/>
          </a:xfrm>
          <a:prstGeom prst="rect">
            <a:avLst/>
          </a:prstGeom>
        </p:spPr>
        <p:txBody>
          <a:bodyPr vert="horz" lIns="0" tIns="0" rIns="0" bIns="0" rtlCol="0" anchor="ctr"/>
          <a:lstStyle>
            <a:lvl1pPr algn="r" eaLnBrk="1" fontAlgn="auto" hangingPunct="1">
              <a:spcBef>
                <a:spcPts val="0"/>
              </a:spcBef>
              <a:spcAft>
                <a:spcPts val="0"/>
              </a:spcAft>
              <a:defRPr sz="800" b="0" i="0">
                <a:solidFill>
                  <a:schemeClr val="tx1"/>
                </a:solidFill>
                <a:latin typeface="IBM Plex Sans" panose="020B0503050203000203" pitchFamily="34" charset="0"/>
              </a:defRPr>
            </a:lvl1pPr>
          </a:lstStyle>
          <a:p>
            <a:pPr>
              <a:defRPr/>
            </a:pPr>
            <a:fld id="{C14E1151-1123-4657-9889-10DD5E6D0ABA}" type="slidenum">
              <a:rPr lang="en-US"/>
              <a:pPr>
                <a:defRPr/>
              </a:pPr>
              <a:t>‹#›</a:t>
            </a:fld>
            <a:endParaRPr lang="en-US"/>
          </a:p>
        </p:txBody>
      </p:sp>
      <p:grpSp>
        <p:nvGrpSpPr>
          <p:cNvPr id="1030" name="Group 2">
            <a:extLst>
              <a:ext uri="{FF2B5EF4-FFF2-40B4-BE49-F238E27FC236}">
                <a16:creationId xmlns:a16="http://schemas.microsoft.com/office/drawing/2014/main" id="{F9995B3C-5EAE-4867-A498-86B8D51A8969}"/>
              </a:ext>
            </a:extLst>
          </p:cNvPr>
          <p:cNvGrpSpPr>
            <a:grpSpLocks/>
          </p:cNvGrpSpPr>
          <p:nvPr userDrawn="1"/>
        </p:nvGrpSpPr>
        <p:grpSpPr bwMode="auto">
          <a:xfrm>
            <a:off x="-146050" y="-147638"/>
            <a:ext cx="12485688" cy="7153276"/>
            <a:chOff x="-109730" y="-110490"/>
            <a:chExt cx="9364220" cy="5364480"/>
          </a:xfrm>
        </p:grpSpPr>
        <p:grpSp>
          <p:nvGrpSpPr>
            <p:cNvPr id="1031" name="Group 59">
              <a:extLst>
                <a:ext uri="{FF2B5EF4-FFF2-40B4-BE49-F238E27FC236}">
                  <a16:creationId xmlns:a16="http://schemas.microsoft.com/office/drawing/2014/main" id="{D9A605D5-DCA2-4F3E-AD95-126115B8E84C}"/>
                </a:ext>
              </a:extLst>
            </p:cNvPr>
            <p:cNvGrpSpPr>
              <a:grpSpLocks/>
            </p:cNvGrpSpPr>
            <p:nvPr userDrawn="1"/>
          </p:nvGrpSpPr>
          <p:grpSpPr bwMode="auto">
            <a:xfrm>
              <a:off x="228600" y="-110490"/>
              <a:ext cx="8686732" cy="91440"/>
              <a:chOff x="228600" y="-152400"/>
              <a:chExt cx="8686732" cy="152400"/>
            </a:xfrm>
          </p:grpSpPr>
          <p:cxnSp>
            <p:nvCxnSpPr>
              <p:cNvPr id="93" name="Straight Connector 92" descr="&quot;&quot;">
                <a:extLst>
                  <a:ext uri="{FF2B5EF4-FFF2-40B4-BE49-F238E27FC236}">
                    <a16:creationId xmlns:a16="http://schemas.microsoft.com/office/drawing/2014/main" id="{49DC705E-CC84-4061-8B06-02A6724FF3EA}"/>
                  </a:ext>
                </a:extLst>
              </p:cNvPr>
              <p:cNvCxnSpPr/>
              <p:nvPr userDrawn="1"/>
            </p:nvCxnSpPr>
            <p:spPr bwMode="auto">
              <a:xfrm rot="5400000" flipH="1">
                <a:off x="152014" y="-76008"/>
                <a:ext cx="152784"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descr="&quot;&quot;">
                <a:extLst>
                  <a:ext uri="{FF2B5EF4-FFF2-40B4-BE49-F238E27FC236}">
                    <a16:creationId xmlns:a16="http://schemas.microsoft.com/office/drawing/2014/main" id="{DD89D7E6-32A6-42AF-95F6-245D2D99A88E}"/>
                  </a:ext>
                </a:extLst>
              </p:cNvPr>
              <p:cNvCxnSpPr/>
              <p:nvPr userDrawn="1"/>
            </p:nvCxnSpPr>
            <p:spPr bwMode="auto">
              <a:xfrm rot="5400000" flipH="1">
                <a:off x="1980805" y="-76008"/>
                <a:ext cx="152784"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descr="&quot;&quot;">
                <a:extLst>
                  <a:ext uri="{FF2B5EF4-FFF2-40B4-BE49-F238E27FC236}">
                    <a16:creationId xmlns:a16="http://schemas.microsoft.com/office/drawing/2014/main" id="{5D16DABA-8B17-4BEB-A855-DBF5EE197882}"/>
                  </a:ext>
                </a:extLst>
              </p:cNvPr>
              <p:cNvCxnSpPr/>
              <p:nvPr userDrawn="1"/>
            </p:nvCxnSpPr>
            <p:spPr bwMode="auto">
              <a:xfrm rot="5400000" flipH="1">
                <a:off x="2209404" y="-76008"/>
                <a:ext cx="152784"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descr="&quot;&quot;">
                <a:extLst>
                  <a:ext uri="{FF2B5EF4-FFF2-40B4-BE49-F238E27FC236}">
                    <a16:creationId xmlns:a16="http://schemas.microsoft.com/office/drawing/2014/main" id="{CA47FBB1-5D7A-4329-81BC-6EA6C406BF75}"/>
                  </a:ext>
                </a:extLst>
              </p:cNvPr>
              <p:cNvCxnSpPr/>
              <p:nvPr userDrawn="1"/>
            </p:nvCxnSpPr>
            <p:spPr bwMode="auto">
              <a:xfrm rot="5400000" flipH="1">
                <a:off x="2438003" y="-76008"/>
                <a:ext cx="152784"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descr="&quot;&quot;">
                <a:extLst>
                  <a:ext uri="{FF2B5EF4-FFF2-40B4-BE49-F238E27FC236}">
                    <a16:creationId xmlns:a16="http://schemas.microsoft.com/office/drawing/2014/main" id="{3F14836F-601B-4598-B1DA-70A90D045984}"/>
                  </a:ext>
                </a:extLst>
              </p:cNvPr>
              <p:cNvCxnSpPr/>
              <p:nvPr userDrawn="1"/>
            </p:nvCxnSpPr>
            <p:spPr bwMode="auto">
              <a:xfrm rot="5400000" flipH="1">
                <a:off x="4266794" y="-76008"/>
                <a:ext cx="152784"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descr="&quot;&quot;">
                <a:extLst>
                  <a:ext uri="{FF2B5EF4-FFF2-40B4-BE49-F238E27FC236}">
                    <a16:creationId xmlns:a16="http://schemas.microsoft.com/office/drawing/2014/main" id="{9F3CF06C-DCF3-4C64-B4E4-DE99A037EBA1}"/>
                  </a:ext>
                </a:extLst>
              </p:cNvPr>
              <p:cNvCxnSpPr/>
              <p:nvPr userDrawn="1"/>
            </p:nvCxnSpPr>
            <p:spPr bwMode="auto">
              <a:xfrm rot="5400000" flipH="1">
                <a:off x="4495393" y="-76008"/>
                <a:ext cx="152784"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descr="&quot;&quot;">
                <a:extLst>
                  <a:ext uri="{FF2B5EF4-FFF2-40B4-BE49-F238E27FC236}">
                    <a16:creationId xmlns:a16="http://schemas.microsoft.com/office/drawing/2014/main" id="{8F9B5D48-B027-4F06-9A82-277ACC40FB1B}"/>
                  </a:ext>
                </a:extLst>
              </p:cNvPr>
              <p:cNvCxnSpPr/>
              <p:nvPr userDrawn="1"/>
            </p:nvCxnSpPr>
            <p:spPr bwMode="auto">
              <a:xfrm rot="5400000" flipH="1">
                <a:off x="4723992" y="-76008"/>
                <a:ext cx="152784"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descr="&quot;&quot;">
                <a:extLst>
                  <a:ext uri="{FF2B5EF4-FFF2-40B4-BE49-F238E27FC236}">
                    <a16:creationId xmlns:a16="http://schemas.microsoft.com/office/drawing/2014/main" id="{82C96DDA-933A-4B90-8E8E-1D65530373DE}"/>
                  </a:ext>
                </a:extLst>
              </p:cNvPr>
              <p:cNvCxnSpPr/>
              <p:nvPr userDrawn="1"/>
            </p:nvCxnSpPr>
            <p:spPr bwMode="auto">
              <a:xfrm rot="5400000" flipH="1">
                <a:off x="6552783" y="-76008"/>
                <a:ext cx="152784"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descr="&quot;&quot;">
                <a:extLst>
                  <a:ext uri="{FF2B5EF4-FFF2-40B4-BE49-F238E27FC236}">
                    <a16:creationId xmlns:a16="http://schemas.microsoft.com/office/drawing/2014/main" id="{FCCDE886-1F75-4FD6-B526-95242EC811B4}"/>
                  </a:ext>
                </a:extLst>
              </p:cNvPr>
              <p:cNvCxnSpPr/>
              <p:nvPr userDrawn="1"/>
            </p:nvCxnSpPr>
            <p:spPr bwMode="auto">
              <a:xfrm rot="5400000" flipH="1">
                <a:off x="6781381" y="-76008"/>
                <a:ext cx="152784"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descr="&quot;&quot;">
                <a:extLst>
                  <a:ext uri="{FF2B5EF4-FFF2-40B4-BE49-F238E27FC236}">
                    <a16:creationId xmlns:a16="http://schemas.microsoft.com/office/drawing/2014/main" id="{3A4DA37E-36AD-4947-8B56-598FD55CD052}"/>
                  </a:ext>
                </a:extLst>
              </p:cNvPr>
              <p:cNvCxnSpPr/>
              <p:nvPr userDrawn="1"/>
            </p:nvCxnSpPr>
            <p:spPr bwMode="auto">
              <a:xfrm rot="5400000" flipH="1">
                <a:off x="7009980" y="-76008"/>
                <a:ext cx="152784"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descr="&quot;&quot;">
                <a:extLst>
                  <a:ext uri="{FF2B5EF4-FFF2-40B4-BE49-F238E27FC236}">
                    <a16:creationId xmlns:a16="http://schemas.microsoft.com/office/drawing/2014/main" id="{DC80974D-EC0A-41A8-B852-62511D343DC1}"/>
                  </a:ext>
                </a:extLst>
              </p:cNvPr>
              <p:cNvCxnSpPr/>
              <p:nvPr userDrawn="1"/>
            </p:nvCxnSpPr>
            <p:spPr bwMode="auto">
              <a:xfrm rot="5400000" flipH="1">
                <a:off x="8838771" y="-76008"/>
                <a:ext cx="152784"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1032" name="Group 60">
              <a:extLst>
                <a:ext uri="{FF2B5EF4-FFF2-40B4-BE49-F238E27FC236}">
                  <a16:creationId xmlns:a16="http://schemas.microsoft.com/office/drawing/2014/main" id="{B995008A-C4A7-4927-AC7F-9AA40596A56C}"/>
                </a:ext>
              </a:extLst>
            </p:cNvPr>
            <p:cNvGrpSpPr>
              <a:grpSpLocks/>
            </p:cNvGrpSpPr>
            <p:nvPr userDrawn="1"/>
          </p:nvGrpSpPr>
          <p:grpSpPr bwMode="auto">
            <a:xfrm>
              <a:off x="228600" y="5162550"/>
              <a:ext cx="8686732" cy="91440"/>
              <a:chOff x="228600" y="5143500"/>
              <a:chExt cx="8686732" cy="152400"/>
            </a:xfrm>
          </p:grpSpPr>
          <p:cxnSp>
            <p:nvCxnSpPr>
              <p:cNvPr id="82" name="Straight Connector 81" descr="&quot;&quot;">
                <a:extLst>
                  <a:ext uri="{FF2B5EF4-FFF2-40B4-BE49-F238E27FC236}">
                    <a16:creationId xmlns:a16="http://schemas.microsoft.com/office/drawing/2014/main" id="{9088244E-F456-4AF9-8B4F-2A9DF35F160D}"/>
                  </a:ext>
                </a:extLst>
              </p:cNvPr>
              <p:cNvCxnSpPr/>
              <p:nvPr userDrawn="1"/>
            </p:nvCxnSpPr>
            <p:spPr bwMode="auto">
              <a:xfrm rot="5400000" flipH="1">
                <a:off x="152014" y="5219508"/>
                <a:ext cx="152784"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descr="&quot;&quot;">
                <a:extLst>
                  <a:ext uri="{FF2B5EF4-FFF2-40B4-BE49-F238E27FC236}">
                    <a16:creationId xmlns:a16="http://schemas.microsoft.com/office/drawing/2014/main" id="{234DACBE-6D77-4110-96DB-B23973980858}"/>
                  </a:ext>
                </a:extLst>
              </p:cNvPr>
              <p:cNvCxnSpPr/>
              <p:nvPr userDrawn="1"/>
            </p:nvCxnSpPr>
            <p:spPr bwMode="auto">
              <a:xfrm rot="5400000" flipH="1">
                <a:off x="1980805" y="5219508"/>
                <a:ext cx="152784"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descr="&quot;&quot;">
                <a:extLst>
                  <a:ext uri="{FF2B5EF4-FFF2-40B4-BE49-F238E27FC236}">
                    <a16:creationId xmlns:a16="http://schemas.microsoft.com/office/drawing/2014/main" id="{F4D92FBC-8D98-498E-8351-10352EFDF804}"/>
                  </a:ext>
                </a:extLst>
              </p:cNvPr>
              <p:cNvCxnSpPr/>
              <p:nvPr userDrawn="1"/>
            </p:nvCxnSpPr>
            <p:spPr bwMode="auto">
              <a:xfrm rot="5400000" flipH="1">
                <a:off x="2209404" y="5219508"/>
                <a:ext cx="152784"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descr="&quot;&quot;">
                <a:extLst>
                  <a:ext uri="{FF2B5EF4-FFF2-40B4-BE49-F238E27FC236}">
                    <a16:creationId xmlns:a16="http://schemas.microsoft.com/office/drawing/2014/main" id="{6BE9AA80-8B9C-4CD8-8574-A218DC269B32}"/>
                  </a:ext>
                </a:extLst>
              </p:cNvPr>
              <p:cNvCxnSpPr/>
              <p:nvPr userDrawn="1"/>
            </p:nvCxnSpPr>
            <p:spPr bwMode="auto">
              <a:xfrm rot="5400000" flipH="1">
                <a:off x="2438003" y="5219508"/>
                <a:ext cx="152784"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descr="&quot;&quot;">
                <a:extLst>
                  <a:ext uri="{FF2B5EF4-FFF2-40B4-BE49-F238E27FC236}">
                    <a16:creationId xmlns:a16="http://schemas.microsoft.com/office/drawing/2014/main" id="{E9A324C4-2D48-4986-B2DA-29085077C7F7}"/>
                  </a:ext>
                </a:extLst>
              </p:cNvPr>
              <p:cNvCxnSpPr/>
              <p:nvPr userDrawn="1"/>
            </p:nvCxnSpPr>
            <p:spPr bwMode="auto">
              <a:xfrm rot="5400000" flipH="1">
                <a:off x="4266794" y="5219508"/>
                <a:ext cx="152784"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descr="&quot;&quot;">
                <a:extLst>
                  <a:ext uri="{FF2B5EF4-FFF2-40B4-BE49-F238E27FC236}">
                    <a16:creationId xmlns:a16="http://schemas.microsoft.com/office/drawing/2014/main" id="{9B36DB8B-355C-4B77-A07C-CCD2854E69F5}"/>
                  </a:ext>
                </a:extLst>
              </p:cNvPr>
              <p:cNvCxnSpPr/>
              <p:nvPr userDrawn="1"/>
            </p:nvCxnSpPr>
            <p:spPr bwMode="auto">
              <a:xfrm rot="5400000" flipH="1">
                <a:off x="4495393" y="5219508"/>
                <a:ext cx="152784"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descr="&quot;&quot;">
                <a:extLst>
                  <a:ext uri="{FF2B5EF4-FFF2-40B4-BE49-F238E27FC236}">
                    <a16:creationId xmlns:a16="http://schemas.microsoft.com/office/drawing/2014/main" id="{ABBC5526-4744-4CD1-8D84-0F38C7EF2465}"/>
                  </a:ext>
                </a:extLst>
              </p:cNvPr>
              <p:cNvCxnSpPr/>
              <p:nvPr userDrawn="1"/>
            </p:nvCxnSpPr>
            <p:spPr bwMode="auto">
              <a:xfrm rot="5400000" flipH="1">
                <a:off x="4723992" y="5219508"/>
                <a:ext cx="152784"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descr="&quot;&quot;">
                <a:extLst>
                  <a:ext uri="{FF2B5EF4-FFF2-40B4-BE49-F238E27FC236}">
                    <a16:creationId xmlns:a16="http://schemas.microsoft.com/office/drawing/2014/main" id="{27CA681D-751C-4AF5-8880-85641F4D750A}"/>
                  </a:ext>
                </a:extLst>
              </p:cNvPr>
              <p:cNvCxnSpPr/>
              <p:nvPr userDrawn="1"/>
            </p:nvCxnSpPr>
            <p:spPr bwMode="auto">
              <a:xfrm rot="5400000" flipH="1">
                <a:off x="6552783" y="5219508"/>
                <a:ext cx="152784"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descr="&quot;&quot;">
                <a:extLst>
                  <a:ext uri="{FF2B5EF4-FFF2-40B4-BE49-F238E27FC236}">
                    <a16:creationId xmlns:a16="http://schemas.microsoft.com/office/drawing/2014/main" id="{56D42A53-58C3-47C0-B873-37A174F4BEF6}"/>
                  </a:ext>
                </a:extLst>
              </p:cNvPr>
              <p:cNvCxnSpPr/>
              <p:nvPr userDrawn="1"/>
            </p:nvCxnSpPr>
            <p:spPr bwMode="auto">
              <a:xfrm rot="5400000" flipH="1">
                <a:off x="6781381" y="5219508"/>
                <a:ext cx="152784"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descr="&quot;&quot;">
                <a:extLst>
                  <a:ext uri="{FF2B5EF4-FFF2-40B4-BE49-F238E27FC236}">
                    <a16:creationId xmlns:a16="http://schemas.microsoft.com/office/drawing/2014/main" id="{B7BD7CAD-3C0B-46E7-A7CD-54D9DF76AE8B}"/>
                  </a:ext>
                </a:extLst>
              </p:cNvPr>
              <p:cNvCxnSpPr/>
              <p:nvPr userDrawn="1"/>
            </p:nvCxnSpPr>
            <p:spPr bwMode="auto">
              <a:xfrm rot="5400000" flipH="1">
                <a:off x="7009980" y="5219508"/>
                <a:ext cx="152784"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descr="&quot;&quot;">
                <a:extLst>
                  <a:ext uri="{FF2B5EF4-FFF2-40B4-BE49-F238E27FC236}">
                    <a16:creationId xmlns:a16="http://schemas.microsoft.com/office/drawing/2014/main" id="{330410B4-0A74-4E50-8715-6EA2F987663F}"/>
                  </a:ext>
                </a:extLst>
              </p:cNvPr>
              <p:cNvCxnSpPr/>
              <p:nvPr userDrawn="1"/>
            </p:nvCxnSpPr>
            <p:spPr bwMode="auto">
              <a:xfrm rot="5400000" flipH="1">
                <a:off x="8838771" y="5219508"/>
                <a:ext cx="152784"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1033" name="Group 61">
              <a:extLst>
                <a:ext uri="{FF2B5EF4-FFF2-40B4-BE49-F238E27FC236}">
                  <a16:creationId xmlns:a16="http://schemas.microsoft.com/office/drawing/2014/main" id="{D9C576E7-97DC-4A3E-9480-C28EA0FA93FD}"/>
                </a:ext>
              </a:extLst>
            </p:cNvPr>
            <p:cNvGrpSpPr>
              <a:grpSpLocks/>
            </p:cNvGrpSpPr>
            <p:nvPr userDrawn="1"/>
          </p:nvGrpSpPr>
          <p:grpSpPr bwMode="auto">
            <a:xfrm>
              <a:off x="-109730" y="228219"/>
              <a:ext cx="91440" cy="4686681"/>
              <a:chOff x="-109730" y="228219"/>
              <a:chExt cx="91440" cy="4686681"/>
            </a:xfrm>
          </p:grpSpPr>
          <p:cxnSp>
            <p:nvCxnSpPr>
              <p:cNvPr id="73" name="Straight Connector 72" descr="&quot;&quot;">
                <a:extLst>
                  <a:ext uri="{FF2B5EF4-FFF2-40B4-BE49-F238E27FC236}">
                    <a16:creationId xmlns:a16="http://schemas.microsoft.com/office/drawing/2014/main" id="{342CAA57-873F-4199-AF9F-7EFBF9F684B3}"/>
                  </a:ext>
                </a:extLst>
              </p:cNvPr>
              <p:cNvCxnSpPr/>
              <p:nvPr userDrawn="1"/>
            </p:nvCxnSpPr>
            <p:spPr bwMode="auto">
              <a:xfrm flipH="1">
                <a:off x="-109730" y="653824"/>
                <a:ext cx="91677"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descr="&quot;&quot;">
                <a:extLst>
                  <a:ext uri="{FF2B5EF4-FFF2-40B4-BE49-F238E27FC236}">
                    <a16:creationId xmlns:a16="http://schemas.microsoft.com/office/drawing/2014/main" id="{563FF4D6-EF5A-4C1D-8474-071D0A2D8DCE}"/>
                  </a:ext>
                </a:extLst>
              </p:cNvPr>
              <p:cNvCxnSpPr/>
              <p:nvPr userDrawn="1"/>
            </p:nvCxnSpPr>
            <p:spPr bwMode="auto">
              <a:xfrm flipH="1">
                <a:off x="-109730" y="1289561"/>
                <a:ext cx="91677"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descr="&quot;&quot;">
                <a:extLst>
                  <a:ext uri="{FF2B5EF4-FFF2-40B4-BE49-F238E27FC236}">
                    <a16:creationId xmlns:a16="http://schemas.microsoft.com/office/drawing/2014/main" id="{D4781C1B-90CB-428D-8544-820C8B454588}"/>
                  </a:ext>
                </a:extLst>
              </p:cNvPr>
              <p:cNvCxnSpPr/>
              <p:nvPr userDrawn="1"/>
            </p:nvCxnSpPr>
            <p:spPr bwMode="auto">
              <a:xfrm flipH="1">
                <a:off x="-109730" y="1930061"/>
                <a:ext cx="91677"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descr="&quot;&quot;">
                <a:extLst>
                  <a:ext uri="{FF2B5EF4-FFF2-40B4-BE49-F238E27FC236}">
                    <a16:creationId xmlns:a16="http://schemas.microsoft.com/office/drawing/2014/main" id="{8B0BD789-DCAA-4B85-9E6C-B406969A9D35}"/>
                  </a:ext>
                </a:extLst>
              </p:cNvPr>
              <p:cNvCxnSpPr/>
              <p:nvPr userDrawn="1"/>
            </p:nvCxnSpPr>
            <p:spPr bwMode="auto">
              <a:xfrm flipH="1">
                <a:off x="-109730" y="2571750"/>
                <a:ext cx="91677"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descr="&quot;&quot;">
                <a:extLst>
                  <a:ext uri="{FF2B5EF4-FFF2-40B4-BE49-F238E27FC236}">
                    <a16:creationId xmlns:a16="http://schemas.microsoft.com/office/drawing/2014/main" id="{D247212D-B379-4342-86C4-9A4A3238C4D8}"/>
                  </a:ext>
                </a:extLst>
              </p:cNvPr>
              <p:cNvCxnSpPr/>
              <p:nvPr userDrawn="1"/>
            </p:nvCxnSpPr>
            <p:spPr bwMode="auto">
              <a:xfrm flipH="1">
                <a:off x="-109730" y="3209868"/>
                <a:ext cx="91677"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descr="&quot;&quot;">
                <a:extLst>
                  <a:ext uri="{FF2B5EF4-FFF2-40B4-BE49-F238E27FC236}">
                    <a16:creationId xmlns:a16="http://schemas.microsoft.com/office/drawing/2014/main" id="{CFEBF992-E88E-4113-9248-252661AE1CE3}"/>
                  </a:ext>
                </a:extLst>
              </p:cNvPr>
              <p:cNvCxnSpPr/>
              <p:nvPr userDrawn="1"/>
            </p:nvCxnSpPr>
            <p:spPr bwMode="auto">
              <a:xfrm flipH="1">
                <a:off x="-109730" y="3849177"/>
                <a:ext cx="91677"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descr="&quot;&quot;">
                <a:extLst>
                  <a:ext uri="{FF2B5EF4-FFF2-40B4-BE49-F238E27FC236}">
                    <a16:creationId xmlns:a16="http://schemas.microsoft.com/office/drawing/2014/main" id="{4D4DC83D-0F8D-4D39-8BB8-808608FB1B4C}"/>
                  </a:ext>
                </a:extLst>
              </p:cNvPr>
              <p:cNvCxnSpPr/>
              <p:nvPr userDrawn="1"/>
            </p:nvCxnSpPr>
            <p:spPr bwMode="auto">
              <a:xfrm flipH="1">
                <a:off x="-109730" y="4496820"/>
                <a:ext cx="91677"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descr="&quot;&quot;">
                <a:extLst>
                  <a:ext uri="{FF2B5EF4-FFF2-40B4-BE49-F238E27FC236}">
                    <a16:creationId xmlns:a16="http://schemas.microsoft.com/office/drawing/2014/main" id="{C4AE2358-AD06-420A-902B-DBACCA92ECC8}"/>
                  </a:ext>
                </a:extLst>
              </p:cNvPr>
              <p:cNvCxnSpPr/>
              <p:nvPr userDrawn="1"/>
            </p:nvCxnSpPr>
            <p:spPr bwMode="auto">
              <a:xfrm flipH="1">
                <a:off x="-109730" y="228808"/>
                <a:ext cx="91677"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descr="&quot;&quot;">
                <a:extLst>
                  <a:ext uri="{FF2B5EF4-FFF2-40B4-BE49-F238E27FC236}">
                    <a16:creationId xmlns:a16="http://schemas.microsoft.com/office/drawing/2014/main" id="{321029D3-261F-4CB1-B09F-863EDE11CBE6}"/>
                  </a:ext>
                </a:extLst>
              </p:cNvPr>
              <p:cNvCxnSpPr/>
              <p:nvPr userDrawn="1"/>
            </p:nvCxnSpPr>
            <p:spPr bwMode="auto">
              <a:xfrm flipH="1">
                <a:off x="-109730" y="4914692"/>
                <a:ext cx="91677"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1034" name="Group 62">
              <a:extLst>
                <a:ext uri="{FF2B5EF4-FFF2-40B4-BE49-F238E27FC236}">
                  <a16:creationId xmlns:a16="http://schemas.microsoft.com/office/drawing/2014/main" id="{59CB5AFB-B85D-4463-9424-BD2FA8A0D519}"/>
                </a:ext>
              </a:extLst>
            </p:cNvPr>
            <p:cNvGrpSpPr>
              <a:grpSpLocks/>
            </p:cNvGrpSpPr>
            <p:nvPr userDrawn="1"/>
          </p:nvGrpSpPr>
          <p:grpSpPr bwMode="auto">
            <a:xfrm>
              <a:off x="9163050" y="228219"/>
              <a:ext cx="91440" cy="4685665"/>
              <a:chOff x="-109730" y="221869"/>
              <a:chExt cx="91440" cy="4685665"/>
            </a:xfrm>
          </p:grpSpPr>
          <p:cxnSp>
            <p:nvCxnSpPr>
              <p:cNvPr id="64" name="Straight Connector 63" descr="&quot;&quot;">
                <a:extLst>
                  <a:ext uri="{FF2B5EF4-FFF2-40B4-BE49-F238E27FC236}">
                    <a16:creationId xmlns:a16="http://schemas.microsoft.com/office/drawing/2014/main" id="{F50414C4-922D-4736-8CDC-D2AF3629B35C}"/>
                  </a:ext>
                </a:extLst>
              </p:cNvPr>
              <p:cNvCxnSpPr/>
              <p:nvPr userDrawn="1"/>
            </p:nvCxnSpPr>
            <p:spPr bwMode="auto">
              <a:xfrm flipH="1">
                <a:off x="-109968" y="647474"/>
                <a:ext cx="91678"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descr="&quot;&quot;">
                <a:extLst>
                  <a:ext uri="{FF2B5EF4-FFF2-40B4-BE49-F238E27FC236}">
                    <a16:creationId xmlns:a16="http://schemas.microsoft.com/office/drawing/2014/main" id="{DDCCAC58-450A-4CEB-A1CD-C5CA239DCBEA}"/>
                  </a:ext>
                </a:extLst>
              </p:cNvPr>
              <p:cNvCxnSpPr/>
              <p:nvPr userDrawn="1"/>
            </p:nvCxnSpPr>
            <p:spPr bwMode="auto">
              <a:xfrm flipH="1">
                <a:off x="-109968" y="1283211"/>
                <a:ext cx="91678"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descr="&quot;&quot;">
                <a:extLst>
                  <a:ext uri="{FF2B5EF4-FFF2-40B4-BE49-F238E27FC236}">
                    <a16:creationId xmlns:a16="http://schemas.microsoft.com/office/drawing/2014/main" id="{955DE878-6769-421D-A040-6271CA81A40A}"/>
                  </a:ext>
                </a:extLst>
              </p:cNvPr>
              <p:cNvCxnSpPr/>
              <p:nvPr userDrawn="1"/>
            </p:nvCxnSpPr>
            <p:spPr bwMode="auto">
              <a:xfrm flipH="1">
                <a:off x="-109968" y="1923711"/>
                <a:ext cx="91678"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descr="&quot;&quot;">
                <a:extLst>
                  <a:ext uri="{FF2B5EF4-FFF2-40B4-BE49-F238E27FC236}">
                    <a16:creationId xmlns:a16="http://schemas.microsoft.com/office/drawing/2014/main" id="{AF0E76B7-A6B6-447A-AE49-1628D0DD1207}"/>
                  </a:ext>
                </a:extLst>
              </p:cNvPr>
              <p:cNvCxnSpPr/>
              <p:nvPr userDrawn="1"/>
            </p:nvCxnSpPr>
            <p:spPr bwMode="auto">
              <a:xfrm flipH="1">
                <a:off x="-109968" y="2563019"/>
                <a:ext cx="91678"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descr="&quot;&quot;">
                <a:extLst>
                  <a:ext uri="{FF2B5EF4-FFF2-40B4-BE49-F238E27FC236}">
                    <a16:creationId xmlns:a16="http://schemas.microsoft.com/office/drawing/2014/main" id="{C617929A-93F8-49EF-8118-0BBF53F4D21C}"/>
                  </a:ext>
                </a:extLst>
              </p:cNvPr>
              <p:cNvCxnSpPr/>
              <p:nvPr userDrawn="1"/>
            </p:nvCxnSpPr>
            <p:spPr bwMode="auto">
              <a:xfrm flipH="1">
                <a:off x="-109968" y="3203518"/>
                <a:ext cx="91678"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descr="&quot;&quot;">
                <a:extLst>
                  <a:ext uri="{FF2B5EF4-FFF2-40B4-BE49-F238E27FC236}">
                    <a16:creationId xmlns:a16="http://schemas.microsoft.com/office/drawing/2014/main" id="{04081F00-7E4B-4926-AC7F-0B6A9A4BFC0E}"/>
                  </a:ext>
                </a:extLst>
              </p:cNvPr>
              <p:cNvCxnSpPr/>
              <p:nvPr userDrawn="1"/>
            </p:nvCxnSpPr>
            <p:spPr bwMode="auto">
              <a:xfrm flipH="1">
                <a:off x="-109968" y="3842827"/>
                <a:ext cx="91678"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descr="&quot;&quot;">
                <a:extLst>
                  <a:ext uri="{FF2B5EF4-FFF2-40B4-BE49-F238E27FC236}">
                    <a16:creationId xmlns:a16="http://schemas.microsoft.com/office/drawing/2014/main" id="{9CCBD7CA-3AA8-445C-B3A1-85A5771A1C13}"/>
                  </a:ext>
                </a:extLst>
              </p:cNvPr>
              <p:cNvCxnSpPr/>
              <p:nvPr userDrawn="1"/>
            </p:nvCxnSpPr>
            <p:spPr bwMode="auto">
              <a:xfrm flipH="1">
                <a:off x="-109968" y="4490470"/>
                <a:ext cx="91678"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descr="&quot;&quot;">
                <a:extLst>
                  <a:ext uri="{FF2B5EF4-FFF2-40B4-BE49-F238E27FC236}">
                    <a16:creationId xmlns:a16="http://schemas.microsoft.com/office/drawing/2014/main" id="{4FFD9E97-CFE2-4046-ABD2-E42E4A3B0EB2}"/>
                  </a:ext>
                </a:extLst>
              </p:cNvPr>
              <p:cNvCxnSpPr/>
              <p:nvPr userDrawn="1"/>
            </p:nvCxnSpPr>
            <p:spPr bwMode="auto">
              <a:xfrm flipH="1">
                <a:off x="-109968" y="222458"/>
                <a:ext cx="91678"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descr="&quot;&quot;">
                <a:extLst>
                  <a:ext uri="{FF2B5EF4-FFF2-40B4-BE49-F238E27FC236}">
                    <a16:creationId xmlns:a16="http://schemas.microsoft.com/office/drawing/2014/main" id="{0AEF08AB-692B-451A-B6D9-0EB5A19B3C04}"/>
                  </a:ext>
                </a:extLst>
              </p:cNvPr>
              <p:cNvCxnSpPr/>
              <p:nvPr userDrawn="1"/>
            </p:nvCxnSpPr>
            <p:spPr bwMode="auto">
              <a:xfrm flipH="1">
                <a:off x="-109968" y="4907152"/>
                <a:ext cx="91678"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501246782"/>
      </p:ext>
    </p:extLst>
  </p:cSld>
  <p:clrMap bg1="dk1" tx1="lt1" bg2="dk2" tx2="lt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 id="2147483819" r:id="rId18"/>
    <p:sldLayoutId id="2147483820" r:id="rId19"/>
    <p:sldLayoutId id="2147483821" r:id="rId20"/>
    <p:sldLayoutId id="2147483822" r:id="rId21"/>
    <p:sldLayoutId id="2147483823" r:id="rId22"/>
    <p:sldLayoutId id="2147483824" r:id="rId23"/>
    <p:sldLayoutId id="2147483825" r:id="rId24"/>
    <p:sldLayoutId id="2147483826" r:id="rId25"/>
    <p:sldLayoutId id="2147483827" r:id="rId26"/>
    <p:sldLayoutId id="2147483828" r:id="rId27"/>
    <p:sldLayoutId id="2147483829" r:id="rId28"/>
    <p:sldLayoutId id="2147483830" r:id="rId29"/>
    <p:sldLayoutId id="2147483831" r:id="rId30"/>
    <p:sldLayoutId id="2147483832" r:id="rId31"/>
    <p:sldLayoutId id="2147483833" r:id="rId32"/>
    <p:sldLayoutId id="2147483834" r:id="rId33"/>
    <p:sldLayoutId id="2147483835" r:id="rId34"/>
    <p:sldLayoutId id="2147483836" r:id="rId35"/>
    <p:sldLayoutId id="2147483837" r:id="rId36"/>
    <p:sldLayoutId id="2147483838" r:id="rId37"/>
    <p:sldLayoutId id="2147483839" r:id="rId38"/>
    <p:sldLayoutId id="2147483840" r:id="rId39"/>
    <p:sldLayoutId id="2147483841" r:id="rId40"/>
    <p:sldLayoutId id="2147483842" r:id="rId41"/>
    <p:sldLayoutId id="2147483843" r:id="rId42"/>
    <p:sldLayoutId id="2147483844" r:id="rId43"/>
    <p:sldLayoutId id="2147483845" r:id="rId44"/>
    <p:sldLayoutId id="2147483846" r:id="rId45"/>
  </p:sldLayoutIdLst>
  <p:hf hdr="0" ftr="0" dt="0"/>
  <p:txStyles>
    <p:titleStyle>
      <a:lvl1pPr algn="l" rtl="0" eaLnBrk="0" fontAlgn="base" hangingPunct="0">
        <a:lnSpc>
          <a:spcPct val="90000"/>
        </a:lnSpc>
        <a:spcBef>
          <a:spcPct val="0"/>
        </a:spcBef>
        <a:spcAft>
          <a:spcPct val="0"/>
        </a:spcAft>
        <a:defRPr sz="320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0" fontAlgn="base" hangingPunct="0">
        <a:lnSpc>
          <a:spcPct val="90000"/>
        </a:lnSpc>
        <a:spcBef>
          <a:spcPct val="0"/>
        </a:spcBef>
        <a:spcAft>
          <a:spcPct val="0"/>
        </a:spcAft>
        <a:defRPr sz="3200">
          <a:solidFill>
            <a:schemeClr val="tx1"/>
          </a:solidFill>
          <a:latin typeface="IBM Plex Sans Light" pitchFamily="34" charset="0"/>
          <a:ea typeface="IBM Plex Sans Light" panose="020B0403050203000203" pitchFamily="34" charset="0"/>
          <a:cs typeface="IBM Plex Sans Light" panose="020B0403050203000203" pitchFamily="34" charset="0"/>
        </a:defRPr>
      </a:lvl2pPr>
      <a:lvl3pPr algn="l" rtl="0" eaLnBrk="0" fontAlgn="base" hangingPunct="0">
        <a:lnSpc>
          <a:spcPct val="90000"/>
        </a:lnSpc>
        <a:spcBef>
          <a:spcPct val="0"/>
        </a:spcBef>
        <a:spcAft>
          <a:spcPct val="0"/>
        </a:spcAft>
        <a:defRPr sz="3200">
          <a:solidFill>
            <a:schemeClr val="tx1"/>
          </a:solidFill>
          <a:latin typeface="IBM Plex Sans Light" pitchFamily="34" charset="0"/>
          <a:ea typeface="IBM Plex Sans Light" panose="020B0403050203000203" pitchFamily="34" charset="0"/>
          <a:cs typeface="IBM Plex Sans Light" panose="020B0403050203000203" pitchFamily="34" charset="0"/>
        </a:defRPr>
      </a:lvl3pPr>
      <a:lvl4pPr algn="l" rtl="0" eaLnBrk="0" fontAlgn="base" hangingPunct="0">
        <a:lnSpc>
          <a:spcPct val="90000"/>
        </a:lnSpc>
        <a:spcBef>
          <a:spcPct val="0"/>
        </a:spcBef>
        <a:spcAft>
          <a:spcPct val="0"/>
        </a:spcAft>
        <a:defRPr sz="3200">
          <a:solidFill>
            <a:schemeClr val="tx1"/>
          </a:solidFill>
          <a:latin typeface="IBM Plex Sans Light" pitchFamily="34" charset="0"/>
          <a:ea typeface="IBM Plex Sans Light" panose="020B0403050203000203" pitchFamily="34" charset="0"/>
          <a:cs typeface="IBM Plex Sans Light" panose="020B0403050203000203" pitchFamily="34" charset="0"/>
        </a:defRPr>
      </a:lvl4pPr>
      <a:lvl5pPr algn="l" rtl="0" eaLnBrk="0" fontAlgn="base" hangingPunct="0">
        <a:lnSpc>
          <a:spcPct val="90000"/>
        </a:lnSpc>
        <a:spcBef>
          <a:spcPct val="0"/>
        </a:spcBef>
        <a:spcAft>
          <a:spcPct val="0"/>
        </a:spcAft>
        <a:defRPr sz="3200">
          <a:solidFill>
            <a:schemeClr val="tx1"/>
          </a:solidFill>
          <a:latin typeface="IBM Plex Sans Light" pitchFamily="34" charset="0"/>
          <a:ea typeface="IBM Plex Sans Light" panose="020B0403050203000203" pitchFamily="34" charset="0"/>
          <a:cs typeface="IBM Plex Sans Light" panose="020B0403050203000203"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Light"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Light"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Light"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Light" pitchFamily="34" charset="0"/>
        </a:defRPr>
      </a:lvl9pPr>
    </p:titleStyle>
    <p:bodyStyle>
      <a:lvl1pPr algn="l" rtl="0" eaLnBrk="0" fontAlgn="base" hangingPunct="0">
        <a:spcBef>
          <a:spcPts val="1463"/>
        </a:spcBef>
        <a:spcAft>
          <a:spcPct val="0"/>
        </a:spcAft>
        <a:buClr>
          <a:srgbClr val="001141"/>
        </a:buClr>
        <a:buSzPct val="90000"/>
        <a:buFont typeface="IBM Plex Sans Light" panose="020B0403050203000203" pitchFamily="34" charset="0"/>
        <a:defRPr>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7013" indent="-230188" algn="l" rtl="0" eaLnBrk="0" fontAlgn="base" hangingPunct="0">
        <a:spcBef>
          <a:spcPts val="1463"/>
        </a:spcBef>
        <a:spcAft>
          <a:spcPct val="0"/>
        </a:spcAft>
        <a:buClr>
          <a:srgbClr val="001141"/>
        </a:buClr>
        <a:buSzPct val="100000"/>
        <a:buFont typeface="IBM Plex Sans Light" panose="020B0403050203000203" pitchFamily="34" charset="0"/>
        <a:buChar char="–"/>
        <a:defRPr>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5613" indent="-230188" algn="l" rtl="0" eaLnBrk="0" fontAlgn="base" hangingPunct="0">
        <a:spcBef>
          <a:spcPts val="1463"/>
        </a:spcBef>
        <a:spcAft>
          <a:spcPct val="0"/>
        </a:spcAft>
        <a:buClr>
          <a:srgbClr val="001141"/>
        </a:buClr>
        <a:buSzPct val="100000"/>
        <a:buFont typeface="IBM Plex Sans Light" panose="020B0403050203000203" pitchFamily="34" charset="0"/>
        <a:buChar char="•"/>
        <a:defRPr>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6613" indent="-230188" algn="l" rtl="0" eaLnBrk="0" fontAlgn="base" hangingPunct="0">
        <a:spcBef>
          <a:spcPts val="1463"/>
        </a:spcBef>
        <a:spcAft>
          <a:spcPct val="0"/>
        </a:spcAft>
        <a:buClr>
          <a:srgbClr val="001141"/>
        </a:buClr>
        <a:buSzPct val="100000"/>
        <a:buFont typeface="IBM Plex Sans Light" panose="020B0403050203000203" pitchFamily="34" charset="0"/>
        <a:buChar char="–"/>
        <a:defRPr>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1069975" indent="-230188" algn="l" rtl="0" eaLnBrk="0" fontAlgn="base" hangingPunct="0">
        <a:spcBef>
          <a:spcPts val="1463"/>
        </a:spcBef>
        <a:spcAft>
          <a:spcPct val="0"/>
        </a:spcAft>
        <a:buClr>
          <a:srgbClr val="001141"/>
        </a:buClr>
        <a:buFont typeface="IBM Plex Sans Light" panose="020B0403050203000203" pitchFamily="34" charset="0"/>
        <a:buChar char="»"/>
        <a:defRPr>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Light"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C7F9FD1-E2A7-4C9A-8909-FC4C9EFA0916}"/>
              </a:ext>
            </a:extLst>
          </p:cNvPr>
          <p:cNvGraphicFramePr>
            <a:graphicFrameLocks noChangeAspect="1"/>
          </p:cNvGraphicFramePr>
          <p:nvPr userDrawn="1">
            <p:custDataLst>
              <p:tags r:id="rId12"/>
            </p:custDataLst>
            <p:extLst>
              <p:ext uri="{D42A27DB-BD31-4B8C-83A1-F6EECF244321}">
                <p14:modId xmlns:p14="http://schemas.microsoft.com/office/powerpoint/2010/main" val="785830461"/>
              </p:ext>
            </p:extLst>
          </p:nvPr>
        </p:nvGraphicFramePr>
        <p:xfrm>
          <a:off x="1324" y="1323"/>
          <a:ext cx="1323" cy="1324"/>
        </p:xfrm>
        <a:graphic>
          <a:graphicData uri="http://schemas.openxmlformats.org/presentationml/2006/ole">
            <mc:AlternateContent xmlns:mc="http://schemas.openxmlformats.org/markup-compatibility/2006">
              <mc:Choice xmlns:v="urn:schemas-microsoft-com:vml" Requires="v">
                <p:oleObj name="think-cell Slide" r:id="rId13" imgW="360" imgH="360" progId="TCLayout.ActiveDocument.1">
                  <p:embed/>
                </p:oleObj>
              </mc:Choice>
              <mc:Fallback>
                <p:oleObj name="think-cell Slide" r:id="rId13" imgW="360" imgH="360" progId="TCLayout.ActiveDocument.1">
                  <p:embed/>
                  <p:pic>
                    <p:nvPicPr>
                      <p:cNvPr id="3" name="Object 2" hidden="1">
                        <a:extLst>
                          <a:ext uri="{FF2B5EF4-FFF2-40B4-BE49-F238E27FC236}">
                            <a16:creationId xmlns:a16="http://schemas.microsoft.com/office/drawing/2014/main" id="{DC7F9FD1-E2A7-4C9A-8909-FC4C9EFA0916}"/>
                          </a:ext>
                        </a:extLst>
                      </p:cNvPr>
                      <p:cNvPicPr/>
                      <p:nvPr/>
                    </p:nvPicPr>
                    <p:blipFill>
                      <a:blip r:embed="rId14"/>
                      <a:stretch>
                        <a:fillRect/>
                      </a:stretch>
                    </p:blipFill>
                    <p:spPr>
                      <a:xfrm>
                        <a:off x="1324" y="1323"/>
                        <a:ext cx="1323" cy="1324"/>
                      </a:xfrm>
                      <a:prstGeom prst="rect">
                        <a:avLst/>
                      </a:prstGeom>
                    </p:spPr>
                  </p:pic>
                </p:oleObj>
              </mc:Fallback>
            </mc:AlternateContent>
          </a:graphicData>
        </a:graphic>
      </p:graphicFrame>
      <p:sp>
        <p:nvSpPr>
          <p:cNvPr id="4" name="Title Placeholder"/>
          <p:cNvSpPr>
            <a:spLocks noGrp="1"/>
          </p:cNvSpPr>
          <p:nvPr>
            <p:ph type="title"/>
          </p:nvPr>
        </p:nvSpPr>
        <p:spPr>
          <a:xfrm>
            <a:off x="381000" y="381000"/>
            <a:ext cx="5524496" cy="5969000"/>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6477001" y="381000"/>
            <a:ext cx="5333997" cy="596899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oup 58">
            <a:extLst>
              <a:ext uri="{FF2B5EF4-FFF2-40B4-BE49-F238E27FC236}">
                <a16:creationId xmlns:a16="http://schemas.microsoft.com/office/drawing/2014/main" id="{ACC00A88-4A19-6C48-922B-415CF82AD08C}"/>
              </a:ext>
            </a:extLst>
          </p:cNvPr>
          <p:cNvGrpSpPr/>
          <p:nvPr userDrawn="1"/>
        </p:nvGrpSpPr>
        <p:grpSpPr>
          <a:xfrm>
            <a:off x="-205741" y="-190498"/>
            <a:ext cx="12588242" cy="7209772"/>
            <a:chOff x="-109730" y="-110489"/>
            <a:chExt cx="9352896" cy="5351811"/>
          </a:xfrm>
        </p:grpSpPr>
        <p:grpSp>
          <p:nvGrpSpPr>
            <p:cNvPr id="104" name="Group 103">
              <a:extLst>
                <a:ext uri="{FF2B5EF4-FFF2-40B4-BE49-F238E27FC236}">
                  <a16:creationId xmlns:a16="http://schemas.microsoft.com/office/drawing/2014/main" id="{6C2A0210-CFBC-394D-A938-778FB6421104}"/>
                </a:ext>
              </a:extLst>
            </p:cNvPr>
            <p:cNvGrpSpPr/>
            <p:nvPr userDrawn="1"/>
          </p:nvGrpSpPr>
          <p:grpSpPr>
            <a:xfrm>
              <a:off x="326211" y="-110489"/>
              <a:ext cx="8492338" cy="119718"/>
              <a:chOff x="326211" y="-152399"/>
              <a:chExt cx="8492338" cy="199534"/>
            </a:xfrm>
          </p:grpSpPr>
          <p:cxnSp>
            <p:nvCxnSpPr>
              <p:cNvPr id="129" name="Straight Connector 128">
                <a:extLst>
                  <a:ext uri="{FF2B5EF4-FFF2-40B4-BE49-F238E27FC236}">
                    <a16:creationId xmlns:a16="http://schemas.microsoft.com/office/drawing/2014/main" id="{F8965F14-1CB6-5843-9F9F-6B676184ADE3}"/>
                  </a:ext>
                </a:extLst>
              </p:cNvPr>
              <p:cNvCxnSpPr/>
              <p:nvPr userDrawn="1"/>
            </p:nvCxnSpPr>
            <p:spPr bwMode="auto">
              <a:xfrm rot="5400000" flipH="1">
                <a:off x="250011" y="-29065"/>
                <a:ext cx="15240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6B8A782A-B233-0E4E-B3CD-5EE3BF97C657}"/>
                  </a:ext>
                </a:extLst>
              </p:cNvPr>
              <p:cNvCxnSpPr/>
              <p:nvPr userDrawn="1"/>
            </p:nvCxnSpPr>
            <p:spPr bwMode="auto">
              <a:xfrm rot="5400000" flipH="1">
                <a:off x="2090018" y="-76199"/>
                <a:ext cx="15240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A1DC1833-C465-4545-8572-CA2BF3C440A8}"/>
                  </a:ext>
                </a:extLst>
              </p:cNvPr>
              <p:cNvCxnSpPr/>
              <p:nvPr userDrawn="1"/>
            </p:nvCxnSpPr>
            <p:spPr bwMode="auto">
              <a:xfrm rot="5400000" flipH="1">
                <a:off x="2231557" y="-76199"/>
                <a:ext cx="15240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984DB13C-715F-4C41-A086-F8B04B8338B4}"/>
                  </a:ext>
                </a:extLst>
              </p:cNvPr>
              <p:cNvCxnSpPr/>
              <p:nvPr userDrawn="1"/>
            </p:nvCxnSpPr>
            <p:spPr bwMode="auto">
              <a:xfrm rot="5400000" flipH="1">
                <a:off x="2373096" y="-76199"/>
                <a:ext cx="15240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E4E47650-7CC3-E04C-92FB-D684F2CD6CE1}"/>
                  </a:ext>
                </a:extLst>
              </p:cNvPr>
              <p:cNvCxnSpPr/>
              <p:nvPr userDrawn="1"/>
            </p:nvCxnSpPr>
            <p:spPr bwMode="auto">
              <a:xfrm rot="5400000" flipH="1">
                <a:off x="4354641" y="-40055"/>
                <a:ext cx="15240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48E322F4-6558-1941-9668-7BA9BD1DD8BE}"/>
                  </a:ext>
                </a:extLst>
              </p:cNvPr>
              <p:cNvCxnSpPr/>
              <p:nvPr userDrawn="1"/>
            </p:nvCxnSpPr>
            <p:spPr bwMode="auto">
              <a:xfrm rot="5400000" flipH="1">
                <a:off x="4496180" y="-40055"/>
                <a:ext cx="15240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5B67F614-8FE1-D140-884E-B58A72DE0C55}"/>
                  </a:ext>
                </a:extLst>
              </p:cNvPr>
              <p:cNvCxnSpPr/>
              <p:nvPr userDrawn="1"/>
            </p:nvCxnSpPr>
            <p:spPr bwMode="auto">
              <a:xfrm rot="5400000" flipH="1">
                <a:off x="4637719" y="-40055"/>
                <a:ext cx="15240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4D35566C-B1A5-EA4C-B259-8C8C4D4DAC4A}"/>
                  </a:ext>
                </a:extLst>
              </p:cNvPr>
              <p:cNvCxnSpPr/>
              <p:nvPr userDrawn="1"/>
            </p:nvCxnSpPr>
            <p:spPr bwMode="auto">
              <a:xfrm rot="5400000" flipH="1">
                <a:off x="6619265" y="-40055"/>
                <a:ext cx="15240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09214A7D-67C2-8944-92DC-99D0E47D2D3B}"/>
                  </a:ext>
                </a:extLst>
              </p:cNvPr>
              <p:cNvCxnSpPr/>
              <p:nvPr userDrawn="1"/>
            </p:nvCxnSpPr>
            <p:spPr bwMode="auto">
              <a:xfrm rot="5400000" flipH="1">
                <a:off x="6760804" y="-40055"/>
                <a:ext cx="15240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A1CDACE7-EB75-4C46-81A7-AA51D8058C5F}"/>
                  </a:ext>
                </a:extLst>
              </p:cNvPr>
              <p:cNvCxnSpPr/>
              <p:nvPr userDrawn="1"/>
            </p:nvCxnSpPr>
            <p:spPr bwMode="auto">
              <a:xfrm rot="5400000" flipH="1">
                <a:off x="6902342" y="-40055"/>
                <a:ext cx="15240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0DE10E2C-13E0-E045-979D-18B430462117}"/>
                  </a:ext>
                </a:extLst>
              </p:cNvPr>
              <p:cNvCxnSpPr/>
              <p:nvPr userDrawn="1"/>
            </p:nvCxnSpPr>
            <p:spPr bwMode="auto">
              <a:xfrm rot="5400000" flipH="1">
                <a:off x="8742349" y="-29065"/>
                <a:ext cx="152399"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105" name="Group 104">
              <a:extLst>
                <a:ext uri="{FF2B5EF4-FFF2-40B4-BE49-F238E27FC236}">
                  <a16:creationId xmlns:a16="http://schemas.microsoft.com/office/drawing/2014/main" id="{FD80F033-645B-5D4F-A361-EA80F684A392}"/>
                </a:ext>
              </a:extLst>
            </p:cNvPr>
            <p:cNvGrpSpPr/>
            <p:nvPr userDrawn="1"/>
          </p:nvGrpSpPr>
          <p:grpSpPr>
            <a:xfrm>
              <a:off x="326211" y="5143289"/>
              <a:ext cx="8492338" cy="98033"/>
              <a:chOff x="326211" y="5111418"/>
              <a:chExt cx="8492338" cy="163389"/>
            </a:xfrm>
          </p:grpSpPr>
          <p:cxnSp>
            <p:nvCxnSpPr>
              <p:cNvPr id="118" name="Straight Connector 117">
                <a:extLst>
                  <a:ext uri="{FF2B5EF4-FFF2-40B4-BE49-F238E27FC236}">
                    <a16:creationId xmlns:a16="http://schemas.microsoft.com/office/drawing/2014/main" id="{D7AF79B6-9A4C-6646-9D0E-0EFBC879BCA2}"/>
                  </a:ext>
                </a:extLst>
              </p:cNvPr>
              <p:cNvCxnSpPr/>
              <p:nvPr userDrawn="1"/>
            </p:nvCxnSpPr>
            <p:spPr bwMode="auto">
              <a:xfrm rot="5400000" flipH="1">
                <a:off x="250011" y="5187632"/>
                <a:ext cx="15240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13A48562-9ED8-2447-B180-45BC3A773135}"/>
                  </a:ext>
                </a:extLst>
              </p:cNvPr>
              <p:cNvCxnSpPr/>
              <p:nvPr userDrawn="1"/>
            </p:nvCxnSpPr>
            <p:spPr bwMode="auto">
              <a:xfrm rot="5400000" flipH="1">
                <a:off x="2090017" y="5198607"/>
                <a:ext cx="15240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213B6266-0A93-084E-8A78-AE6C03C5F943}"/>
                  </a:ext>
                </a:extLst>
              </p:cNvPr>
              <p:cNvCxnSpPr/>
              <p:nvPr userDrawn="1"/>
            </p:nvCxnSpPr>
            <p:spPr bwMode="auto">
              <a:xfrm rot="5400000" flipH="1">
                <a:off x="2231556" y="5198607"/>
                <a:ext cx="15240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69131E21-73CB-E242-BBDC-0E18035BD6F1}"/>
                  </a:ext>
                </a:extLst>
              </p:cNvPr>
              <p:cNvCxnSpPr/>
              <p:nvPr userDrawn="1"/>
            </p:nvCxnSpPr>
            <p:spPr bwMode="auto">
              <a:xfrm rot="5400000" flipH="1">
                <a:off x="2373095" y="5198607"/>
                <a:ext cx="15240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7470289F-4240-FF43-A440-B8043B23295A}"/>
                  </a:ext>
                </a:extLst>
              </p:cNvPr>
              <p:cNvCxnSpPr/>
              <p:nvPr userDrawn="1"/>
            </p:nvCxnSpPr>
            <p:spPr bwMode="auto">
              <a:xfrm rot="5400000" flipH="1">
                <a:off x="4354641" y="5198607"/>
                <a:ext cx="15240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3181E438-CE1F-204B-B678-19B8BDBDEF04}"/>
                  </a:ext>
                </a:extLst>
              </p:cNvPr>
              <p:cNvCxnSpPr/>
              <p:nvPr userDrawn="1"/>
            </p:nvCxnSpPr>
            <p:spPr bwMode="auto">
              <a:xfrm rot="5400000" flipH="1">
                <a:off x="4496180" y="5198607"/>
                <a:ext cx="15240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A495CFAF-959F-8D42-94E4-963B9477BB9A}"/>
                  </a:ext>
                </a:extLst>
              </p:cNvPr>
              <p:cNvCxnSpPr/>
              <p:nvPr userDrawn="1"/>
            </p:nvCxnSpPr>
            <p:spPr bwMode="auto">
              <a:xfrm rot="5400000" flipH="1">
                <a:off x="4637719" y="5198607"/>
                <a:ext cx="15240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597E11FF-33D2-8044-894E-13FB34529786}"/>
                  </a:ext>
                </a:extLst>
              </p:cNvPr>
              <p:cNvCxnSpPr/>
              <p:nvPr userDrawn="1"/>
            </p:nvCxnSpPr>
            <p:spPr bwMode="auto">
              <a:xfrm rot="5400000" flipH="1">
                <a:off x="6619264" y="5198607"/>
                <a:ext cx="15240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23BD1786-FF52-F647-921E-9287706FFD79}"/>
                  </a:ext>
                </a:extLst>
              </p:cNvPr>
              <p:cNvCxnSpPr/>
              <p:nvPr userDrawn="1"/>
            </p:nvCxnSpPr>
            <p:spPr bwMode="auto">
              <a:xfrm rot="5400000" flipH="1">
                <a:off x="6760803" y="5198607"/>
                <a:ext cx="15240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E256C9B2-A5FE-BC4E-920F-CEBABA73B93B}"/>
                  </a:ext>
                </a:extLst>
              </p:cNvPr>
              <p:cNvCxnSpPr/>
              <p:nvPr userDrawn="1"/>
            </p:nvCxnSpPr>
            <p:spPr bwMode="auto">
              <a:xfrm rot="5400000" flipH="1">
                <a:off x="6902342" y="5198607"/>
                <a:ext cx="15240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E1A1A939-9E62-2E4C-9714-2F6929182E36}"/>
                  </a:ext>
                </a:extLst>
              </p:cNvPr>
              <p:cNvCxnSpPr/>
              <p:nvPr userDrawn="1"/>
            </p:nvCxnSpPr>
            <p:spPr bwMode="auto">
              <a:xfrm rot="5400000" flipH="1">
                <a:off x="8742348" y="5187619"/>
                <a:ext cx="152402"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106" name="Group 105">
              <a:extLst>
                <a:ext uri="{FF2B5EF4-FFF2-40B4-BE49-F238E27FC236}">
                  <a16:creationId xmlns:a16="http://schemas.microsoft.com/office/drawing/2014/main" id="{65151D40-4251-CA4F-9CEA-04AAC5EF6968}"/>
                </a:ext>
              </a:extLst>
            </p:cNvPr>
            <p:cNvGrpSpPr/>
            <p:nvPr userDrawn="1"/>
          </p:nvGrpSpPr>
          <p:grpSpPr>
            <a:xfrm>
              <a:off x="-109730" y="313734"/>
              <a:ext cx="124556" cy="4430783"/>
              <a:chOff x="-109730" y="313734"/>
              <a:chExt cx="124556" cy="4430783"/>
            </a:xfrm>
          </p:grpSpPr>
          <p:cxnSp>
            <p:nvCxnSpPr>
              <p:cNvPr id="113" name="Straight Connector 112">
                <a:extLst>
                  <a:ext uri="{FF2B5EF4-FFF2-40B4-BE49-F238E27FC236}">
                    <a16:creationId xmlns:a16="http://schemas.microsoft.com/office/drawing/2014/main" id="{DD3AB832-ECA3-1C40-9D87-D3BF3E76579E}"/>
                  </a:ext>
                </a:extLst>
              </p:cNvPr>
              <p:cNvCxnSpPr/>
              <p:nvPr userDrawn="1"/>
            </p:nvCxnSpPr>
            <p:spPr bwMode="auto">
              <a:xfrm flipH="1">
                <a:off x="-109730" y="1303590"/>
                <a:ext cx="9144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DEA137B8-70C8-E047-92CB-43CBD0F96DD8}"/>
                  </a:ext>
                </a:extLst>
              </p:cNvPr>
              <p:cNvCxnSpPr/>
              <p:nvPr userDrawn="1"/>
            </p:nvCxnSpPr>
            <p:spPr bwMode="auto">
              <a:xfrm flipH="1">
                <a:off x="-109730" y="2576262"/>
                <a:ext cx="9144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8F9E5AD6-4E33-6C4E-BCF9-D40AC0EA8DB2}"/>
                  </a:ext>
                </a:extLst>
              </p:cNvPr>
              <p:cNvCxnSpPr/>
              <p:nvPr userDrawn="1"/>
            </p:nvCxnSpPr>
            <p:spPr bwMode="auto">
              <a:xfrm flipH="1">
                <a:off x="-109730" y="3849624"/>
                <a:ext cx="9144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DEBF4B0D-888C-E341-8D2C-A2B62D3927F7}"/>
                  </a:ext>
                </a:extLst>
              </p:cNvPr>
              <p:cNvCxnSpPr/>
              <p:nvPr userDrawn="1"/>
            </p:nvCxnSpPr>
            <p:spPr bwMode="auto">
              <a:xfrm flipH="1">
                <a:off x="-98406" y="313734"/>
                <a:ext cx="9144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4A1525CA-DB42-1F46-952B-49632CFC59C5}"/>
                  </a:ext>
                </a:extLst>
              </p:cNvPr>
              <p:cNvCxnSpPr/>
              <p:nvPr userDrawn="1"/>
            </p:nvCxnSpPr>
            <p:spPr bwMode="auto">
              <a:xfrm flipH="1">
                <a:off x="-76614" y="4744517"/>
                <a:ext cx="9144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107" name="Group 106">
              <a:extLst>
                <a:ext uri="{FF2B5EF4-FFF2-40B4-BE49-F238E27FC236}">
                  <a16:creationId xmlns:a16="http://schemas.microsoft.com/office/drawing/2014/main" id="{A6884295-F7A1-534D-ABFD-819D33AD6D11}"/>
                </a:ext>
              </a:extLst>
            </p:cNvPr>
            <p:cNvGrpSpPr/>
            <p:nvPr userDrawn="1"/>
          </p:nvGrpSpPr>
          <p:grpSpPr>
            <a:xfrm>
              <a:off x="9123418" y="313734"/>
              <a:ext cx="119748" cy="4428901"/>
              <a:chOff x="-149362" y="307384"/>
              <a:chExt cx="119748" cy="4428901"/>
            </a:xfrm>
          </p:grpSpPr>
          <p:cxnSp>
            <p:nvCxnSpPr>
              <p:cNvPr id="108" name="Straight Connector 107">
                <a:extLst>
                  <a:ext uri="{FF2B5EF4-FFF2-40B4-BE49-F238E27FC236}">
                    <a16:creationId xmlns:a16="http://schemas.microsoft.com/office/drawing/2014/main" id="{2C290D71-5B73-D042-BDA2-E632B7E0FFA5}"/>
                  </a:ext>
                </a:extLst>
              </p:cNvPr>
              <p:cNvCxnSpPr/>
              <p:nvPr userDrawn="1"/>
            </p:nvCxnSpPr>
            <p:spPr bwMode="auto">
              <a:xfrm flipH="1">
                <a:off x="-142845" y="1297240"/>
                <a:ext cx="9144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5646BE28-7152-2040-A2AF-B34178C299A1}"/>
                  </a:ext>
                </a:extLst>
              </p:cNvPr>
              <p:cNvCxnSpPr/>
              <p:nvPr userDrawn="1"/>
            </p:nvCxnSpPr>
            <p:spPr bwMode="auto">
              <a:xfrm flipH="1">
                <a:off x="-142845" y="2569913"/>
                <a:ext cx="9144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4296DD67-0C6C-0549-B851-03883C54615F}"/>
                  </a:ext>
                </a:extLst>
              </p:cNvPr>
              <p:cNvCxnSpPr/>
              <p:nvPr userDrawn="1"/>
            </p:nvCxnSpPr>
            <p:spPr bwMode="auto">
              <a:xfrm flipH="1">
                <a:off x="-142845" y="3843274"/>
                <a:ext cx="9144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0ACE78AA-7905-5246-83D4-D5D84E497E8A}"/>
                  </a:ext>
                </a:extLst>
              </p:cNvPr>
              <p:cNvCxnSpPr/>
              <p:nvPr userDrawn="1"/>
            </p:nvCxnSpPr>
            <p:spPr bwMode="auto">
              <a:xfrm flipH="1">
                <a:off x="-149362" y="307384"/>
                <a:ext cx="9144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30562EE8-1F7C-6E45-9B05-5B7385E02341}"/>
                  </a:ext>
                </a:extLst>
              </p:cNvPr>
              <p:cNvCxnSpPr/>
              <p:nvPr userDrawn="1"/>
            </p:nvCxnSpPr>
            <p:spPr bwMode="auto">
              <a:xfrm flipH="1">
                <a:off x="-121054" y="4736285"/>
                <a:ext cx="91440" cy="0"/>
              </a:xfrm>
              <a:prstGeom prst="line">
                <a:avLst/>
              </a:prstGeom>
              <a:ln>
                <a:solidFill>
                  <a:srgbClr val="82CFF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023040891"/>
      </p:ext>
    </p:extLst>
  </p:cSld>
  <p:clrMap bg1="dk1" tx1="lt1" bg2="dk2" tx2="lt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Lst>
  <p:hf hdr="0" dt="0"/>
  <p:txStyles>
    <p:titleStyle>
      <a:lvl1pPr algn="l" rtl="0" eaLnBrk="1" fontAlgn="base" hangingPunct="1">
        <a:lnSpc>
          <a:spcPct val="90000"/>
        </a:lnSpc>
        <a:spcBef>
          <a:spcPct val="0"/>
        </a:spcBef>
        <a:spcAft>
          <a:spcPct val="0"/>
        </a:spcAft>
        <a:defRPr sz="29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959">
          <a:solidFill>
            <a:srgbClr val="191919"/>
          </a:solidFill>
          <a:latin typeface="IBM Plex Sans Light" pitchFamily="34" charset="0"/>
        </a:defRPr>
      </a:lvl2pPr>
      <a:lvl3pPr algn="l" rtl="0" eaLnBrk="1" fontAlgn="base" hangingPunct="1">
        <a:lnSpc>
          <a:spcPct val="90000"/>
        </a:lnSpc>
        <a:spcBef>
          <a:spcPct val="0"/>
        </a:spcBef>
        <a:spcAft>
          <a:spcPct val="0"/>
        </a:spcAft>
        <a:defRPr sz="2959">
          <a:solidFill>
            <a:srgbClr val="191919"/>
          </a:solidFill>
          <a:latin typeface="IBM Plex Sans Light" pitchFamily="34" charset="0"/>
        </a:defRPr>
      </a:lvl3pPr>
      <a:lvl4pPr algn="l" rtl="0" eaLnBrk="1" fontAlgn="base" hangingPunct="1">
        <a:lnSpc>
          <a:spcPct val="90000"/>
        </a:lnSpc>
        <a:spcBef>
          <a:spcPct val="0"/>
        </a:spcBef>
        <a:spcAft>
          <a:spcPct val="0"/>
        </a:spcAft>
        <a:defRPr sz="2959">
          <a:solidFill>
            <a:srgbClr val="191919"/>
          </a:solidFill>
          <a:latin typeface="IBM Plex Sans Light" pitchFamily="34" charset="0"/>
        </a:defRPr>
      </a:lvl4pPr>
      <a:lvl5pPr algn="l" rtl="0" eaLnBrk="1" fontAlgn="base" hangingPunct="1">
        <a:lnSpc>
          <a:spcPct val="90000"/>
        </a:lnSpc>
        <a:spcBef>
          <a:spcPct val="0"/>
        </a:spcBef>
        <a:spcAft>
          <a:spcPct val="0"/>
        </a:spcAft>
        <a:defRPr sz="2959">
          <a:solidFill>
            <a:srgbClr val="191919"/>
          </a:solidFill>
          <a:latin typeface="IBM Plex Sans Light" pitchFamily="34" charset="0"/>
        </a:defRPr>
      </a:lvl5pPr>
      <a:lvl6pPr marL="483337" algn="l" rtl="0" eaLnBrk="1" fontAlgn="base" hangingPunct="1">
        <a:lnSpc>
          <a:spcPct val="90000"/>
        </a:lnSpc>
        <a:spcBef>
          <a:spcPct val="0"/>
        </a:spcBef>
        <a:spcAft>
          <a:spcPct val="0"/>
        </a:spcAft>
        <a:defRPr sz="2959">
          <a:solidFill>
            <a:srgbClr val="191919"/>
          </a:solidFill>
          <a:latin typeface="IBM Plex Sans Light" pitchFamily="34" charset="0"/>
        </a:defRPr>
      </a:lvl6pPr>
      <a:lvl7pPr marL="966678" algn="l" rtl="0" eaLnBrk="1" fontAlgn="base" hangingPunct="1">
        <a:lnSpc>
          <a:spcPct val="90000"/>
        </a:lnSpc>
        <a:spcBef>
          <a:spcPct val="0"/>
        </a:spcBef>
        <a:spcAft>
          <a:spcPct val="0"/>
        </a:spcAft>
        <a:defRPr sz="2959">
          <a:solidFill>
            <a:srgbClr val="191919"/>
          </a:solidFill>
          <a:latin typeface="IBM Plex Sans Light" pitchFamily="34" charset="0"/>
        </a:defRPr>
      </a:lvl7pPr>
      <a:lvl8pPr marL="1450015" algn="l" rtl="0" eaLnBrk="1" fontAlgn="base" hangingPunct="1">
        <a:lnSpc>
          <a:spcPct val="90000"/>
        </a:lnSpc>
        <a:spcBef>
          <a:spcPct val="0"/>
        </a:spcBef>
        <a:spcAft>
          <a:spcPct val="0"/>
        </a:spcAft>
        <a:defRPr sz="2959">
          <a:solidFill>
            <a:srgbClr val="191919"/>
          </a:solidFill>
          <a:latin typeface="IBM Plex Sans Light" pitchFamily="34" charset="0"/>
        </a:defRPr>
      </a:lvl8pPr>
      <a:lvl9pPr marL="1933354" algn="l" rtl="0" eaLnBrk="1" fontAlgn="base" hangingPunct="1">
        <a:lnSpc>
          <a:spcPct val="90000"/>
        </a:lnSpc>
        <a:spcBef>
          <a:spcPct val="0"/>
        </a:spcBef>
        <a:spcAft>
          <a:spcPct val="0"/>
        </a:spcAft>
        <a:defRPr sz="2959">
          <a:solidFill>
            <a:srgbClr val="191919"/>
          </a:solidFill>
          <a:latin typeface="IBM Plex Sans Light" pitchFamily="34" charset="0"/>
        </a:defRPr>
      </a:lvl9pPr>
    </p:titleStyle>
    <p:bodyStyle>
      <a:lvl1pPr marL="0" indent="0" algn="l" rtl="0" eaLnBrk="1" fontAlgn="base" hangingPunct="1">
        <a:lnSpc>
          <a:spcPct val="100000"/>
        </a:lnSpc>
        <a:spcBef>
          <a:spcPts val="1466"/>
        </a:spcBef>
        <a:spcAft>
          <a:spcPct val="0"/>
        </a:spcAft>
        <a:buClr>
          <a:srgbClr val="001141"/>
        </a:buClr>
        <a:buSzPct val="90000"/>
        <a:buFont typeface="IBM Plex Sans Light" pitchFamily="2" charset="2"/>
        <a:buNone/>
        <a:defRPr sz="15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52373" indent="-152373" algn="l" rtl="0" eaLnBrk="1" fontAlgn="base" hangingPunct="1">
        <a:lnSpc>
          <a:spcPct val="110000"/>
        </a:lnSpc>
        <a:spcBef>
          <a:spcPts val="1000"/>
        </a:spcBef>
        <a:spcAft>
          <a:spcPct val="0"/>
        </a:spcAft>
        <a:buClr>
          <a:srgbClr val="001141"/>
        </a:buClr>
        <a:buSzPct val="100000"/>
        <a:buFont typeface="IBM Plex Sans Light" charset="-120"/>
        <a:buChar char="–"/>
        <a:tabLst/>
        <a:defRPr sz="15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04745" indent="-152373" algn="l" rtl="0" eaLnBrk="1" fontAlgn="base" hangingPunct="1">
        <a:lnSpc>
          <a:spcPct val="110000"/>
        </a:lnSpc>
        <a:spcBef>
          <a:spcPts val="0"/>
        </a:spcBef>
        <a:spcAft>
          <a:spcPct val="0"/>
        </a:spcAft>
        <a:buClr>
          <a:srgbClr val="001141"/>
        </a:buClr>
        <a:buSzPct val="100000"/>
        <a:buFont typeface="IBM Plex Sans Light" panose="020B0604020202020204" pitchFamily="34" charset="0"/>
        <a:buChar char="•"/>
        <a:tabLst/>
        <a:defRPr sz="15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457118" indent="-152373" algn="l" rtl="0" eaLnBrk="1" fontAlgn="base" hangingPunct="1">
        <a:lnSpc>
          <a:spcPct val="110000"/>
        </a:lnSpc>
        <a:spcBef>
          <a:spcPts val="0"/>
        </a:spcBef>
        <a:spcAft>
          <a:spcPct val="0"/>
        </a:spcAft>
        <a:buClr>
          <a:srgbClr val="001141"/>
        </a:buClr>
        <a:buSzPct val="100000"/>
        <a:buFont typeface="IBM Plex Sans Light" charset="-120"/>
        <a:buChar char="–"/>
        <a:tabLst/>
        <a:defRPr sz="15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609490" indent="-152373" algn="l" rtl="0" eaLnBrk="1" fontAlgn="base" hangingPunct="1">
        <a:lnSpc>
          <a:spcPct val="110000"/>
        </a:lnSpc>
        <a:spcBef>
          <a:spcPts val="0"/>
        </a:spcBef>
        <a:spcAft>
          <a:spcPct val="0"/>
        </a:spcAft>
        <a:buClr>
          <a:srgbClr val="001141"/>
        </a:buClr>
        <a:buFont typeface="IBM Plex Sans Light" charset="-120"/>
        <a:buChar char="»"/>
        <a:tabLst/>
        <a:defRPr sz="15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1248" indent="-172862" algn="l" rtl="0" eaLnBrk="1" fontAlgn="base" hangingPunct="1">
        <a:spcBef>
          <a:spcPct val="20000"/>
        </a:spcBef>
        <a:spcAft>
          <a:spcPct val="0"/>
        </a:spcAft>
        <a:buClr>
          <a:schemeClr val="bg1"/>
        </a:buClr>
        <a:buChar char="»"/>
        <a:defRPr sz="1691">
          <a:solidFill>
            <a:schemeClr val="bg1"/>
          </a:solidFill>
          <a:latin typeface="IBM Plex Sans Light" charset="0"/>
        </a:defRPr>
      </a:lvl6pPr>
      <a:lvl7pPr marL="2594588" indent="-172862" algn="l" rtl="0" eaLnBrk="1" fontAlgn="base" hangingPunct="1">
        <a:spcBef>
          <a:spcPct val="20000"/>
        </a:spcBef>
        <a:spcAft>
          <a:spcPct val="0"/>
        </a:spcAft>
        <a:buClr>
          <a:schemeClr val="bg1"/>
        </a:buClr>
        <a:buChar char="»"/>
        <a:defRPr sz="1691">
          <a:solidFill>
            <a:schemeClr val="bg1"/>
          </a:solidFill>
          <a:latin typeface="IBM Plex Sans Light" charset="0"/>
        </a:defRPr>
      </a:lvl7pPr>
      <a:lvl8pPr marL="3077926" indent="-172862" algn="l" rtl="0" eaLnBrk="1" fontAlgn="base" hangingPunct="1">
        <a:spcBef>
          <a:spcPct val="20000"/>
        </a:spcBef>
        <a:spcAft>
          <a:spcPct val="0"/>
        </a:spcAft>
        <a:buClr>
          <a:schemeClr val="bg1"/>
        </a:buClr>
        <a:buChar char="»"/>
        <a:defRPr sz="1691">
          <a:solidFill>
            <a:schemeClr val="bg1"/>
          </a:solidFill>
          <a:latin typeface="IBM Plex Sans Light" charset="0"/>
        </a:defRPr>
      </a:lvl8pPr>
      <a:lvl9pPr marL="3561266" indent="-172862" algn="l" rtl="0" eaLnBrk="1" fontAlgn="base" hangingPunct="1">
        <a:spcBef>
          <a:spcPct val="20000"/>
        </a:spcBef>
        <a:spcAft>
          <a:spcPct val="0"/>
        </a:spcAft>
        <a:buClr>
          <a:schemeClr val="bg1"/>
        </a:buClr>
        <a:buChar char="»"/>
        <a:defRPr sz="1691">
          <a:solidFill>
            <a:schemeClr val="bg1"/>
          </a:solidFill>
          <a:latin typeface="IBM Plex Sans Light" charset="0"/>
        </a:defRPr>
      </a:lvl9pPr>
    </p:bodyStyle>
    <p:otherStyle>
      <a:defPPr>
        <a:defRPr lang="en-US"/>
      </a:defPPr>
      <a:lvl1pPr marL="0" algn="l" defTabSz="966678" rtl="0" eaLnBrk="1" latinLnBrk="0" hangingPunct="1">
        <a:defRPr sz="1904" kern="1200">
          <a:solidFill>
            <a:schemeClr val="tx1"/>
          </a:solidFill>
          <a:latin typeface="+mn-lt"/>
          <a:ea typeface="+mn-ea"/>
          <a:cs typeface="+mn-cs"/>
        </a:defRPr>
      </a:lvl1pPr>
      <a:lvl2pPr marL="483337" algn="l" defTabSz="966678" rtl="0" eaLnBrk="1" latinLnBrk="0" hangingPunct="1">
        <a:defRPr sz="1904" kern="1200">
          <a:solidFill>
            <a:schemeClr val="tx1"/>
          </a:solidFill>
          <a:latin typeface="+mn-lt"/>
          <a:ea typeface="+mn-ea"/>
          <a:cs typeface="+mn-cs"/>
        </a:defRPr>
      </a:lvl2pPr>
      <a:lvl3pPr marL="966678" algn="l" defTabSz="966678" rtl="0" eaLnBrk="1" latinLnBrk="0" hangingPunct="1">
        <a:defRPr sz="1904" kern="1200">
          <a:solidFill>
            <a:schemeClr val="tx1"/>
          </a:solidFill>
          <a:latin typeface="+mn-lt"/>
          <a:ea typeface="+mn-ea"/>
          <a:cs typeface="+mn-cs"/>
        </a:defRPr>
      </a:lvl3pPr>
      <a:lvl4pPr marL="1450015" algn="l" defTabSz="966678" rtl="0" eaLnBrk="1" latinLnBrk="0" hangingPunct="1">
        <a:defRPr sz="1904" kern="1200">
          <a:solidFill>
            <a:schemeClr val="tx1"/>
          </a:solidFill>
          <a:latin typeface="+mn-lt"/>
          <a:ea typeface="+mn-ea"/>
          <a:cs typeface="+mn-cs"/>
        </a:defRPr>
      </a:lvl4pPr>
      <a:lvl5pPr marL="1933354" algn="l" defTabSz="966678" rtl="0" eaLnBrk="1" latinLnBrk="0" hangingPunct="1">
        <a:defRPr sz="1904" kern="1200">
          <a:solidFill>
            <a:schemeClr val="tx1"/>
          </a:solidFill>
          <a:latin typeface="+mn-lt"/>
          <a:ea typeface="+mn-ea"/>
          <a:cs typeface="+mn-cs"/>
        </a:defRPr>
      </a:lvl5pPr>
      <a:lvl6pPr marL="2416693" algn="l" defTabSz="966678" rtl="0" eaLnBrk="1" latinLnBrk="0" hangingPunct="1">
        <a:defRPr sz="1904" kern="1200">
          <a:solidFill>
            <a:schemeClr val="tx1"/>
          </a:solidFill>
          <a:latin typeface="+mn-lt"/>
          <a:ea typeface="+mn-ea"/>
          <a:cs typeface="+mn-cs"/>
        </a:defRPr>
      </a:lvl6pPr>
      <a:lvl7pPr marL="2900029" algn="l" defTabSz="966678" rtl="0" eaLnBrk="1" latinLnBrk="0" hangingPunct="1">
        <a:defRPr sz="1904" kern="1200">
          <a:solidFill>
            <a:schemeClr val="tx1"/>
          </a:solidFill>
          <a:latin typeface="+mn-lt"/>
          <a:ea typeface="+mn-ea"/>
          <a:cs typeface="+mn-cs"/>
        </a:defRPr>
      </a:lvl7pPr>
      <a:lvl8pPr marL="3383368" algn="l" defTabSz="966678" rtl="0" eaLnBrk="1" latinLnBrk="0" hangingPunct="1">
        <a:defRPr sz="1904" kern="1200">
          <a:solidFill>
            <a:schemeClr val="tx1"/>
          </a:solidFill>
          <a:latin typeface="+mn-lt"/>
          <a:ea typeface="+mn-ea"/>
          <a:cs typeface="+mn-cs"/>
        </a:defRPr>
      </a:lvl8pPr>
      <a:lvl9pPr marL="3866707" algn="l" defTabSz="96667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288">
          <p15:clr>
            <a:srgbClr val="F26B43"/>
          </p15:clr>
        </p15:guide>
        <p15:guide id="3" pos="8928">
          <p15:clr>
            <a:srgbClr val="F26B43"/>
          </p15:clr>
        </p15:guide>
        <p15:guide id="4" orient="horz" pos="4800">
          <p15:clr>
            <a:srgbClr val="F26B43"/>
          </p15:clr>
        </p15:guide>
        <p15:guide id="5" orient="horz" pos="5088">
          <p15:clr>
            <a:srgbClr val="F26B43"/>
          </p15:clr>
        </p15:guide>
        <p15:guide id="6" pos="4608">
          <p15:clr>
            <a:srgbClr val="547EBF"/>
          </p15:clr>
        </p15:guide>
        <p15:guide id="7" pos="4464">
          <p15:clr>
            <a:srgbClr val="F26B43"/>
          </p15:clr>
        </p15:guide>
        <p15:guide id="8" pos="2304">
          <p15:clr>
            <a:srgbClr val="547EBF"/>
          </p15:clr>
        </p15:guide>
        <p15:guide id="9" pos="4752">
          <p15:clr>
            <a:srgbClr val="F26B43"/>
          </p15:clr>
        </p15:guide>
        <p15:guide id="10" pos="2160">
          <p15:clr>
            <a:srgbClr val="F26B43"/>
          </p15:clr>
        </p15:guide>
        <p15:guide id="11" pos="2448">
          <p15:clr>
            <a:srgbClr val="F26B43"/>
          </p15:clr>
        </p15:guide>
        <p15:guide id="12" pos="6912">
          <p15:clr>
            <a:srgbClr val="547EBF"/>
          </p15:clr>
        </p15:guide>
        <p15:guide id="13" pos="6768">
          <p15:clr>
            <a:srgbClr val="F26B43"/>
          </p15:clr>
        </p15:guide>
        <p15:guide id="14" pos="7056">
          <p15:clr>
            <a:srgbClr val="F26B43"/>
          </p15:clr>
        </p15:guide>
        <p15:guide id="17" orient="horz" pos="1296">
          <p15:clr>
            <a:srgbClr val="547EBF"/>
          </p15:clr>
        </p15:guide>
        <p15:guide id="18" orient="horz" pos="2592">
          <p15:clr>
            <a:srgbClr val="547EBF"/>
          </p15:clr>
        </p15:guide>
        <p15:guide id="21" orient="horz" pos="3888">
          <p15:clr>
            <a:srgbClr val="547EBF"/>
          </p15:clr>
        </p15:guide>
        <p15:guide id="22" pos="4896">
          <p15:clr>
            <a:srgbClr val="FDE53C"/>
          </p15:clr>
        </p15:guide>
        <p15:guide id="23" pos="4320">
          <p15:clr>
            <a:srgbClr val="FDE53C"/>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380"/>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300" y="288925"/>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4080345760"/>
      </p:ext>
    </p:extLst>
  </p:cSld>
  <p:clrMap bg1="dk1" tx1="lt1" bg2="dk2" tx2="lt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 id="2147483877" r:id="rId19"/>
    <p:sldLayoutId id="2147483878" r:id="rId20"/>
    <p:sldLayoutId id="2147483879" r:id="rId21"/>
    <p:sldLayoutId id="2147483880" r:id="rId22"/>
    <p:sldLayoutId id="2147483881" r:id="rId23"/>
    <p:sldLayoutId id="2147483882" r:id="rId24"/>
    <p:sldLayoutId id="2147483883" r:id="rId25"/>
    <p:sldLayoutId id="2147483884" r:id="rId26"/>
    <p:sldLayoutId id="2147483885" r:id="rId27"/>
    <p:sldLayoutId id="2147483886" r:id="rId28"/>
    <p:sldLayoutId id="2147483887" r:id="rId29"/>
    <p:sldLayoutId id="2147483888" r:id="rId30"/>
    <p:sldLayoutId id="2147483889" r:id="rId31"/>
    <p:sldLayoutId id="2147483890" r:id="rId32"/>
    <p:sldLayoutId id="2147483891" r:id="rId33"/>
    <p:sldLayoutId id="2147483892" r:id="rId34"/>
    <p:sldLayoutId id="2147483893" r:id="rId35"/>
    <p:sldLayoutId id="2147483894" r:id="rId36"/>
    <p:sldLayoutId id="2147483895" r:id="rId37"/>
    <p:sldLayoutId id="2147483896" r:id="rId38"/>
    <p:sldLayoutId id="2147483897" r:id="rId39"/>
    <p:sldLayoutId id="2147483898" r:id="rId40"/>
    <p:sldLayoutId id="2147483899" r:id="rId41"/>
    <p:sldLayoutId id="2147483900" r:id="rId42"/>
    <p:sldLayoutId id="2147483901" r:id="rId43"/>
    <p:sldLayoutId id="2147483902" r:id="rId44"/>
    <p:sldLayoutId id="2147483903" r:id="rId45"/>
    <p:sldLayoutId id="2147483904" r:id="rId46"/>
    <p:sldLayoutId id="2147483905" r:id="rId47"/>
    <p:sldLayoutId id="2147483906" r:id="rId48"/>
    <p:sldLayoutId id="2147483907" r:id="rId49"/>
  </p:sldLayoutIdLst>
  <p:transition spd="med"/>
  <p:hf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56">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08E293B-A4EB-C937-B575-56765328E0F8}"/>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F1BB0BA-F291-9C27-D420-2E6DB0A6237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943B88-49D8-A7F4-32FB-6E5D7EDB5373}"/>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2BB8556F-839E-9102-9A68-6015E8232AE9}"/>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43C444D-C612-EF70-2092-F620AB17789F}"/>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9F2F87-6AC8-C543-BDC5-F5BC169AD2EF}" type="slidenum">
              <a:rPr lang="en-US" smtClean="0"/>
              <a:t>‹#›</a:t>
            </a:fld>
            <a:endParaRPr lang="en-US"/>
          </a:p>
        </p:txBody>
      </p:sp>
    </p:spTree>
    <p:extLst>
      <p:ext uri="{BB962C8B-B14F-4D97-AF65-F5344CB8AC3E}">
        <p14:creationId xmlns:p14="http://schemas.microsoft.com/office/powerpoint/2010/main" val="958491442"/>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Lst>
  <p:hf hdr="0" ftr="0" dt="0"/>
  <p:txStyles>
    <p:titleStyle>
      <a:lvl1pPr algn="l" defTabSz="914217"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54" indent="-228554" algn="l" defTabSz="914217"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663" indent="-228554" algn="l" defTabSz="91421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71" indent="-228554" algn="l" defTabSz="91421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80"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304890" y="6400802"/>
            <a:ext cx="5486313" cy="222249"/>
          </a:xfrm>
          <a:prstGeom prst="rect">
            <a:avLst/>
          </a:prstGeom>
        </p:spPr>
        <p:txBody>
          <a:bodyPr vert="horz" lIns="0" tIns="0" rIns="0" bIns="0" rtlCol="0" anchor="ctr"/>
          <a:lstStyle>
            <a:lvl1pPr marL="0" marR="0" indent="0" algn="l" defTabSz="914450" rtl="0" eaLnBrk="1" fontAlgn="auto" latinLnBrk="0" hangingPunct="1">
              <a:lnSpc>
                <a:spcPct val="100000"/>
              </a:lnSpc>
              <a:spcBef>
                <a:spcPts val="0"/>
              </a:spcBef>
              <a:spcAft>
                <a:spcPts val="0"/>
              </a:spcAft>
              <a:buClrTx/>
              <a:buSzTx/>
              <a:buFontTx/>
              <a:buNone/>
              <a:tabLst/>
              <a:defRPr sz="800" b="0" i="0">
                <a:solidFill>
                  <a:schemeClr val="tx1"/>
                </a:solidFill>
                <a:latin typeface="IBM Plex Sans" panose="020B0503050203000203" pitchFamily="34" charset="0"/>
              </a:defRPr>
            </a:lvl1pPr>
          </a:lstStyle>
          <a:p>
            <a:r>
              <a:rPr lang="en-US"/>
              <a:t>Group Name / DOC ID / Month XX, 2022 / © 2022 IBM Corporation</a:t>
            </a:r>
            <a:endParaRPr lang="en-US" dirty="0"/>
          </a:p>
        </p:txBody>
      </p:sp>
      <p:sp>
        <p:nvSpPr>
          <p:cNvPr id="8" name="Slide Number Placeholder"/>
          <p:cNvSpPr>
            <a:spLocks noGrp="1"/>
          </p:cNvSpPr>
          <p:nvPr>
            <p:ph type="sldNum" sz="quarter" idx="4"/>
          </p:nvPr>
        </p:nvSpPr>
        <p:spPr>
          <a:xfrm>
            <a:off x="9448803" y="6400802"/>
            <a:ext cx="2438309" cy="222249"/>
          </a:xfrm>
          <a:prstGeom prst="rect">
            <a:avLst/>
          </a:prstGeom>
        </p:spPr>
        <p:txBody>
          <a:bodyPr vert="horz" lIns="0" tIns="0" rIns="0" bIns="0" rtlCol="0" anchor="ctr"/>
          <a:lstStyle>
            <a:lvl1pPr algn="r">
              <a:defRPr sz="8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46306"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016096947"/>
      </p:ext>
    </p:extLst>
  </p:cSld>
  <p:clrMap bg1="dk1" tx1="lt1" bg2="dk2" tx2="lt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 id="2147483920" r:id="rId5"/>
    <p:sldLayoutId id="2147483921" r:id="rId6"/>
    <p:sldLayoutId id="2147483922" r:id="rId7"/>
    <p:sldLayoutId id="2147483923" r:id="rId8"/>
    <p:sldLayoutId id="2147483924" r:id="rId9"/>
    <p:sldLayoutId id="2147483925" r:id="rId10"/>
    <p:sldLayoutId id="2147483926" r:id="rId11"/>
    <p:sldLayoutId id="2147483927" r:id="rId12"/>
    <p:sldLayoutId id="2147483928" r:id="rId13"/>
    <p:sldLayoutId id="2147483929" r:id="rId14"/>
    <p:sldLayoutId id="2147483930" r:id="rId15"/>
    <p:sldLayoutId id="2147483931" r:id="rId16"/>
    <p:sldLayoutId id="2147483932" r:id="rId17"/>
    <p:sldLayoutId id="2147483933" r:id="rId18"/>
    <p:sldLayoutId id="2147483934" r:id="rId19"/>
    <p:sldLayoutId id="2147483935" r:id="rId20"/>
    <p:sldLayoutId id="2147483936" r:id="rId21"/>
    <p:sldLayoutId id="2147483937" r:id="rId22"/>
    <p:sldLayoutId id="2147483938" r:id="rId23"/>
    <p:sldLayoutId id="2147483939" r:id="rId24"/>
    <p:sldLayoutId id="2147483940" r:id="rId25"/>
    <p:sldLayoutId id="2147483941" r:id="rId26"/>
    <p:sldLayoutId id="2147483942" r:id="rId27"/>
    <p:sldLayoutId id="2147483943" r:id="rId28"/>
    <p:sldLayoutId id="2147483944" r:id="rId29"/>
    <p:sldLayoutId id="2147483945" r:id="rId30"/>
    <p:sldLayoutId id="2147483946" r:id="rId31"/>
    <p:sldLayoutId id="2147483947" r:id="rId32"/>
    <p:sldLayoutId id="2147483948" r:id="rId33"/>
    <p:sldLayoutId id="2147483949" r:id="rId34"/>
    <p:sldLayoutId id="2147483950" r:id="rId35"/>
    <p:sldLayoutId id="2147483951" r:id="rId36"/>
    <p:sldLayoutId id="2147483952" r:id="rId37"/>
    <p:sldLayoutId id="2147483953" r:id="rId38"/>
    <p:sldLayoutId id="2147483954" r:id="rId39"/>
    <p:sldLayoutId id="2147483955" r:id="rId40"/>
    <p:sldLayoutId id="2147483956" r:id="rId41"/>
    <p:sldLayoutId id="2147483957" r:id="rId42"/>
    <p:sldLayoutId id="2147483958" r:id="rId43"/>
    <p:sldLayoutId id="2147483959" r:id="rId44"/>
  </p:sldLayoutIdLst>
  <p:hf hdr="0" dt="0"/>
  <p:txStyles>
    <p:titleStyle>
      <a:lvl1pPr algn="l" rtl="0" eaLnBrk="1" fontAlgn="base" hangingPunct="1">
        <a:lnSpc>
          <a:spcPct val="90000"/>
        </a:lnSpc>
        <a:spcBef>
          <a:spcPct val="0"/>
        </a:spcBef>
        <a:spcAft>
          <a:spcPct val="0"/>
        </a:spcAft>
        <a:defRPr sz="31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959">
          <a:solidFill>
            <a:srgbClr val="191919"/>
          </a:solidFill>
          <a:latin typeface="IBM Plex Sans Light" pitchFamily="34" charset="0"/>
        </a:defRPr>
      </a:lvl2pPr>
      <a:lvl3pPr algn="l" rtl="0" eaLnBrk="1" fontAlgn="base" hangingPunct="1">
        <a:lnSpc>
          <a:spcPct val="90000"/>
        </a:lnSpc>
        <a:spcBef>
          <a:spcPct val="0"/>
        </a:spcBef>
        <a:spcAft>
          <a:spcPct val="0"/>
        </a:spcAft>
        <a:defRPr sz="2959">
          <a:solidFill>
            <a:srgbClr val="191919"/>
          </a:solidFill>
          <a:latin typeface="IBM Plex Sans Light" pitchFamily="34" charset="0"/>
        </a:defRPr>
      </a:lvl3pPr>
      <a:lvl4pPr algn="l" rtl="0" eaLnBrk="1" fontAlgn="base" hangingPunct="1">
        <a:lnSpc>
          <a:spcPct val="90000"/>
        </a:lnSpc>
        <a:spcBef>
          <a:spcPct val="0"/>
        </a:spcBef>
        <a:spcAft>
          <a:spcPct val="0"/>
        </a:spcAft>
        <a:defRPr sz="2959">
          <a:solidFill>
            <a:srgbClr val="191919"/>
          </a:solidFill>
          <a:latin typeface="IBM Plex Sans Light" pitchFamily="34" charset="0"/>
        </a:defRPr>
      </a:lvl4pPr>
      <a:lvl5pPr algn="l" rtl="0" eaLnBrk="1" fontAlgn="base" hangingPunct="1">
        <a:lnSpc>
          <a:spcPct val="90000"/>
        </a:lnSpc>
        <a:spcBef>
          <a:spcPct val="0"/>
        </a:spcBef>
        <a:spcAft>
          <a:spcPct val="0"/>
        </a:spcAft>
        <a:defRPr sz="2959">
          <a:solidFill>
            <a:srgbClr val="191919"/>
          </a:solidFill>
          <a:latin typeface="IBM Plex Sans Light" pitchFamily="34" charset="0"/>
        </a:defRPr>
      </a:lvl5pPr>
      <a:lvl6pPr marL="483315" algn="l" rtl="0" eaLnBrk="1" fontAlgn="base" hangingPunct="1">
        <a:lnSpc>
          <a:spcPct val="90000"/>
        </a:lnSpc>
        <a:spcBef>
          <a:spcPct val="0"/>
        </a:spcBef>
        <a:spcAft>
          <a:spcPct val="0"/>
        </a:spcAft>
        <a:defRPr sz="2959">
          <a:solidFill>
            <a:srgbClr val="191919"/>
          </a:solidFill>
          <a:latin typeface="IBM Plex Sans Light" pitchFamily="34" charset="0"/>
        </a:defRPr>
      </a:lvl6pPr>
      <a:lvl7pPr marL="966635" algn="l" rtl="0" eaLnBrk="1" fontAlgn="base" hangingPunct="1">
        <a:lnSpc>
          <a:spcPct val="90000"/>
        </a:lnSpc>
        <a:spcBef>
          <a:spcPct val="0"/>
        </a:spcBef>
        <a:spcAft>
          <a:spcPct val="0"/>
        </a:spcAft>
        <a:defRPr sz="2959">
          <a:solidFill>
            <a:srgbClr val="191919"/>
          </a:solidFill>
          <a:latin typeface="IBM Plex Sans Light" pitchFamily="34" charset="0"/>
        </a:defRPr>
      </a:lvl7pPr>
      <a:lvl8pPr marL="1449950" algn="l" rtl="0" eaLnBrk="1" fontAlgn="base" hangingPunct="1">
        <a:lnSpc>
          <a:spcPct val="90000"/>
        </a:lnSpc>
        <a:spcBef>
          <a:spcPct val="0"/>
        </a:spcBef>
        <a:spcAft>
          <a:spcPct val="0"/>
        </a:spcAft>
        <a:defRPr sz="2959">
          <a:solidFill>
            <a:srgbClr val="191919"/>
          </a:solidFill>
          <a:latin typeface="IBM Plex Sans Light" pitchFamily="34" charset="0"/>
        </a:defRPr>
      </a:lvl8pPr>
      <a:lvl9pPr marL="1933266" algn="l" rtl="0" eaLnBrk="1" fontAlgn="base" hangingPunct="1">
        <a:lnSpc>
          <a:spcPct val="90000"/>
        </a:lnSpc>
        <a:spcBef>
          <a:spcPct val="0"/>
        </a:spcBef>
        <a:spcAft>
          <a:spcPct val="0"/>
        </a:spcAft>
        <a:defRPr sz="2959">
          <a:solidFill>
            <a:srgbClr val="191919"/>
          </a:solidFill>
          <a:latin typeface="IBM Plex Sans Light" pitchFamily="34" charset="0"/>
        </a:defRPr>
      </a:lvl9pPr>
    </p:titleStyle>
    <p:bodyStyle>
      <a:lvl1pPr marL="0" indent="0" algn="l" rtl="0" eaLnBrk="1" fontAlgn="base" hangingPunct="1">
        <a:lnSpc>
          <a:spcPct val="100000"/>
        </a:lnSpc>
        <a:spcBef>
          <a:spcPts val="1467"/>
        </a:spcBef>
        <a:spcAft>
          <a:spcPct val="0"/>
        </a:spcAft>
        <a:buClr>
          <a:srgbClr val="001141"/>
        </a:buClr>
        <a:buSzPct val="90000"/>
        <a:buFont typeface="IBM Plex Sans Light" pitchFamily="2" charset="2"/>
        <a:buNone/>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8551" indent="-231596"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7104" indent="-231596" algn="l" rtl="0" eaLnBrk="1" fontAlgn="base" hangingPunct="1">
        <a:lnSpc>
          <a:spcPct val="100000"/>
        </a:lnSpc>
        <a:spcBef>
          <a:spcPts val="1467"/>
        </a:spcBef>
        <a:spcAft>
          <a:spcPct val="0"/>
        </a:spcAft>
        <a:buClr>
          <a:srgbClr val="001141"/>
        </a:buClr>
        <a:buSzPct val="100000"/>
        <a:buFont typeface="IBM Plex Sans Light" panose="020B0604020202020204" pitchFamily="34" charset="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8022" indent="-231596"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1070806" indent="-231596" algn="l" rtl="0" eaLnBrk="1" fontAlgn="base" hangingPunct="1">
        <a:lnSpc>
          <a:spcPct val="100000"/>
        </a:lnSpc>
        <a:spcBef>
          <a:spcPts val="1467"/>
        </a:spcBef>
        <a:spcAft>
          <a:spcPct val="0"/>
        </a:spcAft>
        <a:buClr>
          <a:srgbClr val="001141"/>
        </a:buClr>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1153" indent="-172854"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471" indent="-172854"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7787" indent="-172854"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106" indent="-172854" algn="l" rtl="0" eaLnBrk="1" fontAlgn="base" hangingPunct="1">
        <a:spcBef>
          <a:spcPct val="20000"/>
        </a:spcBef>
        <a:spcAft>
          <a:spcPct val="0"/>
        </a:spcAft>
        <a:buClr>
          <a:schemeClr val="bg1"/>
        </a:buClr>
        <a:buChar char="»"/>
        <a:defRPr sz="1692">
          <a:solidFill>
            <a:schemeClr val="bg1"/>
          </a:solidFill>
          <a:latin typeface="IBM Plex Sans Light" charset="0"/>
        </a:defRPr>
      </a:lvl9pPr>
    </p:bodyStyle>
    <p:otherStyle>
      <a:defPPr>
        <a:defRPr lang="en-US"/>
      </a:defPPr>
      <a:lvl1pPr marL="0" algn="l" defTabSz="966635" rtl="0" eaLnBrk="1" latinLnBrk="0" hangingPunct="1">
        <a:defRPr sz="1904" kern="1200">
          <a:solidFill>
            <a:schemeClr val="tx1"/>
          </a:solidFill>
          <a:latin typeface="+mn-lt"/>
          <a:ea typeface="+mn-ea"/>
          <a:cs typeface="+mn-cs"/>
        </a:defRPr>
      </a:lvl1pPr>
      <a:lvl2pPr marL="483315" algn="l" defTabSz="966635" rtl="0" eaLnBrk="1" latinLnBrk="0" hangingPunct="1">
        <a:defRPr sz="1904" kern="1200">
          <a:solidFill>
            <a:schemeClr val="tx1"/>
          </a:solidFill>
          <a:latin typeface="+mn-lt"/>
          <a:ea typeface="+mn-ea"/>
          <a:cs typeface="+mn-cs"/>
        </a:defRPr>
      </a:lvl2pPr>
      <a:lvl3pPr marL="966635" algn="l" defTabSz="966635" rtl="0" eaLnBrk="1" latinLnBrk="0" hangingPunct="1">
        <a:defRPr sz="1904" kern="1200">
          <a:solidFill>
            <a:schemeClr val="tx1"/>
          </a:solidFill>
          <a:latin typeface="+mn-lt"/>
          <a:ea typeface="+mn-ea"/>
          <a:cs typeface="+mn-cs"/>
        </a:defRPr>
      </a:lvl3pPr>
      <a:lvl4pPr marL="1449950" algn="l" defTabSz="966635" rtl="0" eaLnBrk="1" latinLnBrk="0" hangingPunct="1">
        <a:defRPr sz="1904" kern="1200">
          <a:solidFill>
            <a:schemeClr val="tx1"/>
          </a:solidFill>
          <a:latin typeface="+mn-lt"/>
          <a:ea typeface="+mn-ea"/>
          <a:cs typeface="+mn-cs"/>
        </a:defRPr>
      </a:lvl4pPr>
      <a:lvl5pPr marL="1933266" algn="l" defTabSz="966635" rtl="0" eaLnBrk="1" latinLnBrk="0" hangingPunct="1">
        <a:defRPr sz="1904" kern="1200">
          <a:solidFill>
            <a:schemeClr val="tx1"/>
          </a:solidFill>
          <a:latin typeface="+mn-lt"/>
          <a:ea typeface="+mn-ea"/>
          <a:cs typeface="+mn-cs"/>
        </a:defRPr>
      </a:lvl5pPr>
      <a:lvl6pPr marL="2416585" algn="l" defTabSz="966635" rtl="0" eaLnBrk="1" latinLnBrk="0" hangingPunct="1">
        <a:defRPr sz="1904" kern="1200">
          <a:solidFill>
            <a:schemeClr val="tx1"/>
          </a:solidFill>
          <a:latin typeface="+mn-lt"/>
          <a:ea typeface="+mn-ea"/>
          <a:cs typeface="+mn-cs"/>
        </a:defRPr>
      </a:lvl6pPr>
      <a:lvl7pPr marL="2899899" algn="l" defTabSz="966635" rtl="0" eaLnBrk="1" latinLnBrk="0" hangingPunct="1">
        <a:defRPr sz="1904" kern="1200">
          <a:solidFill>
            <a:schemeClr val="tx1"/>
          </a:solidFill>
          <a:latin typeface="+mn-lt"/>
          <a:ea typeface="+mn-ea"/>
          <a:cs typeface="+mn-cs"/>
        </a:defRPr>
      </a:lvl7pPr>
      <a:lvl8pPr marL="3383216" algn="l" defTabSz="966635" rtl="0" eaLnBrk="1" latinLnBrk="0" hangingPunct="1">
        <a:defRPr sz="1904" kern="1200">
          <a:solidFill>
            <a:schemeClr val="tx1"/>
          </a:solidFill>
          <a:latin typeface="+mn-lt"/>
          <a:ea typeface="+mn-ea"/>
          <a:cs typeface="+mn-cs"/>
        </a:defRPr>
      </a:lvl8pPr>
      <a:lvl9pPr marL="3866533" algn="l" defTabSz="966635"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380"/>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87300" y="288925"/>
            <a:ext cx="11293592"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dirty="0"/>
              <a:t>Footer text (optional)</a:t>
            </a:r>
          </a:p>
        </p:txBody>
      </p:sp>
    </p:spTree>
    <p:extLst>
      <p:ext uri="{BB962C8B-B14F-4D97-AF65-F5344CB8AC3E}">
        <p14:creationId xmlns:p14="http://schemas.microsoft.com/office/powerpoint/2010/main" val="202806542"/>
      </p:ext>
    </p:extLst>
  </p:cSld>
  <p:clrMap bg1="dk1" tx1="lt1" bg2="dk2" tx2="lt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 id="2147483972" r:id="rId12"/>
    <p:sldLayoutId id="2147483973" r:id="rId13"/>
    <p:sldLayoutId id="2147483974" r:id="rId14"/>
    <p:sldLayoutId id="2147483975" r:id="rId15"/>
    <p:sldLayoutId id="2147483976" r:id="rId16"/>
    <p:sldLayoutId id="2147483977" r:id="rId17"/>
    <p:sldLayoutId id="2147483978" r:id="rId18"/>
    <p:sldLayoutId id="2147483979" r:id="rId19"/>
    <p:sldLayoutId id="2147483980" r:id="rId20"/>
    <p:sldLayoutId id="2147483981" r:id="rId21"/>
    <p:sldLayoutId id="2147483982" r:id="rId22"/>
    <p:sldLayoutId id="2147483983" r:id="rId23"/>
    <p:sldLayoutId id="2147483984" r:id="rId24"/>
    <p:sldLayoutId id="2147483985" r:id="rId25"/>
    <p:sldLayoutId id="2147483986" r:id="rId26"/>
    <p:sldLayoutId id="2147483987" r:id="rId27"/>
    <p:sldLayoutId id="2147483988" r:id="rId28"/>
    <p:sldLayoutId id="2147483989" r:id="rId29"/>
    <p:sldLayoutId id="2147483990" r:id="rId30"/>
    <p:sldLayoutId id="2147483991" r:id="rId31"/>
    <p:sldLayoutId id="2147483992" r:id="rId32"/>
    <p:sldLayoutId id="2147483993" r:id="rId33"/>
    <p:sldLayoutId id="2147483994" r:id="rId34"/>
    <p:sldLayoutId id="2147483995" r:id="rId35"/>
    <p:sldLayoutId id="2147483996" r:id="rId36"/>
    <p:sldLayoutId id="2147483997" r:id="rId37"/>
    <p:sldLayoutId id="2147483998" r:id="rId38"/>
    <p:sldLayoutId id="2147483999" r:id="rId39"/>
    <p:sldLayoutId id="2147484000" r:id="rId40"/>
    <p:sldLayoutId id="2147484001" r:id="rId41"/>
    <p:sldLayoutId id="2147484002" r:id="rId42"/>
    <p:sldLayoutId id="2147484003" r:id="rId43"/>
    <p:sldLayoutId id="2147484004" r:id="rId44"/>
    <p:sldLayoutId id="2147484005" r:id="rId45"/>
    <p:sldLayoutId id="2147484006" r:id="rId46"/>
    <p:sldLayoutId id="2147484007" r:id="rId47"/>
    <p:sldLayoutId id="2147484008" r:id="rId48"/>
    <p:sldLayoutId id="2147484009" r:id="rId49"/>
  </p:sldLayoutIdLst>
  <p:transition spd="med"/>
  <p:hf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png"/><Relationship Id="rId26" Type="http://schemas.openxmlformats.org/officeDocument/2006/relationships/image" Target="../media/image63.png"/><Relationship Id="rId3" Type="http://schemas.openxmlformats.org/officeDocument/2006/relationships/image" Target="../media/image40.png"/><Relationship Id="rId21" Type="http://schemas.openxmlformats.org/officeDocument/2006/relationships/image" Target="../media/image58.png"/><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png"/><Relationship Id="rId25" Type="http://schemas.openxmlformats.org/officeDocument/2006/relationships/image" Target="../media/image62.png"/><Relationship Id="rId2" Type="http://schemas.openxmlformats.org/officeDocument/2006/relationships/image" Target="../media/image39.jpeg"/><Relationship Id="rId16" Type="http://schemas.openxmlformats.org/officeDocument/2006/relationships/image" Target="../media/image53.png"/><Relationship Id="rId20" Type="http://schemas.openxmlformats.org/officeDocument/2006/relationships/image" Target="../media/image57.png"/><Relationship Id="rId1" Type="http://schemas.openxmlformats.org/officeDocument/2006/relationships/slideLayout" Target="../slideLayouts/slideLayout243.xml"/><Relationship Id="rId6" Type="http://schemas.openxmlformats.org/officeDocument/2006/relationships/image" Target="../media/image43.png"/><Relationship Id="rId11" Type="http://schemas.openxmlformats.org/officeDocument/2006/relationships/image" Target="../media/image48.png"/><Relationship Id="rId24" Type="http://schemas.openxmlformats.org/officeDocument/2006/relationships/image" Target="../media/image61.png"/><Relationship Id="rId5" Type="http://schemas.openxmlformats.org/officeDocument/2006/relationships/image" Target="../media/image42.png"/><Relationship Id="rId15" Type="http://schemas.openxmlformats.org/officeDocument/2006/relationships/image" Target="../media/image52.png"/><Relationship Id="rId23" Type="http://schemas.openxmlformats.org/officeDocument/2006/relationships/image" Target="../media/image60.png"/><Relationship Id="rId28" Type="http://schemas.openxmlformats.org/officeDocument/2006/relationships/image" Target="../media/image65.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image" Target="../media/image41.png"/><Relationship Id="rId9" Type="http://schemas.openxmlformats.org/officeDocument/2006/relationships/image" Target="../media/image46.png"/><Relationship Id="rId14" Type="http://schemas.openxmlformats.org/officeDocument/2006/relationships/image" Target="../media/image51.png"/><Relationship Id="rId22" Type="http://schemas.openxmlformats.org/officeDocument/2006/relationships/image" Target="../media/image59.png"/><Relationship Id="rId27" Type="http://schemas.openxmlformats.org/officeDocument/2006/relationships/image" Target="../media/image64.png"/></Relationships>
</file>

<file path=ppt/slides/_rels/slide11.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6.png"/><Relationship Id="rId18" Type="http://schemas.openxmlformats.org/officeDocument/2006/relationships/image" Target="../media/image81.png"/><Relationship Id="rId26" Type="http://schemas.openxmlformats.org/officeDocument/2006/relationships/image" Target="../media/image89.png"/><Relationship Id="rId3" Type="http://schemas.openxmlformats.org/officeDocument/2006/relationships/image" Target="../media/image66.png"/><Relationship Id="rId21" Type="http://schemas.openxmlformats.org/officeDocument/2006/relationships/image" Target="../media/image84.png"/><Relationship Id="rId7" Type="http://schemas.openxmlformats.org/officeDocument/2006/relationships/image" Target="../media/image70.svg"/><Relationship Id="rId12" Type="http://schemas.openxmlformats.org/officeDocument/2006/relationships/image" Target="../media/image75.svg"/><Relationship Id="rId17" Type="http://schemas.openxmlformats.org/officeDocument/2006/relationships/image" Target="../media/image80.png"/><Relationship Id="rId25" Type="http://schemas.openxmlformats.org/officeDocument/2006/relationships/image" Target="../media/image88.png"/><Relationship Id="rId2" Type="http://schemas.openxmlformats.org/officeDocument/2006/relationships/notesSlide" Target="../notesSlides/notesSlide8.xml"/><Relationship Id="rId16" Type="http://schemas.openxmlformats.org/officeDocument/2006/relationships/image" Target="../media/image79.png"/><Relationship Id="rId20" Type="http://schemas.openxmlformats.org/officeDocument/2006/relationships/image" Target="../media/image83.png"/><Relationship Id="rId1" Type="http://schemas.openxmlformats.org/officeDocument/2006/relationships/slideLayout" Target="../slideLayouts/slideLayout247.xml"/><Relationship Id="rId6" Type="http://schemas.openxmlformats.org/officeDocument/2006/relationships/image" Target="../media/image69.png"/><Relationship Id="rId11" Type="http://schemas.openxmlformats.org/officeDocument/2006/relationships/image" Target="../media/image74.png"/><Relationship Id="rId24" Type="http://schemas.openxmlformats.org/officeDocument/2006/relationships/image" Target="../media/image87.png"/><Relationship Id="rId5" Type="http://schemas.openxmlformats.org/officeDocument/2006/relationships/image" Target="../media/image68.svg"/><Relationship Id="rId15" Type="http://schemas.openxmlformats.org/officeDocument/2006/relationships/image" Target="../media/image78.png"/><Relationship Id="rId23" Type="http://schemas.openxmlformats.org/officeDocument/2006/relationships/image" Target="../media/image86.png"/><Relationship Id="rId10" Type="http://schemas.openxmlformats.org/officeDocument/2006/relationships/image" Target="../media/image73.svg"/><Relationship Id="rId19" Type="http://schemas.openxmlformats.org/officeDocument/2006/relationships/image" Target="../media/image82.png"/><Relationship Id="rId4" Type="http://schemas.openxmlformats.org/officeDocument/2006/relationships/image" Target="../media/image67.png"/><Relationship Id="rId9" Type="http://schemas.openxmlformats.org/officeDocument/2006/relationships/image" Target="../media/image72.png"/><Relationship Id="rId14" Type="http://schemas.openxmlformats.org/officeDocument/2006/relationships/image" Target="../media/image77.svg"/><Relationship Id="rId22" Type="http://schemas.openxmlformats.org/officeDocument/2006/relationships/image" Target="../media/image85.png"/><Relationship Id="rId27" Type="http://schemas.openxmlformats.org/officeDocument/2006/relationships/image" Target="../media/image9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92.xml"/></Relationships>
</file>

<file path=ppt/slides/_rels/slide14.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102.emf"/><Relationship Id="rId3" Type="http://schemas.openxmlformats.org/officeDocument/2006/relationships/image" Target="../media/image92.svg"/><Relationship Id="rId7" Type="http://schemas.openxmlformats.org/officeDocument/2006/relationships/image" Target="../media/image96.svg"/><Relationship Id="rId12" Type="http://schemas.openxmlformats.org/officeDocument/2006/relationships/image" Target="../media/image101.emf"/><Relationship Id="rId2" Type="http://schemas.openxmlformats.org/officeDocument/2006/relationships/image" Target="../media/image91.png"/><Relationship Id="rId1" Type="http://schemas.openxmlformats.org/officeDocument/2006/relationships/slideLayout" Target="../slideLayouts/slideLayout341.xml"/><Relationship Id="rId6" Type="http://schemas.openxmlformats.org/officeDocument/2006/relationships/image" Target="../media/image95.png"/><Relationship Id="rId11" Type="http://schemas.openxmlformats.org/officeDocument/2006/relationships/image" Target="../media/image100.svg"/><Relationship Id="rId5" Type="http://schemas.openxmlformats.org/officeDocument/2006/relationships/image" Target="../media/image94.svg"/><Relationship Id="rId10" Type="http://schemas.openxmlformats.org/officeDocument/2006/relationships/image" Target="../media/image99.png"/><Relationship Id="rId4" Type="http://schemas.openxmlformats.org/officeDocument/2006/relationships/image" Target="../media/image93.png"/><Relationship Id="rId9" Type="http://schemas.openxmlformats.org/officeDocument/2006/relationships/image" Target="../media/image98.svg"/></Relationships>
</file>

<file path=ppt/slides/_rels/slide15.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4.svg"/><Relationship Id="rId7" Type="http://schemas.openxmlformats.org/officeDocument/2006/relationships/image" Target="../media/image108.svg"/><Relationship Id="rId2" Type="http://schemas.openxmlformats.org/officeDocument/2006/relationships/image" Target="../media/image103.png"/><Relationship Id="rId1" Type="http://schemas.openxmlformats.org/officeDocument/2006/relationships/slideLayout" Target="../slideLayouts/slideLayout344.xml"/><Relationship Id="rId6" Type="http://schemas.openxmlformats.org/officeDocument/2006/relationships/image" Target="../media/image107.png"/><Relationship Id="rId5" Type="http://schemas.openxmlformats.org/officeDocument/2006/relationships/image" Target="../media/image106.svg"/><Relationship Id="rId4" Type="http://schemas.openxmlformats.org/officeDocument/2006/relationships/image" Target="../media/image105.png"/><Relationship Id="rId9" Type="http://schemas.openxmlformats.org/officeDocument/2006/relationships/image" Target="../media/image110.svg"/></Relationships>
</file>

<file path=ppt/slides/_rels/slide16.xml.rels><?xml version="1.0" encoding="UTF-8" standalone="yes"?>
<Relationships xmlns="http://schemas.openxmlformats.org/package/2006/relationships"><Relationship Id="rId3" Type="http://schemas.openxmlformats.org/officeDocument/2006/relationships/image" Target="../media/image112.svg"/><Relationship Id="rId2" Type="http://schemas.openxmlformats.org/officeDocument/2006/relationships/image" Target="../media/image111.png"/><Relationship Id="rId1" Type="http://schemas.openxmlformats.org/officeDocument/2006/relationships/slideLayout" Target="../slideLayouts/slideLayout34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8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59.xml"/><Relationship Id="rId4" Type="http://schemas.openxmlformats.org/officeDocument/2006/relationships/chart" Target="../charts/char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0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35.xml"/></Relationships>
</file>

<file path=ppt/slides/_rels/slide2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2.xml"/><Relationship Id="rId1" Type="http://schemas.openxmlformats.org/officeDocument/2006/relationships/slideLayout" Target="../slideLayouts/slideLayout400.xml"/><Relationship Id="rId6" Type="http://schemas.openxmlformats.org/officeDocument/2006/relationships/image" Target="../media/image116.svg"/><Relationship Id="rId5" Type="http://schemas.openxmlformats.org/officeDocument/2006/relationships/image" Target="../media/image115.png"/><Relationship Id="rId4" Type="http://schemas.openxmlformats.org/officeDocument/2006/relationships/image" Target="../media/image114.svg"/></Relationships>
</file>

<file path=ppt/slides/_rels/slide23.xml.rels><?xml version="1.0" encoding="UTF-8" standalone="yes"?>
<Relationships xmlns="http://schemas.openxmlformats.org/package/2006/relationships"><Relationship Id="rId8" Type="http://schemas.openxmlformats.org/officeDocument/2006/relationships/image" Target="../media/image122.png"/><Relationship Id="rId13" Type="http://schemas.openxmlformats.org/officeDocument/2006/relationships/image" Target="../media/image127.png"/><Relationship Id="rId18" Type="http://schemas.openxmlformats.org/officeDocument/2006/relationships/image" Target="../media/image132.png"/><Relationship Id="rId26" Type="http://schemas.openxmlformats.org/officeDocument/2006/relationships/image" Target="../media/image139.png"/><Relationship Id="rId3" Type="http://schemas.openxmlformats.org/officeDocument/2006/relationships/image" Target="../media/image117.png"/><Relationship Id="rId21" Type="http://schemas.openxmlformats.org/officeDocument/2006/relationships/image" Target="../media/image135.jpeg"/><Relationship Id="rId7" Type="http://schemas.openxmlformats.org/officeDocument/2006/relationships/image" Target="../media/image121.jpeg"/><Relationship Id="rId12" Type="http://schemas.openxmlformats.org/officeDocument/2006/relationships/image" Target="../media/image126.png"/><Relationship Id="rId17" Type="http://schemas.openxmlformats.org/officeDocument/2006/relationships/image" Target="../media/image131.png"/><Relationship Id="rId25" Type="http://schemas.openxmlformats.org/officeDocument/2006/relationships/image" Target="../media/image138.png"/><Relationship Id="rId2" Type="http://schemas.openxmlformats.org/officeDocument/2006/relationships/notesSlide" Target="../notesSlides/notesSlide13.xml"/><Relationship Id="rId16" Type="http://schemas.openxmlformats.org/officeDocument/2006/relationships/image" Target="../media/image130.png"/><Relationship Id="rId20" Type="http://schemas.openxmlformats.org/officeDocument/2006/relationships/image" Target="../media/image134.png"/><Relationship Id="rId29" Type="http://schemas.openxmlformats.org/officeDocument/2006/relationships/image" Target="../media/image142.png"/><Relationship Id="rId1" Type="http://schemas.openxmlformats.org/officeDocument/2006/relationships/slideLayout" Target="../slideLayouts/slideLayout189.xml"/><Relationship Id="rId6" Type="http://schemas.openxmlformats.org/officeDocument/2006/relationships/image" Target="../media/image120.png"/><Relationship Id="rId11" Type="http://schemas.openxmlformats.org/officeDocument/2006/relationships/image" Target="../media/image125.png"/><Relationship Id="rId24" Type="http://schemas.openxmlformats.org/officeDocument/2006/relationships/image" Target="../media/image137.png"/><Relationship Id="rId5" Type="http://schemas.openxmlformats.org/officeDocument/2006/relationships/image" Target="../media/image119.jpeg"/><Relationship Id="rId15" Type="http://schemas.openxmlformats.org/officeDocument/2006/relationships/image" Target="../media/image129.png"/><Relationship Id="rId23" Type="http://schemas.openxmlformats.org/officeDocument/2006/relationships/image" Target="../media/image136.png"/><Relationship Id="rId28" Type="http://schemas.openxmlformats.org/officeDocument/2006/relationships/image" Target="../media/image141.png"/><Relationship Id="rId10" Type="http://schemas.openxmlformats.org/officeDocument/2006/relationships/image" Target="../media/image124.png"/><Relationship Id="rId19" Type="http://schemas.openxmlformats.org/officeDocument/2006/relationships/image" Target="../media/image133.png"/><Relationship Id="rId4" Type="http://schemas.openxmlformats.org/officeDocument/2006/relationships/image" Target="../media/image118.jpeg"/><Relationship Id="rId9" Type="http://schemas.openxmlformats.org/officeDocument/2006/relationships/image" Target="../media/image123.jpeg"/><Relationship Id="rId14" Type="http://schemas.openxmlformats.org/officeDocument/2006/relationships/image" Target="../media/image128.jpeg"/><Relationship Id="rId22" Type="http://schemas.openxmlformats.org/officeDocument/2006/relationships/image" Target="../media/image80.png"/><Relationship Id="rId27" Type="http://schemas.openxmlformats.org/officeDocument/2006/relationships/image" Target="../media/image140.png"/></Relationships>
</file>

<file path=ppt/slides/_rels/slide24.xml.rels><?xml version="1.0" encoding="UTF-8" standalone="yes"?>
<Relationships xmlns="http://schemas.openxmlformats.org/package/2006/relationships"><Relationship Id="rId8" Type="http://schemas.openxmlformats.org/officeDocument/2006/relationships/image" Target="../media/image148.svg"/><Relationship Id="rId3" Type="http://schemas.openxmlformats.org/officeDocument/2006/relationships/image" Target="../media/image143.png"/><Relationship Id="rId7" Type="http://schemas.openxmlformats.org/officeDocument/2006/relationships/image" Target="../media/image147.png"/><Relationship Id="rId2" Type="http://schemas.openxmlformats.org/officeDocument/2006/relationships/notesSlide" Target="../notesSlides/notesSlide14.xml"/><Relationship Id="rId1" Type="http://schemas.openxmlformats.org/officeDocument/2006/relationships/slideLayout" Target="../slideLayouts/slideLayout193.xml"/><Relationship Id="rId6" Type="http://schemas.openxmlformats.org/officeDocument/2006/relationships/image" Target="../media/image146.svg"/><Relationship Id="rId5" Type="http://schemas.openxmlformats.org/officeDocument/2006/relationships/image" Target="../media/image145.png"/><Relationship Id="rId4" Type="http://schemas.openxmlformats.org/officeDocument/2006/relationships/image" Target="../media/image144.svg"/></Relationships>
</file>

<file path=ppt/slides/_rels/slide25.xml.rels><?xml version="1.0" encoding="UTF-8" standalone="yes"?>
<Relationships xmlns="http://schemas.openxmlformats.org/package/2006/relationships"><Relationship Id="rId8" Type="http://schemas.openxmlformats.org/officeDocument/2006/relationships/image" Target="../media/image148.svg"/><Relationship Id="rId13" Type="http://schemas.openxmlformats.org/officeDocument/2006/relationships/image" Target="../media/image132.png"/><Relationship Id="rId3" Type="http://schemas.openxmlformats.org/officeDocument/2006/relationships/image" Target="../media/image143.png"/><Relationship Id="rId7" Type="http://schemas.openxmlformats.org/officeDocument/2006/relationships/image" Target="../media/image147.png"/><Relationship Id="rId12" Type="http://schemas.openxmlformats.org/officeDocument/2006/relationships/image" Target="../media/image127.png"/><Relationship Id="rId2" Type="http://schemas.openxmlformats.org/officeDocument/2006/relationships/notesSlide" Target="../notesSlides/notesSlide15.xml"/><Relationship Id="rId1" Type="http://schemas.openxmlformats.org/officeDocument/2006/relationships/slideLayout" Target="../slideLayouts/slideLayout190.xml"/><Relationship Id="rId6" Type="http://schemas.openxmlformats.org/officeDocument/2006/relationships/image" Target="../media/image146.svg"/><Relationship Id="rId11" Type="http://schemas.openxmlformats.org/officeDocument/2006/relationships/image" Target="../media/image125.png"/><Relationship Id="rId5" Type="http://schemas.openxmlformats.org/officeDocument/2006/relationships/image" Target="../media/image145.png"/><Relationship Id="rId10" Type="http://schemas.openxmlformats.org/officeDocument/2006/relationships/image" Target="../media/image124.png"/><Relationship Id="rId4" Type="http://schemas.openxmlformats.org/officeDocument/2006/relationships/image" Target="../media/image144.svg"/><Relationship Id="rId9" Type="http://schemas.openxmlformats.org/officeDocument/2006/relationships/image" Target="../media/image118.jpeg"/></Relationships>
</file>

<file path=ppt/slides/_rels/slide26.xml.rels><?xml version="1.0" encoding="UTF-8" standalone="yes"?>
<Relationships xmlns="http://schemas.openxmlformats.org/package/2006/relationships"><Relationship Id="rId3" Type="http://schemas.openxmlformats.org/officeDocument/2006/relationships/image" Target="../media/image144.svg"/><Relationship Id="rId7" Type="http://schemas.openxmlformats.org/officeDocument/2006/relationships/image" Target="../media/image148.svg"/><Relationship Id="rId2" Type="http://schemas.openxmlformats.org/officeDocument/2006/relationships/image" Target="../media/image143.png"/><Relationship Id="rId1" Type="http://schemas.openxmlformats.org/officeDocument/2006/relationships/slideLayout" Target="../slideLayouts/slideLayout191.xml"/><Relationship Id="rId6" Type="http://schemas.openxmlformats.org/officeDocument/2006/relationships/image" Target="../media/image147.png"/><Relationship Id="rId5" Type="http://schemas.openxmlformats.org/officeDocument/2006/relationships/image" Target="../media/image146.svg"/><Relationship Id="rId4" Type="http://schemas.openxmlformats.org/officeDocument/2006/relationships/image" Target="../media/image145.png"/></Relationships>
</file>

<file path=ppt/slides/_rels/slide27.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image" Target="../media/image149.png"/><Relationship Id="rId7" Type="http://schemas.openxmlformats.org/officeDocument/2006/relationships/image" Target="../media/image144.svg"/><Relationship Id="rId2" Type="http://schemas.openxmlformats.org/officeDocument/2006/relationships/notesSlide" Target="../notesSlides/notesSlide16.xml"/><Relationship Id="rId1" Type="http://schemas.openxmlformats.org/officeDocument/2006/relationships/slideLayout" Target="../slideLayouts/slideLayout190.xml"/><Relationship Id="rId6" Type="http://schemas.openxmlformats.org/officeDocument/2006/relationships/image" Target="../media/image143.png"/><Relationship Id="rId11" Type="http://schemas.openxmlformats.org/officeDocument/2006/relationships/image" Target="../media/image148.svg"/><Relationship Id="rId5" Type="http://schemas.openxmlformats.org/officeDocument/2006/relationships/image" Target="../media/image151.png"/><Relationship Id="rId10" Type="http://schemas.openxmlformats.org/officeDocument/2006/relationships/image" Target="../media/image147.png"/><Relationship Id="rId4" Type="http://schemas.openxmlformats.org/officeDocument/2006/relationships/image" Target="../media/image150.png"/><Relationship Id="rId9" Type="http://schemas.openxmlformats.org/officeDocument/2006/relationships/image" Target="../media/image146.svg"/></Relationships>
</file>

<file path=ppt/slides/_rels/slide28.xml.rels><?xml version="1.0" encoding="UTF-8" standalone="yes"?>
<Relationships xmlns="http://schemas.openxmlformats.org/package/2006/relationships"><Relationship Id="rId13" Type="http://schemas.openxmlformats.org/officeDocument/2006/relationships/image" Target="../media/image162.png"/><Relationship Id="rId18" Type="http://schemas.openxmlformats.org/officeDocument/2006/relationships/image" Target="../media/image167.png"/><Relationship Id="rId26" Type="http://schemas.openxmlformats.org/officeDocument/2006/relationships/image" Target="../media/image175.png"/><Relationship Id="rId39" Type="http://schemas.openxmlformats.org/officeDocument/2006/relationships/hyperlink" Target="https://www.ibm.com/docs/en/watson-orchestrate?topic=prebuilt-apps-skills" TargetMode="External"/><Relationship Id="rId21" Type="http://schemas.openxmlformats.org/officeDocument/2006/relationships/image" Target="../media/image170.png"/><Relationship Id="rId34" Type="http://schemas.openxmlformats.org/officeDocument/2006/relationships/image" Target="../media/image183.png"/><Relationship Id="rId42" Type="http://schemas.openxmlformats.org/officeDocument/2006/relationships/image" Target="../media/image190.png"/><Relationship Id="rId47" Type="http://schemas.openxmlformats.org/officeDocument/2006/relationships/image" Target="../media/image195.png"/><Relationship Id="rId7" Type="http://schemas.openxmlformats.org/officeDocument/2006/relationships/image" Target="../media/image156.png"/><Relationship Id="rId2" Type="http://schemas.openxmlformats.org/officeDocument/2006/relationships/notesSlide" Target="../notesSlides/notesSlide17.xml"/><Relationship Id="rId16" Type="http://schemas.openxmlformats.org/officeDocument/2006/relationships/image" Target="../media/image165.png"/><Relationship Id="rId29" Type="http://schemas.openxmlformats.org/officeDocument/2006/relationships/image" Target="../media/image178.png"/><Relationship Id="rId1" Type="http://schemas.openxmlformats.org/officeDocument/2006/relationships/slideLayout" Target="../slideLayouts/slideLayout192.xml"/><Relationship Id="rId6" Type="http://schemas.openxmlformats.org/officeDocument/2006/relationships/image" Target="../media/image155.png"/><Relationship Id="rId11" Type="http://schemas.openxmlformats.org/officeDocument/2006/relationships/image" Target="../media/image160.png"/><Relationship Id="rId24" Type="http://schemas.openxmlformats.org/officeDocument/2006/relationships/image" Target="../media/image173.png"/><Relationship Id="rId32" Type="http://schemas.openxmlformats.org/officeDocument/2006/relationships/image" Target="../media/image181.png"/><Relationship Id="rId37" Type="http://schemas.openxmlformats.org/officeDocument/2006/relationships/image" Target="../media/image186.png"/><Relationship Id="rId40" Type="http://schemas.openxmlformats.org/officeDocument/2006/relationships/image" Target="../media/image188.png"/><Relationship Id="rId45" Type="http://schemas.openxmlformats.org/officeDocument/2006/relationships/image" Target="../media/image193.png"/><Relationship Id="rId5" Type="http://schemas.openxmlformats.org/officeDocument/2006/relationships/image" Target="../media/image154.png"/><Relationship Id="rId15" Type="http://schemas.openxmlformats.org/officeDocument/2006/relationships/image" Target="../media/image164.png"/><Relationship Id="rId23" Type="http://schemas.openxmlformats.org/officeDocument/2006/relationships/image" Target="../media/image172.png"/><Relationship Id="rId28" Type="http://schemas.openxmlformats.org/officeDocument/2006/relationships/image" Target="../media/image177.png"/><Relationship Id="rId36" Type="http://schemas.openxmlformats.org/officeDocument/2006/relationships/image" Target="../media/image185.png"/><Relationship Id="rId10" Type="http://schemas.openxmlformats.org/officeDocument/2006/relationships/image" Target="../media/image159.png"/><Relationship Id="rId19" Type="http://schemas.openxmlformats.org/officeDocument/2006/relationships/image" Target="../media/image168.png"/><Relationship Id="rId31" Type="http://schemas.openxmlformats.org/officeDocument/2006/relationships/image" Target="../media/image180.png"/><Relationship Id="rId44" Type="http://schemas.openxmlformats.org/officeDocument/2006/relationships/image" Target="../media/image192.png"/><Relationship Id="rId4" Type="http://schemas.openxmlformats.org/officeDocument/2006/relationships/image" Target="../media/image153.png"/><Relationship Id="rId9" Type="http://schemas.openxmlformats.org/officeDocument/2006/relationships/image" Target="../media/image158.png"/><Relationship Id="rId14" Type="http://schemas.openxmlformats.org/officeDocument/2006/relationships/image" Target="../media/image163.png"/><Relationship Id="rId22" Type="http://schemas.openxmlformats.org/officeDocument/2006/relationships/image" Target="../media/image171.png"/><Relationship Id="rId27" Type="http://schemas.openxmlformats.org/officeDocument/2006/relationships/image" Target="../media/image176.png"/><Relationship Id="rId30" Type="http://schemas.openxmlformats.org/officeDocument/2006/relationships/image" Target="../media/image179.png"/><Relationship Id="rId35" Type="http://schemas.openxmlformats.org/officeDocument/2006/relationships/image" Target="../media/image184.png"/><Relationship Id="rId43" Type="http://schemas.openxmlformats.org/officeDocument/2006/relationships/image" Target="../media/image191.png"/><Relationship Id="rId48" Type="http://schemas.openxmlformats.org/officeDocument/2006/relationships/image" Target="../media/image196.png"/><Relationship Id="rId8" Type="http://schemas.openxmlformats.org/officeDocument/2006/relationships/image" Target="../media/image157.png"/><Relationship Id="rId3" Type="http://schemas.openxmlformats.org/officeDocument/2006/relationships/image" Target="../media/image152.png"/><Relationship Id="rId12" Type="http://schemas.openxmlformats.org/officeDocument/2006/relationships/image" Target="../media/image161.png"/><Relationship Id="rId17" Type="http://schemas.openxmlformats.org/officeDocument/2006/relationships/image" Target="../media/image166.png"/><Relationship Id="rId25" Type="http://schemas.openxmlformats.org/officeDocument/2006/relationships/image" Target="../media/image174.png"/><Relationship Id="rId33" Type="http://schemas.openxmlformats.org/officeDocument/2006/relationships/image" Target="../media/image182.png"/><Relationship Id="rId38" Type="http://schemas.openxmlformats.org/officeDocument/2006/relationships/image" Target="../media/image187.png"/><Relationship Id="rId46" Type="http://schemas.openxmlformats.org/officeDocument/2006/relationships/image" Target="../media/image194.png"/><Relationship Id="rId20" Type="http://schemas.openxmlformats.org/officeDocument/2006/relationships/image" Target="../media/image169.png"/><Relationship Id="rId41" Type="http://schemas.openxmlformats.org/officeDocument/2006/relationships/image" Target="../media/image189.png"/></Relationships>
</file>

<file path=ppt/slides/_rels/slide29.xml.rels><?xml version="1.0" encoding="UTF-8" standalone="yes"?>
<Relationships xmlns="http://schemas.openxmlformats.org/package/2006/relationships"><Relationship Id="rId13" Type="http://schemas.openxmlformats.org/officeDocument/2006/relationships/image" Target="../media/image161.png"/><Relationship Id="rId18" Type="http://schemas.openxmlformats.org/officeDocument/2006/relationships/image" Target="../media/image172.png"/><Relationship Id="rId26" Type="http://schemas.openxmlformats.org/officeDocument/2006/relationships/image" Target="../media/image180.png"/><Relationship Id="rId39" Type="http://schemas.openxmlformats.org/officeDocument/2006/relationships/image" Target="../media/image157.png"/><Relationship Id="rId21" Type="http://schemas.openxmlformats.org/officeDocument/2006/relationships/image" Target="../media/image175.png"/><Relationship Id="rId34" Type="http://schemas.openxmlformats.org/officeDocument/2006/relationships/image" Target="../media/image152.png"/><Relationship Id="rId7" Type="http://schemas.openxmlformats.org/officeDocument/2006/relationships/image" Target="../media/image201.png"/><Relationship Id="rId12" Type="http://schemas.openxmlformats.org/officeDocument/2006/relationships/image" Target="../media/image160.png"/><Relationship Id="rId17" Type="http://schemas.openxmlformats.org/officeDocument/2006/relationships/image" Target="../media/image165.png"/><Relationship Id="rId25" Type="http://schemas.openxmlformats.org/officeDocument/2006/relationships/image" Target="../media/image179.png"/><Relationship Id="rId33" Type="http://schemas.openxmlformats.org/officeDocument/2006/relationships/image" Target="../media/image187.png"/><Relationship Id="rId38" Type="http://schemas.openxmlformats.org/officeDocument/2006/relationships/image" Target="../media/image156.png"/><Relationship Id="rId2" Type="http://schemas.openxmlformats.org/officeDocument/2006/relationships/notesSlide" Target="../notesSlides/notesSlide18.xml"/><Relationship Id="rId16" Type="http://schemas.openxmlformats.org/officeDocument/2006/relationships/image" Target="../media/image164.png"/><Relationship Id="rId20" Type="http://schemas.openxmlformats.org/officeDocument/2006/relationships/image" Target="../media/image174.png"/><Relationship Id="rId29" Type="http://schemas.openxmlformats.org/officeDocument/2006/relationships/image" Target="../media/image183.png"/><Relationship Id="rId1" Type="http://schemas.openxmlformats.org/officeDocument/2006/relationships/slideLayout" Target="../slideLayouts/slideLayout192.xml"/><Relationship Id="rId6" Type="http://schemas.openxmlformats.org/officeDocument/2006/relationships/image" Target="../media/image200.png"/><Relationship Id="rId11" Type="http://schemas.openxmlformats.org/officeDocument/2006/relationships/image" Target="../media/image159.png"/><Relationship Id="rId24" Type="http://schemas.openxmlformats.org/officeDocument/2006/relationships/image" Target="../media/image178.png"/><Relationship Id="rId32" Type="http://schemas.openxmlformats.org/officeDocument/2006/relationships/image" Target="../media/image186.png"/><Relationship Id="rId37" Type="http://schemas.openxmlformats.org/officeDocument/2006/relationships/image" Target="../media/image155.png"/><Relationship Id="rId40" Type="http://schemas.openxmlformats.org/officeDocument/2006/relationships/image" Target="../media/image204.png"/><Relationship Id="rId5" Type="http://schemas.openxmlformats.org/officeDocument/2006/relationships/image" Target="../media/image199.png"/><Relationship Id="rId15" Type="http://schemas.openxmlformats.org/officeDocument/2006/relationships/image" Target="../media/image163.png"/><Relationship Id="rId23" Type="http://schemas.openxmlformats.org/officeDocument/2006/relationships/image" Target="../media/image177.png"/><Relationship Id="rId28" Type="http://schemas.openxmlformats.org/officeDocument/2006/relationships/image" Target="../media/image182.png"/><Relationship Id="rId36" Type="http://schemas.openxmlformats.org/officeDocument/2006/relationships/image" Target="../media/image154.png"/><Relationship Id="rId10" Type="http://schemas.openxmlformats.org/officeDocument/2006/relationships/image" Target="../media/image158.png"/><Relationship Id="rId19" Type="http://schemas.openxmlformats.org/officeDocument/2006/relationships/image" Target="../media/image173.png"/><Relationship Id="rId31" Type="http://schemas.openxmlformats.org/officeDocument/2006/relationships/image" Target="../media/image185.png"/><Relationship Id="rId4" Type="http://schemas.openxmlformats.org/officeDocument/2006/relationships/image" Target="../media/image198.png"/><Relationship Id="rId9" Type="http://schemas.openxmlformats.org/officeDocument/2006/relationships/image" Target="../media/image203.png"/><Relationship Id="rId14" Type="http://schemas.openxmlformats.org/officeDocument/2006/relationships/image" Target="../media/image162.png"/><Relationship Id="rId22" Type="http://schemas.openxmlformats.org/officeDocument/2006/relationships/image" Target="../media/image176.png"/><Relationship Id="rId27" Type="http://schemas.openxmlformats.org/officeDocument/2006/relationships/image" Target="../media/image181.png"/><Relationship Id="rId30" Type="http://schemas.openxmlformats.org/officeDocument/2006/relationships/image" Target="../media/image184.png"/><Relationship Id="rId35" Type="http://schemas.openxmlformats.org/officeDocument/2006/relationships/image" Target="../media/image153.png"/><Relationship Id="rId8" Type="http://schemas.openxmlformats.org/officeDocument/2006/relationships/image" Target="../media/image202.png"/><Relationship Id="rId3" Type="http://schemas.openxmlformats.org/officeDocument/2006/relationships/image" Target="../media/image19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6.xml"/></Relationships>
</file>

<file path=ppt/slides/_rels/slide30.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hyperlink" Target="https://cloud-object-storage-cos-static-web-hosting-9uc.s3.us-east.cloud-object-storage.appdomain.cloud/index.html" TargetMode="External"/><Relationship Id="rId1" Type="http://schemas.openxmlformats.org/officeDocument/2006/relationships/slideLayout" Target="../slideLayouts/slideLayout18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9.xm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88.xml"/><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emf"/><Relationship Id="rId2" Type="http://schemas.openxmlformats.org/officeDocument/2006/relationships/notesSlide" Target="../notesSlides/notesSlide5.xml"/><Relationship Id="rId1" Type="http://schemas.openxmlformats.org/officeDocument/2006/relationships/slideLayout" Target="../slideLayouts/slideLayout44.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187.xml"/><Relationship Id="rId5" Type="http://schemas.openxmlformats.org/officeDocument/2006/relationships/image" Target="../media/image36.jpeg"/><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237.xml"/><Relationship Id="rId4" Type="http://schemas.openxmlformats.org/officeDocument/2006/relationships/image" Target="../media/image38.png"/></Relationships>
</file>

<file path=ppt/slides/_rels/slide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7B690C-9D17-98A7-45F7-4EFA635AEC4C}"/>
              </a:ext>
            </a:extLst>
          </p:cNvPr>
          <p:cNvSpPr>
            <a:spLocks noGrp="1"/>
          </p:cNvSpPr>
          <p:nvPr>
            <p:ph type="title"/>
          </p:nvPr>
        </p:nvSpPr>
        <p:spPr>
          <a:xfrm>
            <a:off x="287998" y="192445"/>
            <a:ext cx="5300001" cy="5238830"/>
          </a:xfrm>
        </p:spPr>
        <p:txBody>
          <a:bodyPr/>
          <a:lstStyle/>
          <a:p>
            <a:r>
              <a:rPr lang="en-US" dirty="0">
                <a:solidFill>
                  <a:schemeClr val="accent1"/>
                </a:solidFill>
              </a:rPr>
              <a:t>Transforming </a:t>
            </a:r>
            <a:br>
              <a:rPr lang="en-US" dirty="0">
                <a:solidFill>
                  <a:schemeClr val="accent1"/>
                </a:solidFill>
              </a:rPr>
            </a:br>
            <a:r>
              <a:rPr lang="en-US" dirty="0">
                <a:solidFill>
                  <a:schemeClr val="accent1"/>
                </a:solidFill>
              </a:rPr>
              <a:t>IBM HR</a:t>
            </a:r>
            <a:br>
              <a:rPr lang="en-US" dirty="0">
                <a:solidFill>
                  <a:schemeClr val="accent1"/>
                </a:solidFill>
              </a:rPr>
            </a:br>
            <a:br>
              <a:rPr lang="en-US" dirty="0">
                <a:solidFill>
                  <a:schemeClr val="accent1"/>
                </a:solidFill>
              </a:rPr>
            </a:br>
            <a:br>
              <a:rPr lang="en-US" dirty="0">
                <a:solidFill>
                  <a:schemeClr val="accent1"/>
                </a:solidFill>
              </a:rPr>
            </a:br>
            <a:br>
              <a:rPr lang="en-US" dirty="0">
                <a:solidFill>
                  <a:schemeClr val="accent1"/>
                </a:solidFill>
              </a:rPr>
            </a:br>
            <a:br>
              <a:rPr lang="en-US" dirty="0">
                <a:solidFill>
                  <a:schemeClr val="accent1"/>
                </a:solidFill>
              </a:rPr>
            </a:br>
            <a:br>
              <a:rPr lang="en-US" dirty="0">
                <a:solidFill>
                  <a:schemeClr val="accent1"/>
                </a:solidFill>
              </a:rPr>
            </a:br>
            <a:endParaRPr lang="en-US" dirty="0"/>
          </a:p>
        </p:txBody>
      </p:sp>
      <p:pic>
        <p:nvPicPr>
          <p:cNvPr id="6" name="Picture Placeholder 5" descr="Illustration of cyan arrows flowing to the upper right corner of slide">
            <a:extLst>
              <a:ext uri="{FF2B5EF4-FFF2-40B4-BE49-F238E27FC236}">
                <a16:creationId xmlns:a16="http://schemas.microsoft.com/office/drawing/2014/main" id="{23CEE5CD-E831-3DFC-F207-808C15690E91}"/>
              </a:ext>
            </a:extLst>
          </p:cNvPr>
          <p:cNvPicPr>
            <a:picLocks noGrp="1" noChangeAspect="1"/>
          </p:cNvPicPr>
          <p:nvPr>
            <p:ph type="pic" sz="quarter" idx="12"/>
          </p:nvPr>
        </p:nvPicPr>
        <p:blipFill rotWithShape="1">
          <a:blip r:embed="rId3" cstate="screen">
            <a:extLst>
              <a:ext uri="{28A0092B-C50C-407E-A947-70E740481C1C}">
                <a14:useLocalDpi xmlns:a14="http://schemas.microsoft.com/office/drawing/2010/main"/>
              </a:ext>
            </a:extLst>
          </a:blip>
          <a:srcRect/>
          <a:stretch/>
        </p:blipFill>
        <p:spPr/>
      </p:pic>
      <p:sp>
        <p:nvSpPr>
          <p:cNvPr id="2" name="TextBox 1" descr="IBM 8-bar logo in black">
            <a:extLst>
              <a:ext uri="{FF2B5EF4-FFF2-40B4-BE49-F238E27FC236}">
                <a16:creationId xmlns:a16="http://schemas.microsoft.com/office/drawing/2014/main" id="{47FF669D-AFD9-83C3-6B35-1F5CF8033F7D}"/>
              </a:ext>
            </a:extLst>
          </p:cNvPr>
          <p:cNvSpPr txBox="1"/>
          <p:nvPr/>
        </p:nvSpPr>
        <p:spPr>
          <a:xfrm>
            <a:off x="444442" y="6375016"/>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188" marR="0" lvl="0" indent="-223330" algn="l" defTabSz="1218956" rtl="0" eaLnBrk="1" fontAlgn="auto" latinLnBrk="0" hangingPunct="1">
              <a:lnSpc>
                <a:spcPct val="100000"/>
              </a:lnSpc>
              <a:spcBef>
                <a:spcPts val="1450"/>
              </a:spcBef>
              <a:spcAft>
                <a:spcPts val="0"/>
              </a:spcAft>
              <a:buClrTx/>
              <a:buSzPct val="100000"/>
              <a:buFontTx/>
              <a:buChar char="–"/>
              <a:tabLst/>
              <a:defRPr/>
            </a:pPr>
            <a:endParaRPr kumimoji="0" lang="en-US" sz="18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5" name="TextBox 4">
            <a:extLst>
              <a:ext uri="{FF2B5EF4-FFF2-40B4-BE49-F238E27FC236}">
                <a16:creationId xmlns:a16="http://schemas.microsoft.com/office/drawing/2014/main" id="{0FCB946C-8149-95AF-039D-C1263EA6FFFF}"/>
              </a:ext>
            </a:extLst>
          </p:cNvPr>
          <p:cNvSpPr txBox="1"/>
          <p:nvPr/>
        </p:nvSpPr>
        <p:spPr>
          <a:xfrm>
            <a:off x="21247" y="6489513"/>
            <a:ext cx="26289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IBM| 2024</a:t>
            </a:r>
          </a:p>
        </p:txBody>
      </p:sp>
    </p:spTree>
    <p:extLst>
      <p:ext uri="{BB962C8B-B14F-4D97-AF65-F5344CB8AC3E}">
        <p14:creationId xmlns:p14="http://schemas.microsoft.com/office/powerpoint/2010/main" val="4000984149"/>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E15FEF-AFEF-178B-B4D7-30DF6EB2DEED}"/>
            </a:ext>
          </a:extLst>
        </p:cNvPr>
        <p:cNvGrpSpPr/>
        <p:nvPr/>
      </p:nvGrpSpPr>
      <p:grpSpPr>
        <a:xfrm>
          <a:off x="0" y="0"/>
          <a:ext cx="0" cy="0"/>
          <a:chOff x="0" y="0"/>
          <a:chExt cx="0" cy="0"/>
        </a:xfrm>
      </p:grpSpPr>
      <p:pic>
        <p:nvPicPr>
          <p:cNvPr id="1028" name="Picture 4" descr="Amazon Web Services, Inc. | Zoom Partner">
            <a:extLst>
              <a:ext uri="{FF2B5EF4-FFF2-40B4-BE49-F238E27FC236}">
                <a16:creationId xmlns:a16="http://schemas.microsoft.com/office/drawing/2014/main" id="{5E030085-0BD7-5D73-F813-66E2E85F6D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96368" y="5863141"/>
            <a:ext cx="594283" cy="43945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Azure Data Service Platforms: An ...">
            <a:extLst>
              <a:ext uri="{FF2B5EF4-FFF2-40B4-BE49-F238E27FC236}">
                <a16:creationId xmlns:a16="http://schemas.microsoft.com/office/drawing/2014/main" id="{2506E82F-1B29-2247-D70F-9B50D02FE83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01988" y="5824978"/>
            <a:ext cx="777139" cy="517152"/>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4">
            <a:extLst>
              <a:ext uri="{FF2B5EF4-FFF2-40B4-BE49-F238E27FC236}">
                <a16:creationId xmlns:a16="http://schemas.microsoft.com/office/drawing/2014/main" id="{5D7F56A8-BE24-521C-BAA9-6A5A5917E69D}"/>
              </a:ext>
            </a:extLst>
          </p:cNvPr>
          <p:cNvSpPr/>
          <p:nvPr/>
        </p:nvSpPr>
        <p:spPr>
          <a:xfrm>
            <a:off x="8176693" y="702963"/>
            <a:ext cx="1822774" cy="1195892"/>
          </a:xfrm>
          <a:prstGeom prst="roundRect">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2860DBF6-DC1A-D4F5-3FED-85FACF4083D4}"/>
              </a:ext>
            </a:extLst>
          </p:cNvPr>
          <p:cNvSpPr/>
          <p:nvPr/>
        </p:nvSpPr>
        <p:spPr>
          <a:xfrm>
            <a:off x="3942427" y="1192897"/>
            <a:ext cx="3645550" cy="3105466"/>
          </a:xfrm>
          <a:prstGeom prst="roundRect">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91428" tIns="45714" rIns="91428" bIns="45714"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BM Plex Sans Text"/>
              <a:ea typeface="+mn-ea"/>
              <a:cs typeface="Calibri"/>
            </a:endParaRPr>
          </a:p>
        </p:txBody>
      </p:sp>
      <p:sp>
        <p:nvSpPr>
          <p:cNvPr id="36" name="Rectangle 35">
            <a:extLst>
              <a:ext uri="{FF2B5EF4-FFF2-40B4-BE49-F238E27FC236}">
                <a16:creationId xmlns:a16="http://schemas.microsoft.com/office/drawing/2014/main" id="{161CF646-DFF5-BD73-045D-F6B2B4AAE884}"/>
              </a:ext>
            </a:extLst>
          </p:cNvPr>
          <p:cNvSpPr/>
          <p:nvPr/>
        </p:nvSpPr>
        <p:spPr>
          <a:xfrm>
            <a:off x="7105760" y="3763107"/>
            <a:ext cx="636139" cy="63613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D346B967-323E-A1D7-95E3-8A91DBDB221A}"/>
              </a:ext>
            </a:extLst>
          </p:cNvPr>
          <p:cNvPicPr>
            <a:picLocks noChangeAspect="1"/>
          </p:cNvPicPr>
          <p:nvPr/>
        </p:nvPicPr>
        <p:blipFill>
          <a:blip r:embed="rId4"/>
          <a:stretch>
            <a:fillRect/>
          </a:stretch>
        </p:blipFill>
        <p:spPr>
          <a:xfrm>
            <a:off x="456004" y="3141599"/>
            <a:ext cx="632668" cy="642311"/>
          </a:xfrm>
          <a:prstGeom prst="rect">
            <a:avLst/>
          </a:prstGeom>
        </p:spPr>
      </p:pic>
      <p:sp>
        <p:nvSpPr>
          <p:cNvPr id="5" name="Rectangle 4">
            <a:extLst>
              <a:ext uri="{FF2B5EF4-FFF2-40B4-BE49-F238E27FC236}">
                <a16:creationId xmlns:a16="http://schemas.microsoft.com/office/drawing/2014/main" id="{66F470DE-D2AF-B73F-6E38-6E7364CFDC7B}"/>
              </a:ext>
            </a:extLst>
          </p:cNvPr>
          <p:cNvSpPr/>
          <p:nvPr/>
        </p:nvSpPr>
        <p:spPr>
          <a:xfrm>
            <a:off x="1736770" y="1181874"/>
            <a:ext cx="1292336" cy="4544998"/>
          </a:xfrm>
          <a:prstGeom prst="roundRect">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8AE7FABB-072F-10B8-D72C-4C3EE79D62BA}"/>
              </a:ext>
            </a:extLst>
          </p:cNvPr>
          <p:cNvSpPr/>
          <p:nvPr/>
        </p:nvSpPr>
        <p:spPr>
          <a:xfrm>
            <a:off x="1813924" y="1128832"/>
            <a:ext cx="1128385" cy="192888"/>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lIns="91428" tIns="45714" rIns="91428" bIns="45714"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IBM Plex Sans"/>
                <a:ea typeface="+mn-ea"/>
                <a:cs typeface="+mn-cs"/>
              </a:rPr>
              <a:t>User Interface</a:t>
            </a:r>
          </a:p>
        </p:txBody>
      </p:sp>
      <p:sp>
        <p:nvSpPr>
          <p:cNvPr id="23" name="Rectangle 18">
            <a:extLst>
              <a:ext uri="{FF2B5EF4-FFF2-40B4-BE49-F238E27FC236}">
                <a16:creationId xmlns:a16="http://schemas.microsoft.com/office/drawing/2014/main" id="{D113AB2C-F66F-B98C-49B6-EDFAC6B0C8C9}"/>
              </a:ext>
            </a:extLst>
          </p:cNvPr>
          <p:cNvSpPr/>
          <p:nvPr/>
        </p:nvSpPr>
        <p:spPr>
          <a:xfrm>
            <a:off x="376920" y="3781016"/>
            <a:ext cx="790835" cy="202533"/>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lIns="91428" tIns="45714" rIns="91428" bIns="45714"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IBM Plex Sans"/>
                <a:ea typeface="+mn-ea"/>
                <a:cs typeface="+mn-cs"/>
              </a:rPr>
              <a:t>Users</a:t>
            </a: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305748CA-B8BF-5B82-023D-A30ECF74C47F}"/>
              </a:ext>
            </a:extLst>
          </p:cNvPr>
          <p:cNvSpPr txBox="1"/>
          <p:nvPr/>
        </p:nvSpPr>
        <p:spPr>
          <a:xfrm>
            <a:off x="6417019" y="4351411"/>
            <a:ext cx="2074259" cy="723263"/>
          </a:xfrm>
          <a:prstGeom prst="rect">
            <a:avLst/>
          </a:prstGeom>
          <a:noFill/>
        </p:spPr>
        <p:txBody>
          <a:bodyPr rot="0" spcFirstLastPara="0" vertOverflow="overflow" horzOverflow="overflow" vert="horz" wrap="square" lIns="91428" tIns="45714" rIns="91428" bIns="45714" numCol="1" spcCol="0" rtlCol="0" fromWordArt="0" anchor="t" anchorCtr="0" forceAA="0" compatLnSpc="1">
            <a:prstTxWarp prst="textNoShape">
              <a:avLst/>
            </a:prstTxWarp>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srgbClr val="4472C4"/>
                </a:solidFill>
                <a:effectLst/>
                <a:uLnTx/>
                <a:uFillTx/>
                <a:latin typeface="IBM Plex Sans"/>
                <a:ea typeface="+mn-ea"/>
                <a:cs typeface="+mn-cs"/>
              </a:rPr>
              <a:t>watsonx</a:t>
            </a:r>
            <a:r>
              <a:rPr kumimoji="0" lang="en-US" sz="1100" b="1" i="0" u="none" strike="noStrike" kern="1200" cap="none" spc="0" normalizeH="0" baseline="0" noProof="0" dirty="0">
                <a:ln>
                  <a:noFill/>
                </a:ln>
                <a:solidFill>
                  <a:srgbClr val="4472C4"/>
                </a:solidFill>
                <a:effectLst/>
                <a:uLnTx/>
                <a:uFillTx/>
                <a:latin typeface="IBM Plex Sans"/>
                <a:ea typeface="+mn-ea"/>
                <a:cs typeface="+mn-cs"/>
              </a:rPr>
              <a:t> orchestrate</a:t>
            </a:r>
            <a:endParaRPr kumimoji="0" lang="en-US" sz="1800" b="0" i="0" u="none" strike="noStrike" kern="1200" cap="none" spc="0" normalizeH="0" baseline="0" noProof="0" dirty="0">
              <a:ln>
                <a:noFill/>
              </a:ln>
              <a:solidFill>
                <a:srgbClr val="4472C4"/>
              </a:solidFill>
              <a:effectLst/>
              <a:uLnTx/>
              <a:uFillTx/>
              <a:latin typeface="Calibri" panose="020F0502020204030204"/>
              <a:ea typeface="+mn-ea"/>
              <a:cs typeface="+mn-cs"/>
            </a:endParaRP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IBM Plex Sans"/>
                <a:ea typeface="+mn-ea"/>
                <a:cs typeface="+mn-cs"/>
              </a:rPr>
              <a:t>Virtual Assistant, Skills Builder &amp; Automation Capabilities</a:t>
            </a:r>
          </a:p>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IBM Plex Sans"/>
              <a:ea typeface="+mn-ea"/>
              <a:cs typeface="+mn-cs"/>
            </a:endParaRPr>
          </a:p>
        </p:txBody>
      </p:sp>
      <p:sp>
        <p:nvSpPr>
          <p:cNvPr id="27" name="Rectangle 18">
            <a:extLst>
              <a:ext uri="{FF2B5EF4-FFF2-40B4-BE49-F238E27FC236}">
                <a16:creationId xmlns:a16="http://schemas.microsoft.com/office/drawing/2014/main" id="{08DB6620-62F9-0165-54A6-AC9DD4D280B3}"/>
              </a:ext>
            </a:extLst>
          </p:cNvPr>
          <p:cNvSpPr/>
          <p:nvPr/>
        </p:nvSpPr>
        <p:spPr>
          <a:xfrm>
            <a:off x="4276257" y="1076936"/>
            <a:ext cx="1291190" cy="255806"/>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lIns="91428" tIns="45714" rIns="91428" bIns="45714"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IBM Plex Sans"/>
                <a:ea typeface="+mn-ea"/>
                <a:cs typeface="+mn-cs"/>
              </a:rPr>
              <a:t>Virtual Assistant</a:t>
            </a:r>
          </a:p>
        </p:txBody>
      </p:sp>
      <p:grpSp>
        <p:nvGrpSpPr>
          <p:cNvPr id="34" name="Group 33">
            <a:extLst>
              <a:ext uri="{FF2B5EF4-FFF2-40B4-BE49-F238E27FC236}">
                <a16:creationId xmlns:a16="http://schemas.microsoft.com/office/drawing/2014/main" id="{060C8C5E-757B-4A2F-09FF-608FB0DEEEB5}"/>
              </a:ext>
            </a:extLst>
          </p:cNvPr>
          <p:cNvGrpSpPr/>
          <p:nvPr/>
        </p:nvGrpSpPr>
        <p:grpSpPr>
          <a:xfrm>
            <a:off x="2161121" y="1466381"/>
            <a:ext cx="431619" cy="4193667"/>
            <a:chOff x="2068973" y="1386068"/>
            <a:chExt cx="431675" cy="4194213"/>
          </a:xfrm>
        </p:grpSpPr>
        <p:pic>
          <p:nvPicPr>
            <p:cNvPr id="7" name="Picture 2" descr="Microsoft Teams Logo transparent PNG - StickPNG">
              <a:extLst>
                <a:ext uri="{FF2B5EF4-FFF2-40B4-BE49-F238E27FC236}">
                  <a16:creationId xmlns:a16="http://schemas.microsoft.com/office/drawing/2014/main" id="{D9392C52-082E-C2BD-EACD-B4D564E4824E}"/>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2068973" y="3876339"/>
              <a:ext cx="431675" cy="38997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Slack New Logo Icon transparent PNG - StickPNG">
              <a:extLst>
                <a:ext uri="{FF2B5EF4-FFF2-40B4-BE49-F238E27FC236}">
                  <a16:creationId xmlns:a16="http://schemas.microsoft.com/office/drawing/2014/main" id="{E238367B-196E-D582-1BDA-EBF4472A5846}"/>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126846" y="3265828"/>
              <a:ext cx="315592" cy="31559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4AA29265-0E8E-691A-EB6F-8BAC9EA77AEC}"/>
                </a:ext>
              </a:extLst>
            </p:cNvPr>
            <p:cNvPicPr>
              <a:picLocks noChangeAspect="1"/>
            </p:cNvPicPr>
            <p:nvPr/>
          </p:nvPicPr>
          <p:blipFill>
            <a:blip r:embed="rId7"/>
            <a:stretch>
              <a:fillRect/>
            </a:stretch>
          </p:blipFill>
          <p:spPr>
            <a:xfrm>
              <a:off x="2117201" y="2636026"/>
              <a:ext cx="333737" cy="333738"/>
            </a:xfrm>
            <a:prstGeom prst="rect">
              <a:avLst/>
            </a:prstGeom>
          </p:spPr>
        </p:pic>
        <p:pic>
          <p:nvPicPr>
            <p:cNvPr id="11" name="Picture 10">
              <a:extLst>
                <a:ext uri="{FF2B5EF4-FFF2-40B4-BE49-F238E27FC236}">
                  <a16:creationId xmlns:a16="http://schemas.microsoft.com/office/drawing/2014/main" id="{1774F821-A879-FEEC-D9E9-A2589F9983A3}"/>
                </a:ext>
              </a:extLst>
            </p:cNvPr>
            <p:cNvPicPr>
              <a:picLocks noChangeAspect="1"/>
            </p:cNvPicPr>
            <p:nvPr/>
          </p:nvPicPr>
          <p:blipFill>
            <a:blip r:embed="rId8"/>
            <a:stretch>
              <a:fillRect/>
            </a:stretch>
          </p:blipFill>
          <p:spPr>
            <a:xfrm>
              <a:off x="2122023" y="2006224"/>
              <a:ext cx="324092" cy="333737"/>
            </a:xfrm>
            <a:prstGeom prst="rect">
              <a:avLst/>
            </a:prstGeom>
          </p:spPr>
        </p:pic>
        <p:pic>
          <p:nvPicPr>
            <p:cNvPr id="13" name="Picture 12" descr="File:Facebook Messenger logo 2020.svg - Wikipedia">
              <a:extLst>
                <a:ext uri="{FF2B5EF4-FFF2-40B4-BE49-F238E27FC236}">
                  <a16:creationId xmlns:a16="http://schemas.microsoft.com/office/drawing/2014/main" id="{EEE1B7B6-87F5-0FB7-9326-8268B7108238}"/>
                </a:ext>
              </a:extLst>
            </p:cNvPr>
            <p:cNvPicPr>
              <a:picLocks noChangeAspect="1"/>
            </p:cNvPicPr>
            <p:nvPr/>
          </p:nvPicPr>
          <p:blipFill>
            <a:blip r:embed="rId9"/>
            <a:stretch>
              <a:fillRect/>
            </a:stretch>
          </p:blipFill>
          <p:spPr>
            <a:xfrm>
              <a:off x="2126846" y="4564014"/>
              <a:ext cx="312519" cy="312518"/>
            </a:xfrm>
            <a:prstGeom prst="rect">
              <a:avLst/>
            </a:prstGeom>
          </p:spPr>
        </p:pic>
        <p:pic>
          <p:nvPicPr>
            <p:cNvPr id="14" name="Picture 13" descr="File:WhatsApp.svg - Wikipedia">
              <a:extLst>
                <a:ext uri="{FF2B5EF4-FFF2-40B4-BE49-F238E27FC236}">
                  <a16:creationId xmlns:a16="http://schemas.microsoft.com/office/drawing/2014/main" id="{B304BDF6-33C4-9C6A-83E0-8C35741913B8}"/>
                </a:ext>
              </a:extLst>
            </p:cNvPr>
            <p:cNvPicPr>
              <a:picLocks noChangeAspect="1"/>
            </p:cNvPicPr>
            <p:nvPr/>
          </p:nvPicPr>
          <p:blipFill>
            <a:blip r:embed="rId10"/>
            <a:stretch>
              <a:fillRect/>
            </a:stretch>
          </p:blipFill>
          <p:spPr>
            <a:xfrm>
              <a:off x="2073796" y="5174525"/>
              <a:ext cx="418618" cy="405756"/>
            </a:xfrm>
            <a:prstGeom prst="rect">
              <a:avLst/>
            </a:prstGeom>
          </p:spPr>
        </p:pic>
        <p:pic>
          <p:nvPicPr>
            <p:cNvPr id="33" name="Picture 32">
              <a:extLst>
                <a:ext uri="{FF2B5EF4-FFF2-40B4-BE49-F238E27FC236}">
                  <a16:creationId xmlns:a16="http://schemas.microsoft.com/office/drawing/2014/main" id="{9685BED4-3122-AF6C-1460-0E555E932AA1}"/>
                </a:ext>
              </a:extLst>
            </p:cNvPr>
            <p:cNvPicPr>
              <a:picLocks noChangeAspect="1"/>
            </p:cNvPicPr>
            <p:nvPr/>
          </p:nvPicPr>
          <p:blipFill>
            <a:blip r:embed="rId11"/>
            <a:stretch>
              <a:fillRect/>
            </a:stretch>
          </p:blipFill>
          <p:spPr>
            <a:xfrm>
              <a:off x="2172182" y="1386068"/>
              <a:ext cx="275864" cy="333737"/>
            </a:xfrm>
            <a:prstGeom prst="rect">
              <a:avLst/>
            </a:prstGeom>
          </p:spPr>
        </p:pic>
      </p:grpSp>
      <p:sp>
        <p:nvSpPr>
          <p:cNvPr id="18" name="Freeform 11">
            <a:extLst>
              <a:ext uri="{FF2B5EF4-FFF2-40B4-BE49-F238E27FC236}">
                <a16:creationId xmlns:a16="http://schemas.microsoft.com/office/drawing/2014/main" id="{C76216FE-2C8D-5C66-2BAE-C4ECB7E5293F}"/>
              </a:ext>
            </a:extLst>
          </p:cNvPr>
          <p:cNvSpPr>
            <a:spLocks noChangeAspect="1"/>
          </p:cNvSpPr>
          <p:nvPr/>
        </p:nvSpPr>
        <p:spPr>
          <a:xfrm>
            <a:off x="7173220" y="3887620"/>
            <a:ext cx="510330" cy="467763"/>
          </a:xfrm>
          <a:custGeom>
            <a:avLst/>
            <a:gdLst>
              <a:gd name="connsiteX0" fmla="*/ 772312 w 1562510"/>
              <a:gd name="connsiteY0" fmla="*/ 1460952 h 1460952"/>
              <a:gd name="connsiteX1" fmla="*/ 495818 w 1562510"/>
              <a:gd name="connsiteY1" fmla="*/ 1386386 h 1460952"/>
              <a:gd name="connsiteX2" fmla="*/ 495818 w 1562510"/>
              <a:gd name="connsiteY2" fmla="*/ 1386336 h 1460952"/>
              <a:gd name="connsiteX3" fmla="*/ 233667 w 1562510"/>
              <a:gd name="connsiteY3" fmla="*/ 1035123 h 1460952"/>
              <a:gd name="connsiteX4" fmla="*/ 247197 w 1562510"/>
              <a:gd name="connsiteY4" fmla="*/ 1013048 h 1460952"/>
              <a:gd name="connsiteX5" fmla="*/ 269272 w 1562510"/>
              <a:gd name="connsiteY5" fmla="*/ 1026578 h 1460952"/>
              <a:gd name="connsiteX6" fmla="*/ 427813 w 1562510"/>
              <a:gd name="connsiteY6" fmla="*/ 1292492 h 1460952"/>
              <a:gd name="connsiteX7" fmla="*/ 426491 w 1562510"/>
              <a:gd name="connsiteY7" fmla="*/ 1094277 h 1460952"/>
              <a:gd name="connsiteX8" fmla="*/ 306453 w 1562510"/>
              <a:gd name="connsiteY8" fmla="*/ 936295 h 1460952"/>
              <a:gd name="connsiteX9" fmla="*/ 290584 w 1562510"/>
              <a:gd name="connsiteY9" fmla="*/ 632640 h 1460952"/>
              <a:gd name="connsiteX10" fmla="*/ 620433 w 1562510"/>
              <a:gd name="connsiteY10" fmla="*/ 495461 h 1460952"/>
              <a:gd name="connsiteX11" fmla="*/ 637473 w 1562510"/>
              <a:gd name="connsiteY11" fmla="*/ 514942 h 1460952"/>
              <a:gd name="connsiteX12" fmla="*/ 617992 w 1562510"/>
              <a:gd name="connsiteY12" fmla="*/ 531981 h 1460952"/>
              <a:gd name="connsiteX13" fmla="*/ 322272 w 1562510"/>
              <a:gd name="connsiteY13" fmla="*/ 650951 h 1460952"/>
              <a:gd name="connsiteX14" fmla="*/ 338904 w 1562510"/>
              <a:gd name="connsiteY14" fmla="*/ 919256 h 1460952"/>
              <a:gd name="connsiteX15" fmla="*/ 435850 w 1562510"/>
              <a:gd name="connsiteY15" fmla="*/ 1051756 h 1460952"/>
              <a:gd name="connsiteX16" fmla="*/ 550191 w 1562510"/>
              <a:gd name="connsiteY16" fmla="*/ 777194 h 1460952"/>
              <a:gd name="connsiteX17" fmla="*/ 805577 w 1562510"/>
              <a:gd name="connsiteY17" fmla="*/ 478117 h 1460952"/>
              <a:gd name="connsiteX18" fmla="*/ 935177 w 1562510"/>
              <a:gd name="connsiteY18" fmla="*/ 413622 h 1460952"/>
              <a:gd name="connsiteX19" fmla="*/ 641186 w 1562510"/>
              <a:gd name="connsiteY19" fmla="*/ 404924 h 1460952"/>
              <a:gd name="connsiteX20" fmla="*/ 618806 w 1562510"/>
              <a:gd name="connsiteY20" fmla="*/ 391903 h 1460952"/>
              <a:gd name="connsiteX21" fmla="*/ 631827 w 1562510"/>
              <a:gd name="connsiteY21" fmla="*/ 369523 h 1460952"/>
              <a:gd name="connsiteX22" fmla="*/ 1050535 w 1562510"/>
              <a:gd name="connsiteY22" fmla="*/ 425524 h 1460952"/>
              <a:gd name="connsiteX23" fmla="*/ 1050637 w 1562510"/>
              <a:gd name="connsiteY23" fmla="*/ 425575 h 1460952"/>
              <a:gd name="connsiteX24" fmla="*/ 1309024 w 1562510"/>
              <a:gd name="connsiteY24" fmla="*/ 762444 h 1460952"/>
              <a:gd name="connsiteX25" fmla="*/ 1253582 w 1562510"/>
              <a:gd name="connsiteY25" fmla="*/ 1183390 h 1460952"/>
              <a:gd name="connsiteX26" fmla="*/ 916713 w 1562510"/>
              <a:gd name="connsiteY26" fmla="*/ 1441879 h 1460952"/>
              <a:gd name="connsiteX27" fmla="*/ 772312 w 1562510"/>
              <a:gd name="connsiteY27" fmla="*/ 1460952 h 1460952"/>
              <a:gd name="connsiteX28" fmla="*/ 515349 w 1562510"/>
              <a:gd name="connsiteY28" fmla="*/ 1355360 h 1460952"/>
              <a:gd name="connsiteX29" fmla="*/ 907354 w 1562510"/>
              <a:gd name="connsiteY29" fmla="*/ 1406427 h 1460952"/>
              <a:gd name="connsiteX30" fmla="*/ 1107960 w 1562510"/>
              <a:gd name="connsiteY30" fmla="*/ 1301800 h 1460952"/>
              <a:gd name="connsiteX31" fmla="*/ 980293 w 1562510"/>
              <a:gd name="connsiteY31" fmla="*/ 1325249 h 1460952"/>
              <a:gd name="connsiteX32" fmla="*/ 592357 w 1562510"/>
              <a:gd name="connsiteY32" fmla="*/ 1219096 h 1460952"/>
              <a:gd name="connsiteX33" fmla="*/ 459196 w 1562510"/>
              <a:gd name="connsiteY33" fmla="*/ 1124389 h 1460952"/>
              <a:gd name="connsiteX34" fmla="*/ 514180 w 1562510"/>
              <a:gd name="connsiteY34" fmla="*/ 1354597 h 1460952"/>
              <a:gd name="connsiteX35" fmla="*/ 515349 w 1562510"/>
              <a:gd name="connsiteY35" fmla="*/ 1355360 h 1460952"/>
              <a:gd name="connsiteX36" fmla="*/ 467029 w 1562510"/>
              <a:gd name="connsiteY36" fmla="*/ 1082325 h 1460952"/>
              <a:gd name="connsiteX37" fmla="*/ 610668 w 1562510"/>
              <a:gd name="connsiteY37" fmla="*/ 1187409 h 1460952"/>
              <a:gd name="connsiteX38" fmla="*/ 978869 w 1562510"/>
              <a:gd name="connsiteY38" fmla="*/ 1288678 h 1460952"/>
              <a:gd name="connsiteX39" fmla="*/ 1219504 w 1562510"/>
              <a:gd name="connsiteY39" fmla="*/ 1168945 h 1460952"/>
              <a:gd name="connsiteX40" fmla="*/ 1220725 w 1562510"/>
              <a:gd name="connsiteY40" fmla="*/ 1167012 h 1460952"/>
              <a:gd name="connsiteX41" fmla="*/ 1221894 w 1562510"/>
              <a:gd name="connsiteY41" fmla="*/ 1165029 h 1460952"/>
              <a:gd name="connsiteX42" fmla="*/ 1273673 w 1562510"/>
              <a:gd name="connsiteY42" fmla="*/ 771803 h 1460952"/>
              <a:gd name="connsiteX43" fmla="*/ 1034005 w 1562510"/>
              <a:gd name="connsiteY43" fmla="*/ 458178 h 1460952"/>
              <a:gd name="connsiteX44" fmla="*/ 1032224 w 1562510"/>
              <a:gd name="connsiteY44" fmla="*/ 457263 h 1460952"/>
              <a:gd name="connsiteX45" fmla="*/ 827092 w 1562510"/>
              <a:gd name="connsiteY45" fmla="*/ 507719 h 1460952"/>
              <a:gd name="connsiteX46" fmla="*/ 581879 w 1562510"/>
              <a:gd name="connsiteY46" fmla="*/ 795505 h 1460952"/>
              <a:gd name="connsiteX47" fmla="*/ 467029 w 1562510"/>
              <a:gd name="connsiteY47" fmla="*/ 1082325 h 1460952"/>
              <a:gd name="connsiteX48" fmla="*/ 1392999 w 1562510"/>
              <a:gd name="connsiteY48" fmla="*/ 564331 h 1460952"/>
              <a:gd name="connsiteX49" fmla="*/ 1377130 w 1562510"/>
              <a:gd name="connsiteY49" fmla="*/ 555175 h 1460952"/>
              <a:gd name="connsiteX50" fmla="*/ 1383844 w 1562510"/>
              <a:gd name="connsiteY50" fmla="*/ 530150 h 1460952"/>
              <a:gd name="connsiteX51" fmla="*/ 1535061 w 1562510"/>
              <a:gd name="connsiteY51" fmla="*/ 442869 h 1460952"/>
              <a:gd name="connsiteX52" fmla="*/ 1560035 w 1562510"/>
              <a:gd name="connsiteY52" fmla="*/ 449582 h 1460952"/>
              <a:gd name="connsiteX53" fmla="*/ 1553321 w 1562510"/>
              <a:gd name="connsiteY53" fmla="*/ 474607 h 1460952"/>
              <a:gd name="connsiteX54" fmla="*/ 1402104 w 1562510"/>
              <a:gd name="connsiteY54" fmla="*/ 561889 h 1460952"/>
              <a:gd name="connsiteX55" fmla="*/ 1392999 w 1562510"/>
              <a:gd name="connsiteY55" fmla="*/ 564331 h 1460952"/>
              <a:gd name="connsiteX56" fmla="*/ 169478 w 1562510"/>
              <a:gd name="connsiteY56" fmla="*/ 564331 h 1460952"/>
              <a:gd name="connsiteX57" fmla="*/ 160322 w 1562510"/>
              <a:gd name="connsiteY57" fmla="*/ 561889 h 1460952"/>
              <a:gd name="connsiteX58" fmla="*/ 9156 w 1562510"/>
              <a:gd name="connsiteY58" fmla="*/ 474658 h 1460952"/>
              <a:gd name="connsiteX59" fmla="*/ 2442 w 1562510"/>
              <a:gd name="connsiteY59" fmla="*/ 449633 h 1460952"/>
              <a:gd name="connsiteX60" fmla="*/ 27467 w 1562510"/>
              <a:gd name="connsiteY60" fmla="*/ 442919 h 1460952"/>
              <a:gd name="connsiteX61" fmla="*/ 178684 w 1562510"/>
              <a:gd name="connsiteY61" fmla="*/ 530201 h 1460952"/>
              <a:gd name="connsiteX62" fmla="*/ 185398 w 1562510"/>
              <a:gd name="connsiteY62" fmla="*/ 555226 h 1460952"/>
              <a:gd name="connsiteX63" fmla="*/ 169478 w 1562510"/>
              <a:gd name="connsiteY63" fmla="*/ 564331 h 1460952"/>
              <a:gd name="connsiteX64" fmla="*/ 1134409 w 1562510"/>
              <a:gd name="connsiteY64" fmla="*/ 305842 h 1460952"/>
              <a:gd name="connsiteX65" fmla="*/ 1125254 w 1562510"/>
              <a:gd name="connsiteY65" fmla="*/ 303401 h 1460952"/>
              <a:gd name="connsiteX66" fmla="*/ 1118540 w 1562510"/>
              <a:gd name="connsiteY66" fmla="*/ 278376 h 1460952"/>
              <a:gd name="connsiteX67" fmla="*/ 1205822 w 1562510"/>
              <a:gd name="connsiteY67" fmla="*/ 127159 h 1460952"/>
              <a:gd name="connsiteX68" fmla="*/ 1230795 w 1562510"/>
              <a:gd name="connsiteY68" fmla="*/ 120445 h 1460952"/>
              <a:gd name="connsiteX69" fmla="*/ 1237509 w 1562510"/>
              <a:gd name="connsiteY69" fmla="*/ 145470 h 1460952"/>
              <a:gd name="connsiteX70" fmla="*/ 1150228 w 1562510"/>
              <a:gd name="connsiteY70" fmla="*/ 296687 h 1460952"/>
              <a:gd name="connsiteX71" fmla="*/ 1134409 w 1562510"/>
              <a:gd name="connsiteY71" fmla="*/ 305842 h 1460952"/>
              <a:gd name="connsiteX72" fmla="*/ 428119 w 1562510"/>
              <a:gd name="connsiteY72" fmla="*/ 305842 h 1460952"/>
              <a:gd name="connsiteX73" fmla="*/ 412249 w 1562510"/>
              <a:gd name="connsiteY73" fmla="*/ 296687 h 1460952"/>
              <a:gd name="connsiteX74" fmla="*/ 324917 w 1562510"/>
              <a:gd name="connsiteY74" fmla="*/ 145470 h 1460952"/>
              <a:gd name="connsiteX75" fmla="*/ 331631 w 1562510"/>
              <a:gd name="connsiteY75" fmla="*/ 120445 h 1460952"/>
              <a:gd name="connsiteX76" fmla="*/ 356655 w 1562510"/>
              <a:gd name="connsiteY76" fmla="*/ 127159 h 1460952"/>
              <a:gd name="connsiteX77" fmla="*/ 443937 w 1562510"/>
              <a:gd name="connsiteY77" fmla="*/ 278376 h 1460952"/>
              <a:gd name="connsiteX78" fmla="*/ 437223 w 1562510"/>
              <a:gd name="connsiteY78" fmla="*/ 303401 h 1460952"/>
              <a:gd name="connsiteX79" fmla="*/ 428119 w 1562510"/>
              <a:gd name="connsiteY79" fmla="*/ 305842 h 1460952"/>
              <a:gd name="connsiteX80" fmla="*/ 781264 w 1562510"/>
              <a:gd name="connsiteY80" fmla="*/ 211185 h 1460952"/>
              <a:gd name="connsiteX81" fmla="*/ 762953 w 1562510"/>
              <a:gd name="connsiteY81" fmla="*/ 192874 h 1460952"/>
              <a:gd name="connsiteX82" fmla="*/ 762953 w 1562510"/>
              <a:gd name="connsiteY82" fmla="*/ 18311 h 1460952"/>
              <a:gd name="connsiteX83" fmla="*/ 781264 w 1562510"/>
              <a:gd name="connsiteY83" fmla="*/ 0 h 1460952"/>
              <a:gd name="connsiteX84" fmla="*/ 799575 w 1562510"/>
              <a:gd name="connsiteY84" fmla="*/ 18311 h 1460952"/>
              <a:gd name="connsiteX85" fmla="*/ 799575 w 1562510"/>
              <a:gd name="connsiteY85" fmla="*/ 192925 h 1460952"/>
              <a:gd name="connsiteX86" fmla="*/ 781264 w 1562510"/>
              <a:gd name="connsiteY86" fmla="*/ 211185 h 1460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562510" h="1460952">
                <a:moveTo>
                  <a:pt x="772312" y="1460952"/>
                </a:moveTo>
                <a:cubicBezTo>
                  <a:pt x="676180" y="1460952"/>
                  <a:pt x="581319" y="1435724"/>
                  <a:pt x="495818" y="1386386"/>
                </a:cubicBezTo>
                <a:cubicBezTo>
                  <a:pt x="495818" y="1386336"/>
                  <a:pt x="495818" y="1386336"/>
                  <a:pt x="495818" y="1386336"/>
                </a:cubicBezTo>
                <a:cubicBezTo>
                  <a:pt x="362657" y="1309481"/>
                  <a:pt x="269526" y="1184713"/>
                  <a:pt x="233667" y="1035123"/>
                </a:cubicBezTo>
                <a:cubicBezTo>
                  <a:pt x="231328" y="1025306"/>
                  <a:pt x="237380" y="1015388"/>
                  <a:pt x="247197" y="1013048"/>
                </a:cubicBezTo>
                <a:cubicBezTo>
                  <a:pt x="257115" y="1010658"/>
                  <a:pt x="266932" y="1016711"/>
                  <a:pt x="269272" y="1026578"/>
                </a:cubicBezTo>
                <a:cubicBezTo>
                  <a:pt x="294398" y="1131306"/>
                  <a:pt x="349484" y="1222911"/>
                  <a:pt x="427813" y="1292492"/>
                </a:cubicBezTo>
                <a:cubicBezTo>
                  <a:pt x="412097" y="1239645"/>
                  <a:pt x="411893" y="1171285"/>
                  <a:pt x="426491" y="1094277"/>
                </a:cubicBezTo>
                <a:cubicBezTo>
                  <a:pt x="376594" y="1045499"/>
                  <a:pt x="335750" y="991991"/>
                  <a:pt x="306453" y="936295"/>
                </a:cubicBezTo>
                <a:cubicBezTo>
                  <a:pt x="247706" y="824497"/>
                  <a:pt x="242060" y="716667"/>
                  <a:pt x="290584" y="632640"/>
                </a:cubicBezTo>
                <a:cubicBezTo>
                  <a:pt x="346737" y="535338"/>
                  <a:pt x="466622" y="485340"/>
                  <a:pt x="620433" y="495461"/>
                </a:cubicBezTo>
                <a:cubicBezTo>
                  <a:pt x="630504" y="496123"/>
                  <a:pt x="638185" y="504871"/>
                  <a:pt x="637473" y="514942"/>
                </a:cubicBezTo>
                <a:cubicBezTo>
                  <a:pt x="636761" y="525064"/>
                  <a:pt x="627758" y="532337"/>
                  <a:pt x="617992" y="531981"/>
                </a:cubicBezTo>
                <a:cubicBezTo>
                  <a:pt x="479084" y="522673"/>
                  <a:pt x="371253" y="566162"/>
                  <a:pt x="322272" y="650951"/>
                </a:cubicBezTo>
                <a:cubicBezTo>
                  <a:pt x="280309" y="723686"/>
                  <a:pt x="286209" y="818953"/>
                  <a:pt x="338904" y="919256"/>
                </a:cubicBezTo>
                <a:cubicBezTo>
                  <a:pt x="363217" y="965491"/>
                  <a:pt x="396075" y="1010200"/>
                  <a:pt x="435850" y="1051756"/>
                </a:cubicBezTo>
                <a:cubicBezTo>
                  <a:pt x="457263" y="966000"/>
                  <a:pt x="495614" y="871750"/>
                  <a:pt x="550191" y="777194"/>
                </a:cubicBezTo>
                <a:cubicBezTo>
                  <a:pt x="623078" y="650951"/>
                  <a:pt x="713768" y="544748"/>
                  <a:pt x="805577" y="478117"/>
                </a:cubicBezTo>
                <a:cubicBezTo>
                  <a:pt x="851405" y="444852"/>
                  <a:pt x="895198" y="423235"/>
                  <a:pt x="935177" y="413622"/>
                </a:cubicBezTo>
                <a:cubicBezTo>
                  <a:pt x="840825" y="382392"/>
                  <a:pt x="739403" y="379035"/>
                  <a:pt x="641186" y="404924"/>
                </a:cubicBezTo>
                <a:cubicBezTo>
                  <a:pt x="631522" y="407569"/>
                  <a:pt x="621400" y="401720"/>
                  <a:pt x="618806" y="391903"/>
                </a:cubicBezTo>
                <a:cubicBezTo>
                  <a:pt x="616212" y="382137"/>
                  <a:pt x="622061" y="372117"/>
                  <a:pt x="631827" y="369523"/>
                </a:cubicBezTo>
                <a:cubicBezTo>
                  <a:pt x="774245" y="332037"/>
                  <a:pt x="923020" y="351874"/>
                  <a:pt x="1050535" y="425524"/>
                </a:cubicBezTo>
                <a:cubicBezTo>
                  <a:pt x="1050586" y="425524"/>
                  <a:pt x="1050586" y="425575"/>
                  <a:pt x="1050637" y="425575"/>
                </a:cubicBezTo>
                <a:cubicBezTo>
                  <a:pt x="1178915" y="499683"/>
                  <a:pt x="1270672" y="619314"/>
                  <a:pt x="1309024" y="762444"/>
                </a:cubicBezTo>
                <a:cubicBezTo>
                  <a:pt x="1347426" y="905574"/>
                  <a:pt x="1327690" y="1055113"/>
                  <a:pt x="1253582" y="1183390"/>
                </a:cubicBezTo>
                <a:cubicBezTo>
                  <a:pt x="1179525" y="1311719"/>
                  <a:pt x="1059843" y="1403527"/>
                  <a:pt x="916713" y="1441879"/>
                </a:cubicBezTo>
                <a:cubicBezTo>
                  <a:pt x="869003" y="1454594"/>
                  <a:pt x="820480" y="1460952"/>
                  <a:pt x="772312" y="1460952"/>
                </a:cubicBezTo>
                <a:close/>
                <a:moveTo>
                  <a:pt x="515349" y="1355360"/>
                </a:moveTo>
                <a:cubicBezTo>
                  <a:pt x="634980" y="1424076"/>
                  <a:pt x="774041" y="1442235"/>
                  <a:pt x="907354" y="1406427"/>
                </a:cubicBezTo>
                <a:cubicBezTo>
                  <a:pt x="982327" y="1386336"/>
                  <a:pt x="1050383" y="1350528"/>
                  <a:pt x="1107960" y="1301800"/>
                </a:cubicBezTo>
                <a:cubicBezTo>
                  <a:pt x="1070169" y="1315432"/>
                  <a:pt x="1027291" y="1323417"/>
                  <a:pt x="980293" y="1325249"/>
                </a:cubicBezTo>
                <a:cubicBezTo>
                  <a:pt x="857610" y="1330538"/>
                  <a:pt x="719414" y="1292442"/>
                  <a:pt x="592357" y="1219096"/>
                </a:cubicBezTo>
                <a:cubicBezTo>
                  <a:pt x="543935" y="1191122"/>
                  <a:pt x="499175" y="1159179"/>
                  <a:pt x="459196" y="1124389"/>
                </a:cubicBezTo>
                <a:cubicBezTo>
                  <a:pt x="442004" y="1235627"/>
                  <a:pt x="459094" y="1322756"/>
                  <a:pt x="514180" y="1354597"/>
                </a:cubicBezTo>
                <a:cubicBezTo>
                  <a:pt x="514536" y="1354851"/>
                  <a:pt x="514943" y="1355105"/>
                  <a:pt x="515349" y="1355360"/>
                </a:cubicBezTo>
                <a:close/>
                <a:moveTo>
                  <a:pt x="467029" y="1082325"/>
                </a:moveTo>
                <a:cubicBezTo>
                  <a:pt x="509195" y="1121235"/>
                  <a:pt x="557566" y="1156789"/>
                  <a:pt x="610668" y="1187409"/>
                </a:cubicBezTo>
                <a:cubicBezTo>
                  <a:pt x="731774" y="1257295"/>
                  <a:pt x="862798" y="1292899"/>
                  <a:pt x="978869" y="1288678"/>
                </a:cubicBezTo>
                <a:cubicBezTo>
                  <a:pt x="1092091" y="1284151"/>
                  <a:pt x="1177541" y="1241629"/>
                  <a:pt x="1219504" y="1168945"/>
                </a:cubicBezTo>
                <a:cubicBezTo>
                  <a:pt x="1219911" y="1168233"/>
                  <a:pt x="1220318" y="1167623"/>
                  <a:pt x="1220725" y="1167012"/>
                </a:cubicBezTo>
                <a:cubicBezTo>
                  <a:pt x="1221131" y="1166351"/>
                  <a:pt x="1221538" y="1165690"/>
                  <a:pt x="1221894" y="1165029"/>
                </a:cubicBezTo>
                <a:cubicBezTo>
                  <a:pt x="1291069" y="1045143"/>
                  <a:pt x="1309481" y="905472"/>
                  <a:pt x="1273673" y="771803"/>
                </a:cubicBezTo>
                <a:cubicBezTo>
                  <a:pt x="1238069" y="638744"/>
                  <a:pt x="1152974" y="527455"/>
                  <a:pt x="1034005" y="458178"/>
                </a:cubicBezTo>
                <a:cubicBezTo>
                  <a:pt x="1033343" y="457924"/>
                  <a:pt x="1032784" y="457619"/>
                  <a:pt x="1032224" y="457263"/>
                </a:cubicBezTo>
                <a:cubicBezTo>
                  <a:pt x="984158" y="429542"/>
                  <a:pt x="909389" y="447955"/>
                  <a:pt x="827092" y="507719"/>
                </a:cubicBezTo>
                <a:cubicBezTo>
                  <a:pt x="739352" y="571401"/>
                  <a:pt x="652223" y="673585"/>
                  <a:pt x="581879" y="795505"/>
                </a:cubicBezTo>
                <a:cubicBezTo>
                  <a:pt x="525268" y="893570"/>
                  <a:pt x="486408" y="993771"/>
                  <a:pt x="467029" y="1082325"/>
                </a:cubicBezTo>
                <a:close/>
                <a:moveTo>
                  <a:pt x="1392999" y="564331"/>
                </a:moveTo>
                <a:cubicBezTo>
                  <a:pt x="1386692" y="564331"/>
                  <a:pt x="1380538" y="561075"/>
                  <a:pt x="1377130" y="555175"/>
                </a:cubicBezTo>
                <a:cubicBezTo>
                  <a:pt x="1372043" y="546427"/>
                  <a:pt x="1375044" y="535186"/>
                  <a:pt x="1383844" y="530150"/>
                </a:cubicBezTo>
                <a:lnTo>
                  <a:pt x="1535061" y="442869"/>
                </a:lnTo>
                <a:cubicBezTo>
                  <a:pt x="1543810" y="437935"/>
                  <a:pt x="1555050" y="440783"/>
                  <a:pt x="1560035" y="449582"/>
                </a:cubicBezTo>
                <a:cubicBezTo>
                  <a:pt x="1565121" y="458331"/>
                  <a:pt x="1562120" y="469572"/>
                  <a:pt x="1553321" y="474607"/>
                </a:cubicBezTo>
                <a:lnTo>
                  <a:pt x="1402104" y="561889"/>
                </a:lnTo>
                <a:cubicBezTo>
                  <a:pt x="1399255" y="563568"/>
                  <a:pt x="1396153" y="564331"/>
                  <a:pt x="1392999" y="564331"/>
                </a:cubicBezTo>
                <a:close/>
                <a:moveTo>
                  <a:pt x="169478" y="564331"/>
                </a:moveTo>
                <a:cubicBezTo>
                  <a:pt x="166375" y="564331"/>
                  <a:pt x="163221" y="563568"/>
                  <a:pt x="160322" y="561889"/>
                </a:cubicBezTo>
                <a:lnTo>
                  <a:pt x="9156" y="474658"/>
                </a:lnTo>
                <a:cubicBezTo>
                  <a:pt x="407" y="469572"/>
                  <a:pt x="-2594" y="458382"/>
                  <a:pt x="2442" y="449633"/>
                </a:cubicBezTo>
                <a:cubicBezTo>
                  <a:pt x="7528" y="440936"/>
                  <a:pt x="18617" y="437833"/>
                  <a:pt x="27467" y="442919"/>
                </a:cubicBezTo>
                <a:lnTo>
                  <a:pt x="178684" y="530201"/>
                </a:lnTo>
                <a:cubicBezTo>
                  <a:pt x="187432" y="535287"/>
                  <a:pt x="190433" y="546477"/>
                  <a:pt x="185398" y="555226"/>
                </a:cubicBezTo>
                <a:cubicBezTo>
                  <a:pt x="181990" y="561075"/>
                  <a:pt x="175836" y="564331"/>
                  <a:pt x="169478" y="564331"/>
                </a:cubicBezTo>
                <a:close/>
                <a:moveTo>
                  <a:pt x="1134409" y="305842"/>
                </a:moveTo>
                <a:cubicBezTo>
                  <a:pt x="1131256" y="305842"/>
                  <a:pt x="1128153" y="305079"/>
                  <a:pt x="1125254" y="303401"/>
                </a:cubicBezTo>
                <a:cubicBezTo>
                  <a:pt x="1116454" y="298314"/>
                  <a:pt x="1113504" y="287124"/>
                  <a:pt x="1118540" y="278376"/>
                </a:cubicBezTo>
                <a:lnTo>
                  <a:pt x="1205822" y="127159"/>
                </a:lnTo>
                <a:cubicBezTo>
                  <a:pt x="1210908" y="118410"/>
                  <a:pt x="1222149" y="115511"/>
                  <a:pt x="1230795" y="120445"/>
                </a:cubicBezTo>
                <a:cubicBezTo>
                  <a:pt x="1239595" y="125531"/>
                  <a:pt x="1242545" y="136721"/>
                  <a:pt x="1237509" y="145470"/>
                </a:cubicBezTo>
                <a:lnTo>
                  <a:pt x="1150228" y="296687"/>
                </a:lnTo>
                <a:cubicBezTo>
                  <a:pt x="1146871" y="302536"/>
                  <a:pt x="1140716" y="305842"/>
                  <a:pt x="1134409" y="305842"/>
                </a:cubicBezTo>
                <a:close/>
                <a:moveTo>
                  <a:pt x="428119" y="305842"/>
                </a:moveTo>
                <a:cubicBezTo>
                  <a:pt x="421761" y="305842"/>
                  <a:pt x="415606" y="302587"/>
                  <a:pt x="412249" y="296687"/>
                </a:cubicBezTo>
                <a:lnTo>
                  <a:pt x="324917" y="145470"/>
                </a:lnTo>
                <a:cubicBezTo>
                  <a:pt x="319881" y="136721"/>
                  <a:pt x="322882" y="125531"/>
                  <a:pt x="331631" y="120445"/>
                </a:cubicBezTo>
                <a:cubicBezTo>
                  <a:pt x="340379" y="115409"/>
                  <a:pt x="351620" y="118410"/>
                  <a:pt x="356655" y="127159"/>
                </a:cubicBezTo>
                <a:lnTo>
                  <a:pt x="443937" y="278376"/>
                </a:lnTo>
                <a:cubicBezTo>
                  <a:pt x="448973" y="287124"/>
                  <a:pt x="445972" y="298365"/>
                  <a:pt x="437223" y="303401"/>
                </a:cubicBezTo>
                <a:cubicBezTo>
                  <a:pt x="434375" y="305079"/>
                  <a:pt x="431221" y="305842"/>
                  <a:pt x="428119" y="305842"/>
                </a:cubicBezTo>
                <a:close/>
                <a:moveTo>
                  <a:pt x="781264" y="211185"/>
                </a:moveTo>
                <a:cubicBezTo>
                  <a:pt x="771142" y="211185"/>
                  <a:pt x="762953" y="202996"/>
                  <a:pt x="762953" y="192874"/>
                </a:cubicBezTo>
                <a:lnTo>
                  <a:pt x="762953" y="18311"/>
                </a:lnTo>
                <a:cubicBezTo>
                  <a:pt x="762953" y="8189"/>
                  <a:pt x="771142" y="0"/>
                  <a:pt x="781264" y="0"/>
                </a:cubicBezTo>
                <a:cubicBezTo>
                  <a:pt x="791386" y="0"/>
                  <a:pt x="799575" y="8189"/>
                  <a:pt x="799575" y="18311"/>
                </a:cubicBezTo>
                <a:lnTo>
                  <a:pt x="799575" y="192925"/>
                </a:lnTo>
                <a:cubicBezTo>
                  <a:pt x="799575" y="202996"/>
                  <a:pt x="791386" y="211185"/>
                  <a:pt x="781264" y="211185"/>
                </a:cubicBezTo>
                <a:close/>
              </a:path>
            </a:pathLst>
          </a:custGeom>
          <a:solidFill>
            <a:schemeClr val="accent1"/>
          </a:solidFill>
          <a:ln w="28575" cap="flat">
            <a:solidFill>
              <a:srgbClr val="4472C4"/>
            </a:solidFill>
            <a:prstDash val="solid"/>
            <a:miter/>
          </a:ln>
        </p:spPr>
        <p:txBody>
          <a:bodyPr rtlCol="0"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4" name="Group 43">
            <a:extLst>
              <a:ext uri="{FF2B5EF4-FFF2-40B4-BE49-F238E27FC236}">
                <a16:creationId xmlns:a16="http://schemas.microsoft.com/office/drawing/2014/main" id="{04AA2A96-8C44-6AFF-0AEE-4F304CA210A6}"/>
              </a:ext>
            </a:extLst>
          </p:cNvPr>
          <p:cNvGrpSpPr/>
          <p:nvPr/>
        </p:nvGrpSpPr>
        <p:grpSpPr>
          <a:xfrm>
            <a:off x="4116023" y="1474514"/>
            <a:ext cx="1572022" cy="1362679"/>
            <a:chOff x="4205466" y="2041967"/>
            <a:chExt cx="1572227" cy="1362856"/>
          </a:xfrm>
        </p:grpSpPr>
        <p:sp>
          <p:nvSpPr>
            <p:cNvPr id="29" name="TextBox 28">
              <a:extLst>
                <a:ext uri="{FF2B5EF4-FFF2-40B4-BE49-F238E27FC236}">
                  <a16:creationId xmlns:a16="http://schemas.microsoft.com/office/drawing/2014/main" id="{A373E517-FD2A-0D55-F0F5-BE960F57A17F}"/>
                </a:ext>
              </a:extLst>
            </p:cNvPr>
            <p:cNvSpPr txBox="1"/>
            <p:nvPr/>
          </p:nvSpPr>
          <p:spPr>
            <a:xfrm>
              <a:off x="4205466" y="2681466"/>
              <a:ext cx="1572227" cy="723357"/>
            </a:xfrm>
            <a:prstGeom prst="rect">
              <a:avLst/>
            </a:prstGeom>
            <a:noFill/>
          </p:spPr>
          <p:txBody>
            <a:bodyPr rot="0" spcFirstLastPara="0" vertOverflow="overflow" horzOverflow="overflow" vert="horz" wrap="square" lIns="91428" tIns="45714" rIns="91428" bIns="45714" numCol="1" spcCol="0" rtlCol="0" fromWordArt="0" anchor="t" anchorCtr="0" forceAA="0" compatLnSpc="1">
              <a:prstTxWarp prst="textNoShape">
                <a:avLst/>
              </a:prstTxWarp>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IBM Plex Sans"/>
                  <a:ea typeface="+mn-ea"/>
                  <a:cs typeface="+mn-cs"/>
                </a:rPr>
                <a:t>Conversational Flow</a:t>
              </a:r>
              <a:endParaRPr kumimoji="0" lang="en-US" sz="1800" b="0" i="0" u="none" strike="noStrike" kern="1200" cap="none" spc="0" normalizeH="0" baseline="0" noProof="0" dirty="0">
                <a:ln>
                  <a:noFill/>
                </a:ln>
                <a:solidFill>
                  <a:srgbClr val="4472C4"/>
                </a:solidFill>
                <a:effectLst/>
                <a:uLnTx/>
                <a:uFillTx/>
                <a:latin typeface="Calibri" panose="020F0502020204030204"/>
                <a:ea typeface="+mn-ea"/>
                <a:cs typeface="+mn-cs"/>
              </a:endParaRP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IBM Plex Sans"/>
                  <a:ea typeface="+mn-ea"/>
                  <a:cs typeface="+mn-cs"/>
                </a:rPr>
                <a:t>Continuously Improving Interactive Dialogue</a:t>
              </a:r>
            </a:p>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IBM Plex Sans"/>
                <a:ea typeface="+mn-ea"/>
                <a:cs typeface="+mn-cs"/>
              </a:endParaRPr>
            </a:p>
          </p:txBody>
        </p:sp>
        <p:pic>
          <p:nvPicPr>
            <p:cNvPr id="37" name="Picture 36">
              <a:extLst>
                <a:ext uri="{FF2B5EF4-FFF2-40B4-BE49-F238E27FC236}">
                  <a16:creationId xmlns:a16="http://schemas.microsoft.com/office/drawing/2014/main" id="{EEF1D010-B70D-3F1F-DE8C-4564376060E4}"/>
                </a:ext>
              </a:extLst>
            </p:cNvPr>
            <p:cNvPicPr>
              <a:picLocks noChangeAspect="1"/>
            </p:cNvPicPr>
            <p:nvPr/>
          </p:nvPicPr>
          <p:blipFill>
            <a:blip r:embed="rId12"/>
            <a:stretch>
              <a:fillRect/>
            </a:stretch>
          </p:blipFill>
          <p:spPr>
            <a:xfrm>
              <a:off x="4673276" y="2041967"/>
              <a:ext cx="632750" cy="642395"/>
            </a:xfrm>
            <a:prstGeom prst="rect">
              <a:avLst/>
            </a:prstGeom>
          </p:spPr>
        </p:pic>
      </p:grpSp>
      <p:grpSp>
        <p:nvGrpSpPr>
          <p:cNvPr id="45" name="Group 44">
            <a:extLst>
              <a:ext uri="{FF2B5EF4-FFF2-40B4-BE49-F238E27FC236}">
                <a16:creationId xmlns:a16="http://schemas.microsoft.com/office/drawing/2014/main" id="{FC4E9843-2A9D-BE83-F692-D6373F3B8F3A}"/>
              </a:ext>
            </a:extLst>
          </p:cNvPr>
          <p:cNvGrpSpPr/>
          <p:nvPr/>
        </p:nvGrpSpPr>
        <p:grpSpPr>
          <a:xfrm>
            <a:off x="4019577" y="2776495"/>
            <a:ext cx="1822774" cy="1243268"/>
            <a:chOff x="6790478" y="2036421"/>
            <a:chExt cx="1823011" cy="1243430"/>
          </a:xfrm>
        </p:grpSpPr>
        <p:sp>
          <p:nvSpPr>
            <p:cNvPr id="30" name="TextBox 29">
              <a:extLst>
                <a:ext uri="{FF2B5EF4-FFF2-40B4-BE49-F238E27FC236}">
                  <a16:creationId xmlns:a16="http://schemas.microsoft.com/office/drawing/2014/main" id="{915EE240-AAB1-FFFB-AD5A-05212AAAF556}"/>
                </a:ext>
              </a:extLst>
            </p:cNvPr>
            <p:cNvSpPr txBox="1"/>
            <p:nvPr/>
          </p:nvSpPr>
          <p:spPr>
            <a:xfrm>
              <a:off x="6790478" y="2710402"/>
              <a:ext cx="1823011" cy="569449"/>
            </a:xfrm>
            <a:prstGeom prst="rect">
              <a:avLst/>
            </a:prstGeom>
            <a:noFill/>
          </p:spPr>
          <p:txBody>
            <a:bodyPr rot="0" spcFirstLastPara="0" vertOverflow="overflow" horzOverflow="overflow" vert="horz" wrap="square" lIns="91428" tIns="45714" rIns="91428" bIns="45714" numCol="1" spcCol="0" rtlCol="0" fromWordArt="0" anchor="t" anchorCtr="0" forceAA="0" compatLnSpc="1">
              <a:prstTxWarp prst="textNoShape">
                <a:avLst/>
              </a:prstTxWarp>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472C4"/>
                  </a:solidFill>
                  <a:effectLst/>
                  <a:uLnTx/>
                  <a:uFillTx/>
                  <a:latin typeface="IBM Plex Sans"/>
                  <a:ea typeface="+mn-ea"/>
                  <a:cs typeface="+mn-cs"/>
                </a:rPr>
                <a:t>Language Translation</a:t>
              </a:r>
              <a:endParaRPr kumimoji="0" lang="en-US" sz="1800" b="0" i="0" u="none" strike="noStrike" kern="1200" cap="none" spc="0" normalizeH="0" baseline="0" noProof="0">
                <a:ln>
                  <a:noFill/>
                </a:ln>
                <a:solidFill>
                  <a:srgbClr val="4472C4"/>
                </a:solidFill>
                <a:effectLst/>
                <a:uLnTx/>
                <a:uFillTx/>
                <a:latin typeface="Calibri" panose="020F0502020204030204"/>
                <a:ea typeface="+mn-ea"/>
                <a:cs typeface="+mn-cs"/>
              </a:endParaRP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IBM Plex Sans"/>
                  <a:ea typeface="+mn-ea"/>
                  <a:cs typeface="+mn-cs"/>
                </a:rPr>
                <a:t>Multilingual Support</a:t>
              </a:r>
            </a:p>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BM Plex Sans"/>
                <a:ea typeface="+mn-ea"/>
                <a:cs typeface="+mn-cs"/>
              </a:endParaRPr>
            </a:p>
          </p:txBody>
        </p:sp>
        <p:pic>
          <p:nvPicPr>
            <p:cNvPr id="41" name="Picture 40">
              <a:extLst>
                <a:ext uri="{FF2B5EF4-FFF2-40B4-BE49-F238E27FC236}">
                  <a16:creationId xmlns:a16="http://schemas.microsoft.com/office/drawing/2014/main" id="{07C68F7A-FD6A-9D14-C4B2-DBD86FBAEBB8}"/>
                </a:ext>
              </a:extLst>
            </p:cNvPr>
            <p:cNvPicPr>
              <a:picLocks noChangeAspect="1"/>
            </p:cNvPicPr>
            <p:nvPr/>
          </p:nvPicPr>
          <p:blipFill>
            <a:blip r:embed="rId13"/>
            <a:stretch>
              <a:fillRect/>
            </a:stretch>
          </p:blipFill>
          <p:spPr>
            <a:xfrm>
              <a:off x="7375244" y="2036421"/>
              <a:ext cx="647315" cy="643842"/>
            </a:xfrm>
            <a:prstGeom prst="rect">
              <a:avLst/>
            </a:prstGeom>
          </p:spPr>
        </p:pic>
      </p:grpSp>
      <p:grpSp>
        <p:nvGrpSpPr>
          <p:cNvPr id="46" name="Group 45">
            <a:extLst>
              <a:ext uri="{FF2B5EF4-FFF2-40B4-BE49-F238E27FC236}">
                <a16:creationId xmlns:a16="http://schemas.microsoft.com/office/drawing/2014/main" id="{64543B50-3F47-8BB5-A34E-7EEDC3958D80}"/>
              </a:ext>
            </a:extLst>
          </p:cNvPr>
          <p:cNvGrpSpPr/>
          <p:nvPr/>
        </p:nvGrpSpPr>
        <p:grpSpPr>
          <a:xfrm>
            <a:off x="5668757" y="1468967"/>
            <a:ext cx="1784197" cy="1368223"/>
            <a:chOff x="4099365" y="3637586"/>
            <a:chExt cx="1784429" cy="1368401"/>
          </a:xfrm>
        </p:grpSpPr>
        <p:sp>
          <p:nvSpPr>
            <p:cNvPr id="31" name="TextBox 30">
              <a:extLst>
                <a:ext uri="{FF2B5EF4-FFF2-40B4-BE49-F238E27FC236}">
                  <a16:creationId xmlns:a16="http://schemas.microsoft.com/office/drawing/2014/main" id="{4F64FB00-D5BC-E201-8FC0-23E25A8660D2}"/>
                </a:ext>
              </a:extLst>
            </p:cNvPr>
            <p:cNvSpPr txBox="1"/>
            <p:nvPr/>
          </p:nvSpPr>
          <p:spPr>
            <a:xfrm>
              <a:off x="4099365" y="4282630"/>
              <a:ext cx="1784429" cy="723357"/>
            </a:xfrm>
            <a:prstGeom prst="rect">
              <a:avLst/>
            </a:prstGeom>
            <a:noFill/>
          </p:spPr>
          <p:txBody>
            <a:bodyPr rot="0" spcFirstLastPara="0" vertOverflow="overflow" horzOverflow="overflow" vert="horz" wrap="square" lIns="91428" tIns="45714" rIns="91428" bIns="45714" numCol="1" spcCol="0" rtlCol="0" fromWordArt="0" anchor="t" anchorCtr="0" forceAA="0" compatLnSpc="1">
              <a:prstTxWarp prst="textNoShape">
                <a:avLst/>
              </a:prstTxWarp>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472C4"/>
                  </a:solidFill>
                  <a:effectLst/>
                  <a:uLnTx/>
                  <a:uFillTx/>
                  <a:latin typeface="IBM Plex Sans"/>
                  <a:ea typeface="+mn-ea"/>
                  <a:cs typeface="+mn-cs"/>
                </a:rPr>
                <a:t>Knowledge Base Search</a:t>
              </a:r>
              <a:endParaRPr kumimoji="0" lang="en-US" sz="1800" b="0" i="0" u="none" strike="noStrike" kern="1200" cap="none" spc="0" normalizeH="0" baseline="0" noProof="0">
                <a:ln>
                  <a:noFill/>
                </a:ln>
                <a:solidFill>
                  <a:srgbClr val="4472C4"/>
                </a:solidFill>
                <a:effectLst/>
                <a:uLnTx/>
                <a:uFillTx/>
                <a:latin typeface="Calibri" panose="020F0502020204030204"/>
                <a:ea typeface="+mn-ea"/>
                <a:cs typeface="+mn-cs"/>
              </a:endParaRP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IBM Plex Sans"/>
                  <a:ea typeface="+mn-ea"/>
                  <a:cs typeface="+mn-cs"/>
                </a:rPr>
                <a:t>Resolve Common HR Policy Related FAQs</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BM Plex Sans"/>
                <a:ea typeface="+mn-ea"/>
                <a:cs typeface="+mn-cs"/>
              </a:endParaRPr>
            </a:p>
          </p:txBody>
        </p:sp>
        <p:pic>
          <p:nvPicPr>
            <p:cNvPr id="42" name="Picture 41">
              <a:extLst>
                <a:ext uri="{FF2B5EF4-FFF2-40B4-BE49-F238E27FC236}">
                  <a16:creationId xmlns:a16="http://schemas.microsoft.com/office/drawing/2014/main" id="{75AD36D4-9C58-0D98-196D-9BFFCF76B470}"/>
                </a:ext>
              </a:extLst>
            </p:cNvPr>
            <p:cNvPicPr>
              <a:picLocks noChangeAspect="1"/>
            </p:cNvPicPr>
            <p:nvPr/>
          </p:nvPicPr>
          <p:blipFill>
            <a:blip r:embed="rId14"/>
            <a:stretch>
              <a:fillRect/>
            </a:stretch>
          </p:blipFill>
          <p:spPr>
            <a:xfrm>
              <a:off x="4664838" y="3637586"/>
              <a:ext cx="647315" cy="643842"/>
            </a:xfrm>
            <a:prstGeom prst="rect">
              <a:avLst/>
            </a:prstGeom>
          </p:spPr>
        </p:pic>
      </p:grpSp>
      <p:grpSp>
        <p:nvGrpSpPr>
          <p:cNvPr id="47" name="Group 46">
            <a:extLst>
              <a:ext uri="{FF2B5EF4-FFF2-40B4-BE49-F238E27FC236}">
                <a16:creationId xmlns:a16="http://schemas.microsoft.com/office/drawing/2014/main" id="{117530DF-41C9-020A-976E-5656769A1F6B}"/>
              </a:ext>
            </a:extLst>
          </p:cNvPr>
          <p:cNvGrpSpPr/>
          <p:nvPr/>
        </p:nvGrpSpPr>
        <p:grpSpPr>
          <a:xfrm>
            <a:off x="5861640" y="2693795"/>
            <a:ext cx="1398425" cy="1483956"/>
            <a:chOff x="7089489" y="3637585"/>
            <a:chExt cx="1398607" cy="1484149"/>
          </a:xfrm>
        </p:grpSpPr>
        <p:sp>
          <p:nvSpPr>
            <p:cNvPr id="32" name="TextBox 31">
              <a:extLst>
                <a:ext uri="{FF2B5EF4-FFF2-40B4-BE49-F238E27FC236}">
                  <a16:creationId xmlns:a16="http://schemas.microsoft.com/office/drawing/2014/main" id="{0550CB0E-F6F4-C1AC-E646-9BE09A7F9A36}"/>
                </a:ext>
              </a:extLst>
            </p:cNvPr>
            <p:cNvSpPr txBox="1"/>
            <p:nvPr/>
          </p:nvSpPr>
          <p:spPr>
            <a:xfrm>
              <a:off x="7089489" y="4398377"/>
              <a:ext cx="1398607" cy="723357"/>
            </a:xfrm>
            <a:prstGeom prst="rect">
              <a:avLst/>
            </a:prstGeom>
            <a:noFill/>
          </p:spPr>
          <p:txBody>
            <a:bodyPr rot="0" spcFirstLastPara="0" vertOverflow="overflow" horzOverflow="overflow" vert="horz" wrap="square" lIns="91428" tIns="45714" rIns="91428" bIns="45714" numCol="1" spcCol="0" rtlCol="0" fromWordArt="0" anchor="t" anchorCtr="0" forceAA="0" compatLnSpc="1">
              <a:prstTxWarp prst="textNoShape">
                <a:avLst/>
              </a:prstTxWarp>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472C4"/>
                  </a:solidFill>
                  <a:effectLst/>
                  <a:uLnTx/>
                  <a:uFillTx/>
                  <a:latin typeface="IBM Plex Sans"/>
                  <a:ea typeface="+mn-ea"/>
                  <a:cs typeface="+mn-cs"/>
                </a:rPr>
                <a:t>Speech-to-Text</a:t>
              </a:r>
              <a:endParaRPr kumimoji="0" lang="en-US" sz="1800" b="0" i="0" u="none" strike="noStrike" kern="1200" cap="none" spc="0" normalizeH="0" baseline="0" noProof="0">
                <a:ln>
                  <a:noFill/>
                </a:ln>
                <a:solidFill>
                  <a:srgbClr val="4472C4"/>
                </a:solidFill>
                <a:effectLst/>
                <a:uLnTx/>
                <a:uFillTx/>
                <a:latin typeface="Calibri" panose="020F0502020204030204"/>
                <a:ea typeface="+mn-ea"/>
                <a:cs typeface="+mn-cs"/>
              </a:endParaRP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IBM Plex Sans"/>
                  <a:ea typeface="+mn-ea"/>
                  <a:cs typeface="+mn-cs"/>
                </a:rPr>
                <a:t>Multiple Language Speech Transcription</a:t>
              </a:r>
            </a:p>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BM Plex Sans"/>
                <a:ea typeface="+mn-ea"/>
                <a:cs typeface="+mn-cs"/>
              </a:endParaRPr>
            </a:p>
          </p:txBody>
        </p:sp>
        <p:pic>
          <p:nvPicPr>
            <p:cNvPr id="43" name="Picture 42">
              <a:extLst>
                <a:ext uri="{FF2B5EF4-FFF2-40B4-BE49-F238E27FC236}">
                  <a16:creationId xmlns:a16="http://schemas.microsoft.com/office/drawing/2014/main" id="{6E525340-A2B6-E5CC-C9DD-A17DB7A8F055}"/>
                </a:ext>
              </a:extLst>
            </p:cNvPr>
            <p:cNvPicPr>
              <a:picLocks noChangeAspect="1"/>
            </p:cNvPicPr>
            <p:nvPr/>
          </p:nvPicPr>
          <p:blipFill>
            <a:blip r:embed="rId15"/>
            <a:stretch>
              <a:fillRect/>
            </a:stretch>
          </p:blipFill>
          <p:spPr>
            <a:xfrm>
              <a:off x="7375244" y="3637585"/>
              <a:ext cx="772707" cy="769234"/>
            </a:xfrm>
            <a:prstGeom prst="rect">
              <a:avLst/>
            </a:prstGeom>
          </p:spPr>
        </p:pic>
      </p:grpSp>
      <p:sp>
        <p:nvSpPr>
          <p:cNvPr id="50" name="TextBox 49">
            <a:extLst>
              <a:ext uri="{FF2B5EF4-FFF2-40B4-BE49-F238E27FC236}">
                <a16:creationId xmlns:a16="http://schemas.microsoft.com/office/drawing/2014/main" id="{AF930AF4-B5D7-40B0-3BC7-43018D6E7843}"/>
              </a:ext>
            </a:extLst>
          </p:cNvPr>
          <p:cNvSpPr txBox="1"/>
          <p:nvPr/>
        </p:nvSpPr>
        <p:spPr>
          <a:xfrm>
            <a:off x="8118824" y="1440754"/>
            <a:ext cx="1938507" cy="261598"/>
          </a:xfrm>
          <a:prstGeom prst="rect">
            <a:avLst/>
          </a:prstGeom>
          <a:noFill/>
        </p:spPr>
        <p:txBody>
          <a:bodyPr rot="0" spcFirstLastPara="0" vertOverflow="overflow" horzOverflow="overflow" vert="horz" wrap="square" lIns="91428" tIns="45714" rIns="91428" bIns="45714" numCol="1" spcCol="0" rtlCol="0" fromWordArt="0" anchor="t" anchorCtr="0" forceAA="0" compatLnSpc="1">
            <a:prstTxWarp prst="textNoShape">
              <a:avLst/>
            </a:prstTxWarp>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472C4"/>
                </a:solidFill>
                <a:effectLst/>
                <a:uLnTx/>
                <a:uFillTx/>
                <a:latin typeface="IBM Plex Sans"/>
                <a:ea typeface="+mn-ea"/>
                <a:cs typeface="+mn-cs"/>
              </a:rPr>
              <a:t>HR Policy Documents</a:t>
            </a:r>
            <a:endParaRPr kumimoji="0" lang="en-US" sz="1000" b="0" i="0" u="none" strike="noStrike" kern="1200" cap="none" spc="0" normalizeH="0" baseline="0" noProof="0">
              <a:ln>
                <a:noFill/>
              </a:ln>
              <a:solidFill>
                <a:srgbClr val="000000"/>
              </a:solidFill>
              <a:effectLst/>
              <a:uLnTx/>
              <a:uFillTx/>
              <a:latin typeface="IBM Plex Sans"/>
              <a:ea typeface="+mn-ea"/>
              <a:cs typeface="+mn-cs"/>
            </a:endParaRPr>
          </a:p>
        </p:txBody>
      </p:sp>
      <p:sp>
        <p:nvSpPr>
          <p:cNvPr id="51" name="Rectangle 18">
            <a:extLst>
              <a:ext uri="{FF2B5EF4-FFF2-40B4-BE49-F238E27FC236}">
                <a16:creationId xmlns:a16="http://schemas.microsoft.com/office/drawing/2014/main" id="{29C91BE1-A68F-8E4F-A444-E39FFC06B136}"/>
              </a:ext>
            </a:extLst>
          </p:cNvPr>
          <p:cNvSpPr/>
          <p:nvPr/>
        </p:nvSpPr>
        <p:spPr>
          <a:xfrm>
            <a:off x="8379221" y="582410"/>
            <a:ext cx="569016" cy="241110"/>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lIns="91428" tIns="45714" rIns="91428" bIns="45714"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IBM Plex Sans"/>
                <a:ea typeface="+mn-ea"/>
                <a:cs typeface="+mn-cs"/>
              </a:rPr>
              <a:t>Data</a:t>
            </a: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2" name="Picture 51">
            <a:extLst>
              <a:ext uri="{FF2B5EF4-FFF2-40B4-BE49-F238E27FC236}">
                <a16:creationId xmlns:a16="http://schemas.microsoft.com/office/drawing/2014/main" id="{B9492CCF-57AF-9110-6AB6-92303E691AE3}"/>
              </a:ext>
            </a:extLst>
          </p:cNvPr>
          <p:cNvPicPr>
            <a:picLocks noChangeAspect="1"/>
          </p:cNvPicPr>
          <p:nvPr/>
        </p:nvPicPr>
        <p:blipFill>
          <a:blip r:embed="rId16"/>
          <a:stretch>
            <a:fillRect/>
          </a:stretch>
        </p:blipFill>
        <p:spPr>
          <a:xfrm>
            <a:off x="8828888" y="892234"/>
            <a:ext cx="518383" cy="528027"/>
          </a:xfrm>
          <a:prstGeom prst="rect">
            <a:avLst/>
          </a:prstGeom>
        </p:spPr>
      </p:pic>
      <p:sp>
        <p:nvSpPr>
          <p:cNvPr id="53" name="Rectangle 52">
            <a:extLst>
              <a:ext uri="{FF2B5EF4-FFF2-40B4-BE49-F238E27FC236}">
                <a16:creationId xmlns:a16="http://schemas.microsoft.com/office/drawing/2014/main" id="{50BB8FA8-D87C-918E-7247-5EE8B7A30F32}"/>
              </a:ext>
            </a:extLst>
          </p:cNvPr>
          <p:cNvSpPr/>
          <p:nvPr/>
        </p:nvSpPr>
        <p:spPr>
          <a:xfrm>
            <a:off x="9652271" y="756006"/>
            <a:ext cx="636139" cy="54988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4" name="Straight Arrow Connector 53">
            <a:extLst>
              <a:ext uri="{FF2B5EF4-FFF2-40B4-BE49-F238E27FC236}">
                <a16:creationId xmlns:a16="http://schemas.microsoft.com/office/drawing/2014/main" id="{63B7F1AE-4324-0D25-19BA-885B2B3A51CD}"/>
              </a:ext>
            </a:extLst>
          </p:cNvPr>
          <p:cNvCxnSpPr/>
          <p:nvPr/>
        </p:nvCxnSpPr>
        <p:spPr>
          <a:xfrm>
            <a:off x="1202475" y="3454075"/>
            <a:ext cx="407375" cy="7715"/>
          </a:xfrm>
          <a:prstGeom prst="straightConnector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DE6E5202-20C6-C463-C3C8-425B8BE68709}"/>
              </a:ext>
            </a:extLst>
          </p:cNvPr>
          <p:cNvCxnSpPr>
            <a:cxnSpLocks/>
          </p:cNvCxnSpPr>
          <p:nvPr/>
        </p:nvCxnSpPr>
        <p:spPr>
          <a:xfrm>
            <a:off x="3131338" y="2711463"/>
            <a:ext cx="715515" cy="4713"/>
          </a:xfrm>
          <a:prstGeom prst="straightConnector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34A22AB9-3926-5C70-A50D-A343D24D97FF}"/>
              </a:ext>
            </a:extLst>
          </p:cNvPr>
          <p:cNvCxnSpPr>
            <a:cxnSpLocks/>
          </p:cNvCxnSpPr>
          <p:nvPr/>
        </p:nvCxnSpPr>
        <p:spPr>
          <a:xfrm flipH="1">
            <a:off x="8271595" y="2512238"/>
            <a:ext cx="721007" cy="7715"/>
          </a:xfrm>
          <a:prstGeom prst="straightConnector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7" name="Rectangle 4">
            <a:extLst>
              <a:ext uri="{FF2B5EF4-FFF2-40B4-BE49-F238E27FC236}">
                <a16:creationId xmlns:a16="http://schemas.microsoft.com/office/drawing/2014/main" id="{E55F9DDE-A7DA-1B61-9EA5-55DF3901A4FC}"/>
              </a:ext>
            </a:extLst>
          </p:cNvPr>
          <p:cNvSpPr/>
          <p:nvPr/>
        </p:nvSpPr>
        <p:spPr>
          <a:xfrm>
            <a:off x="9674040" y="2184746"/>
            <a:ext cx="2369768" cy="3435139"/>
          </a:xfrm>
          <a:prstGeom prst="roundRect">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Rectangle 18">
            <a:extLst>
              <a:ext uri="{FF2B5EF4-FFF2-40B4-BE49-F238E27FC236}">
                <a16:creationId xmlns:a16="http://schemas.microsoft.com/office/drawing/2014/main" id="{E424960D-9B71-1157-14D7-B7FA4DDAF5E5}"/>
              </a:ext>
            </a:extLst>
          </p:cNvPr>
          <p:cNvSpPr/>
          <p:nvPr/>
        </p:nvSpPr>
        <p:spPr>
          <a:xfrm>
            <a:off x="9828347" y="2112414"/>
            <a:ext cx="1543091" cy="241110"/>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lIns="91428" tIns="45714" rIns="91428" bIns="45714"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IBM Plex Sans"/>
                <a:ea typeface="+mn-ea"/>
                <a:cs typeface="+mn-cs"/>
              </a:rPr>
              <a:t>Possible Integrations</a:t>
            </a: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9" name="Picture 58" descr="Workday round logo transparent PNG - StickPNG">
            <a:extLst>
              <a:ext uri="{FF2B5EF4-FFF2-40B4-BE49-F238E27FC236}">
                <a16:creationId xmlns:a16="http://schemas.microsoft.com/office/drawing/2014/main" id="{1E091C36-8153-430C-9CDE-2156BB5F0165}"/>
              </a:ext>
            </a:extLst>
          </p:cNvPr>
          <p:cNvPicPr>
            <a:picLocks noChangeAspect="1"/>
          </p:cNvPicPr>
          <p:nvPr/>
        </p:nvPicPr>
        <p:blipFill>
          <a:blip r:embed="rId17"/>
          <a:stretch>
            <a:fillRect/>
          </a:stretch>
        </p:blipFill>
        <p:spPr>
          <a:xfrm>
            <a:off x="10009664" y="2691881"/>
            <a:ext cx="408920" cy="403449"/>
          </a:xfrm>
          <a:prstGeom prst="rect">
            <a:avLst/>
          </a:prstGeom>
        </p:spPr>
      </p:pic>
      <p:pic>
        <p:nvPicPr>
          <p:cNvPr id="60" name="Picture 59" descr="File:Box, Inc. logo.svg - Wikipedia">
            <a:extLst>
              <a:ext uri="{FF2B5EF4-FFF2-40B4-BE49-F238E27FC236}">
                <a16:creationId xmlns:a16="http://schemas.microsoft.com/office/drawing/2014/main" id="{484DB12E-CE3C-1E14-5256-50CE4F726513}"/>
              </a:ext>
            </a:extLst>
          </p:cNvPr>
          <p:cNvPicPr>
            <a:picLocks noChangeAspect="1"/>
          </p:cNvPicPr>
          <p:nvPr/>
        </p:nvPicPr>
        <p:blipFill>
          <a:blip r:embed="rId18"/>
          <a:stretch>
            <a:fillRect/>
          </a:stretch>
        </p:blipFill>
        <p:spPr>
          <a:xfrm>
            <a:off x="10684767" y="2741017"/>
            <a:ext cx="572869" cy="285885"/>
          </a:xfrm>
          <a:prstGeom prst="rect">
            <a:avLst/>
          </a:prstGeom>
        </p:spPr>
      </p:pic>
      <p:pic>
        <p:nvPicPr>
          <p:cNvPr id="61" name="Picture 60" descr="File:Dropbox Icon.svg - Wikimedia Commons">
            <a:extLst>
              <a:ext uri="{FF2B5EF4-FFF2-40B4-BE49-F238E27FC236}">
                <a16:creationId xmlns:a16="http://schemas.microsoft.com/office/drawing/2014/main" id="{F2B4AAC1-1BDD-AB43-B671-B49E0516EBCB}"/>
              </a:ext>
            </a:extLst>
          </p:cNvPr>
          <p:cNvPicPr>
            <a:picLocks noChangeAspect="1"/>
          </p:cNvPicPr>
          <p:nvPr/>
        </p:nvPicPr>
        <p:blipFill>
          <a:blip r:embed="rId19"/>
          <a:stretch>
            <a:fillRect/>
          </a:stretch>
        </p:blipFill>
        <p:spPr>
          <a:xfrm>
            <a:off x="9990374" y="3464983"/>
            <a:ext cx="457141" cy="438914"/>
          </a:xfrm>
          <a:prstGeom prst="rect">
            <a:avLst/>
          </a:prstGeom>
        </p:spPr>
      </p:pic>
      <p:pic>
        <p:nvPicPr>
          <p:cNvPr id="62" name="Picture 61" descr="File:Microsoft Office SharePoint (2019–present).svg - Wikipedia">
            <a:extLst>
              <a:ext uri="{FF2B5EF4-FFF2-40B4-BE49-F238E27FC236}">
                <a16:creationId xmlns:a16="http://schemas.microsoft.com/office/drawing/2014/main" id="{1B8A77A1-8B4E-DE7D-FB88-6A59D2D8F289}"/>
              </a:ext>
            </a:extLst>
          </p:cNvPr>
          <p:cNvPicPr>
            <a:picLocks noChangeAspect="1"/>
          </p:cNvPicPr>
          <p:nvPr/>
        </p:nvPicPr>
        <p:blipFill>
          <a:blip r:embed="rId20"/>
          <a:stretch>
            <a:fillRect/>
          </a:stretch>
        </p:blipFill>
        <p:spPr>
          <a:xfrm>
            <a:off x="10771563" y="4895330"/>
            <a:ext cx="486074" cy="481156"/>
          </a:xfrm>
          <a:prstGeom prst="rect">
            <a:avLst/>
          </a:prstGeom>
        </p:spPr>
      </p:pic>
      <p:pic>
        <p:nvPicPr>
          <p:cNvPr id="63" name="Picture 62" descr="Oracle HCM Integration - Compose® Compensation Software | Decusoft">
            <a:extLst>
              <a:ext uri="{FF2B5EF4-FFF2-40B4-BE49-F238E27FC236}">
                <a16:creationId xmlns:a16="http://schemas.microsoft.com/office/drawing/2014/main" id="{E7C45662-1D1D-74CD-1BB0-75326DFE5A23}"/>
              </a:ext>
            </a:extLst>
          </p:cNvPr>
          <p:cNvPicPr>
            <a:picLocks noChangeAspect="1"/>
          </p:cNvPicPr>
          <p:nvPr/>
        </p:nvPicPr>
        <p:blipFill>
          <a:blip r:embed="rId21"/>
          <a:stretch>
            <a:fillRect/>
          </a:stretch>
        </p:blipFill>
        <p:spPr>
          <a:xfrm>
            <a:off x="9826422" y="4190885"/>
            <a:ext cx="775404" cy="462687"/>
          </a:xfrm>
          <a:prstGeom prst="rect">
            <a:avLst/>
          </a:prstGeom>
        </p:spPr>
      </p:pic>
      <p:pic>
        <p:nvPicPr>
          <p:cNvPr id="64" name="Picture 63" descr="File:Salesforce.com logo.svg - Wikipedia">
            <a:extLst>
              <a:ext uri="{FF2B5EF4-FFF2-40B4-BE49-F238E27FC236}">
                <a16:creationId xmlns:a16="http://schemas.microsoft.com/office/drawing/2014/main" id="{72145726-9665-E71D-8E31-E235BDB00E63}"/>
              </a:ext>
            </a:extLst>
          </p:cNvPr>
          <p:cNvPicPr>
            <a:picLocks noChangeAspect="1"/>
          </p:cNvPicPr>
          <p:nvPr/>
        </p:nvPicPr>
        <p:blipFill>
          <a:blip r:embed="rId22"/>
          <a:stretch>
            <a:fillRect/>
          </a:stretch>
        </p:blipFill>
        <p:spPr>
          <a:xfrm>
            <a:off x="10684764" y="3462768"/>
            <a:ext cx="659671" cy="443340"/>
          </a:xfrm>
          <a:prstGeom prst="rect">
            <a:avLst/>
          </a:prstGeom>
        </p:spPr>
      </p:pic>
      <p:pic>
        <p:nvPicPr>
          <p:cNvPr id="65" name="Picture 64" descr="ServiceNow Logo and symbol, meaning, history, PNG">
            <a:extLst>
              <a:ext uri="{FF2B5EF4-FFF2-40B4-BE49-F238E27FC236}">
                <a16:creationId xmlns:a16="http://schemas.microsoft.com/office/drawing/2014/main" id="{25DCA5BE-EDC4-1629-85A3-8B48C75F6EE4}"/>
              </a:ext>
            </a:extLst>
          </p:cNvPr>
          <p:cNvPicPr>
            <a:picLocks noChangeAspect="1"/>
          </p:cNvPicPr>
          <p:nvPr/>
        </p:nvPicPr>
        <p:blipFill>
          <a:blip r:embed="rId23"/>
          <a:stretch>
            <a:fillRect/>
          </a:stretch>
        </p:blipFill>
        <p:spPr>
          <a:xfrm>
            <a:off x="9758911" y="4813366"/>
            <a:ext cx="920067" cy="616152"/>
          </a:xfrm>
          <a:prstGeom prst="rect">
            <a:avLst/>
          </a:prstGeom>
        </p:spPr>
      </p:pic>
      <p:pic>
        <p:nvPicPr>
          <p:cNvPr id="66" name="Picture 65" descr="Free download SAP logo | ? logo, Vector logo, Sap">
            <a:extLst>
              <a:ext uri="{FF2B5EF4-FFF2-40B4-BE49-F238E27FC236}">
                <a16:creationId xmlns:a16="http://schemas.microsoft.com/office/drawing/2014/main" id="{4D586205-D3EC-B292-790E-C454E24DCF72}"/>
              </a:ext>
            </a:extLst>
          </p:cNvPr>
          <p:cNvPicPr>
            <a:picLocks noChangeAspect="1"/>
          </p:cNvPicPr>
          <p:nvPr/>
        </p:nvPicPr>
        <p:blipFill>
          <a:blip r:embed="rId24"/>
          <a:stretch>
            <a:fillRect/>
          </a:stretch>
        </p:blipFill>
        <p:spPr>
          <a:xfrm>
            <a:off x="10684765" y="4044173"/>
            <a:ext cx="746472" cy="765761"/>
          </a:xfrm>
          <a:prstGeom prst="rect">
            <a:avLst/>
          </a:prstGeom>
        </p:spPr>
      </p:pic>
      <p:pic>
        <p:nvPicPr>
          <p:cNvPr id="67" name="Picture 66" descr="File:Microsoft Office Outlook (2018–present).svg - Wikipedia">
            <a:extLst>
              <a:ext uri="{FF2B5EF4-FFF2-40B4-BE49-F238E27FC236}">
                <a16:creationId xmlns:a16="http://schemas.microsoft.com/office/drawing/2014/main" id="{877C543A-F13C-9AC9-6074-48E873E8D0AC}"/>
              </a:ext>
            </a:extLst>
          </p:cNvPr>
          <p:cNvPicPr>
            <a:picLocks noChangeAspect="1"/>
          </p:cNvPicPr>
          <p:nvPr/>
        </p:nvPicPr>
        <p:blipFill>
          <a:blip r:embed="rId25"/>
          <a:stretch>
            <a:fillRect/>
          </a:stretch>
        </p:blipFill>
        <p:spPr>
          <a:xfrm>
            <a:off x="11476720" y="2653687"/>
            <a:ext cx="466786" cy="429358"/>
          </a:xfrm>
          <a:prstGeom prst="rect">
            <a:avLst/>
          </a:prstGeom>
        </p:spPr>
      </p:pic>
      <p:pic>
        <p:nvPicPr>
          <p:cNvPr id="68" name="Picture 67" descr="File:Zendesk logo.svg - Wikipedia">
            <a:extLst>
              <a:ext uri="{FF2B5EF4-FFF2-40B4-BE49-F238E27FC236}">
                <a16:creationId xmlns:a16="http://schemas.microsoft.com/office/drawing/2014/main" id="{E96A8619-1894-7CA0-18B3-25EF06D8B71C}"/>
              </a:ext>
            </a:extLst>
          </p:cNvPr>
          <p:cNvPicPr>
            <a:picLocks noChangeAspect="1"/>
          </p:cNvPicPr>
          <p:nvPr/>
        </p:nvPicPr>
        <p:blipFill>
          <a:blip r:embed="rId26"/>
          <a:stretch>
            <a:fillRect/>
          </a:stretch>
        </p:blipFill>
        <p:spPr>
          <a:xfrm>
            <a:off x="11382596" y="4905360"/>
            <a:ext cx="621096" cy="432619"/>
          </a:xfrm>
          <a:prstGeom prst="rect">
            <a:avLst/>
          </a:prstGeom>
        </p:spPr>
      </p:pic>
      <p:cxnSp>
        <p:nvCxnSpPr>
          <p:cNvPr id="69" name="Straight Arrow Connector 68">
            <a:extLst>
              <a:ext uri="{FF2B5EF4-FFF2-40B4-BE49-F238E27FC236}">
                <a16:creationId xmlns:a16="http://schemas.microsoft.com/office/drawing/2014/main" id="{42C695EC-D985-0996-4B8E-F452DDED9BD4}"/>
              </a:ext>
            </a:extLst>
          </p:cNvPr>
          <p:cNvCxnSpPr>
            <a:cxnSpLocks/>
          </p:cNvCxnSpPr>
          <p:nvPr/>
        </p:nvCxnSpPr>
        <p:spPr>
          <a:xfrm>
            <a:off x="8291044" y="3885999"/>
            <a:ext cx="1256074" cy="7715"/>
          </a:xfrm>
          <a:prstGeom prst="straightConnector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F871CDFC-C131-29CA-CCCC-728BB9B26A1F}"/>
              </a:ext>
            </a:extLst>
          </p:cNvPr>
          <p:cNvSpPr txBox="1">
            <a:spLocks/>
          </p:cNvSpPr>
          <p:nvPr/>
        </p:nvSpPr>
        <p:spPr>
          <a:xfrm>
            <a:off x="231974" y="234002"/>
            <a:ext cx="8024069" cy="714276"/>
          </a:xfrm>
          <a:prstGeom prst="rect">
            <a:avLst/>
          </a:prstGeom>
        </p:spPr>
        <p:txBody>
          <a:bodyPr lIns="91428" tIns="45714" rIns="91428" bIns="45714" anchor="t"/>
          <a:lstStyle>
            <a:lvl1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0" marR="0" lvl="0" indent="0" algn="l" defTabSz="913989" rtl="0" eaLnBrk="1" fontAlgn="auto" latinLnBrk="0" hangingPunct="1">
              <a:lnSpc>
                <a:spcPct val="90000"/>
              </a:lnSpc>
              <a:spcBef>
                <a:spcPct val="0"/>
              </a:spcBef>
              <a:spcAft>
                <a:spcPts val="0"/>
              </a:spcAft>
              <a:buClrTx/>
              <a:buSzTx/>
              <a:buFontTx/>
              <a:buNone/>
              <a:tabLst/>
              <a:defRPr/>
            </a:pPr>
            <a:r>
              <a:rPr kumimoji="0" lang="en-US" sz="2999" b="0" i="0" u="none" strike="noStrike" kern="1200" cap="none" spc="0" normalizeH="0" baseline="0" noProof="0" dirty="0">
                <a:ln>
                  <a:noFill/>
                </a:ln>
                <a:solidFill>
                  <a:srgbClr val="000000"/>
                </a:solidFill>
                <a:effectLst/>
                <a:uLnTx/>
                <a:uFillTx/>
                <a:latin typeface="IBM Plex Sans Light"/>
                <a:ea typeface="+mj-ea"/>
                <a:cs typeface="Arial"/>
                <a:sym typeface="IBM Plex Sans Light"/>
              </a:rPr>
              <a:t>AskHR Architecture: </a:t>
            </a:r>
            <a:r>
              <a:rPr kumimoji="0" lang="en-US" sz="2999" b="0" i="0" u="none" strike="noStrike" kern="1200" cap="none" spc="0" normalizeH="0" baseline="0" noProof="0" dirty="0" err="1">
                <a:ln>
                  <a:noFill/>
                </a:ln>
                <a:solidFill>
                  <a:srgbClr val="000000"/>
                </a:solidFill>
                <a:effectLst/>
                <a:uLnTx/>
                <a:uFillTx/>
                <a:latin typeface="IBM Plex Sans Light"/>
                <a:ea typeface="+mj-ea"/>
                <a:cs typeface="Arial"/>
                <a:sym typeface="IBM Plex Sans Light"/>
              </a:rPr>
              <a:t>watsonx</a:t>
            </a:r>
            <a:r>
              <a:rPr kumimoji="0" lang="en-US" sz="2999" b="0" i="0" u="none" strike="noStrike" kern="1200" cap="none" spc="0" normalizeH="0" baseline="0" noProof="0" dirty="0">
                <a:ln>
                  <a:noFill/>
                </a:ln>
                <a:solidFill>
                  <a:srgbClr val="000000"/>
                </a:solidFill>
                <a:effectLst/>
                <a:uLnTx/>
                <a:uFillTx/>
                <a:latin typeface="IBM Plex Sans Light"/>
                <a:ea typeface="+mj-ea"/>
                <a:cs typeface="Arial"/>
                <a:sym typeface="IBM Plex Sans Light"/>
              </a:rPr>
              <a:t> Orchestrate</a:t>
            </a:r>
          </a:p>
        </p:txBody>
      </p:sp>
      <p:cxnSp>
        <p:nvCxnSpPr>
          <p:cNvPr id="3" name="Straight Arrow Connector 2">
            <a:extLst>
              <a:ext uri="{FF2B5EF4-FFF2-40B4-BE49-F238E27FC236}">
                <a16:creationId xmlns:a16="http://schemas.microsoft.com/office/drawing/2014/main" id="{494E4338-2906-F26A-FD0D-C713A54CD34F}"/>
              </a:ext>
            </a:extLst>
          </p:cNvPr>
          <p:cNvCxnSpPr/>
          <p:nvPr/>
        </p:nvCxnSpPr>
        <p:spPr>
          <a:xfrm>
            <a:off x="8992600" y="2001087"/>
            <a:ext cx="7717" cy="489932"/>
          </a:xfrm>
          <a:prstGeom prst="straightConnector1">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4B3F5189-8D52-29E9-2220-576DCE946018}"/>
              </a:ext>
            </a:extLst>
          </p:cNvPr>
          <p:cNvCxnSpPr>
            <a:cxnSpLocks/>
          </p:cNvCxnSpPr>
          <p:nvPr/>
        </p:nvCxnSpPr>
        <p:spPr>
          <a:xfrm flipH="1">
            <a:off x="6376903" y="4809934"/>
            <a:ext cx="324657" cy="3432"/>
          </a:xfrm>
          <a:prstGeom prst="straightConnector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5" name="Rectangle 15">
            <a:extLst>
              <a:ext uri="{FF2B5EF4-FFF2-40B4-BE49-F238E27FC236}">
                <a16:creationId xmlns:a16="http://schemas.microsoft.com/office/drawing/2014/main" id="{BCEEF447-C93F-B541-C4BF-955C9608C64E}"/>
              </a:ext>
            </a:extLst>
          </p:cNvPr>
          <p:cNvSpPr/>
          <p:nvPr/>
        </p:nvSpPr>
        <p:spPr>
          <a:xfrm>
            <a:off x="4939899" y="4758954"/>
            <a:ext cx="1437004" cy="559368"/>
          </a:xfrm>
          <a:prstGeom prst="roundRect">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91428" tIns="45714" rIns="91428" bIns="45714"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BM Plex Sans Text"/>
              <a:ea typeface="+mn-ea"/>
              <a:cs typeface="Calibri"/>
            </a:endParaRPr>
          </a:p>
        </p:txBody>
      </p:sp>
      <p:sp>
        <p:nvSpPr>
          <p:cNvPr id="22" name="Rectangle 18">
            <a:extLst>
              <a:ext uri="{FF2B5EF4-FFF2-40B4-BE49-F238E27FC236}">
                <a16:creationId xmlns:a16="http://schemas.microsoft.com/office/drawing/2014/main" id="{CEBF211E-01F1-7FED-A6B1-612444D492C9}"/>
              </a:ext>
            </a:extLst>
          </p:cNvPr>
          <p:cNvSpPr/>
          <p:nvPr/>
        </p:nvSpPr>
        <p:spPr>
          <a:xfrm>
            <a:off x="5270836" y="4638400"/>
            <a:ext cx="636526" cy="231466"/>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lIns="91428" tIns="45714" rIns="91428" bIns="45714"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IBM Plex Sans"/>
                <a:ea typeface="+mn-ea"/>
                <a:cs typeface="+mn-cs"/>
              </a:rPr>
              <a:t>AI</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C3F51DF8-D65F-4FD2-C5B1-9F924B30DBE6}"/>
              </a:ext>
            </a:extLst>
          </p:cNvPr>
          <p:cNvSpPr txBox="1"/>
          <p:nvPr/>
        </p:nvSpPr>
        <p:spPr>
          <a:xfrm>
            <a:off x="4785590" y="4927731"/>
            <a:ext cx="1832418" cy="415486"/>
          </a:xfrm>
          <a:prstGeom prst="rect">
            <a:avLst/>
          </a:prstGeom>
          <a:noFill/>
        </p:spPr>
        <p:txBody>
          <a:bodyPr rot="0" spcFirstLastPara="0" vertOverflow="overflow" horzOverflow="overflow" vert="horz" wrap="square" lIns="91428" tIns="45714" rIns="91428" bIns="45714" numCol="1" spcCol="0" rtlCol="0" fromWordArt="0" anchor="t" anchorCtr="0" forceAA="0" compatLnSpc="1">
            <a:prstTxWarp prst="textNoShape">
              <a:avLst/>
            </a:prstTxWarp>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472C4"/>
                </a:solidFill>
                <a:effectLst/>
                <a:uLnTx/>
                <a:uFillTx/>
                <a:latin typeface="IBM Plex Sans"/>
                <a:ea typeface="+mn-ea"/>
                <a:cs typeface="+mn-cs"/>
              </a:rPr>
              <a:t>watsonx.ai</a:t>
            </a:r>
            <a:endParaRPr kumimoji="0" lang="en-US" sz="1800" b="0" i="0" u="none" strike="noStrike" kern="1200" cap="none" spc="0" normalizeH="0" baseline="0" noProof="0">
              <a:ln>
                <a:noFill/>
              </a:ln>
              <a:solidFill>
                <a:srgbClr val="4472C4"/>
              </a:solidFill>
              <a:effectLst/>
              <a:uLnTx/>
              <a:uFillTx/>
              <a:latin typeface="Calibri" panose="020F0502020204030204"/>
              <a:ea typeface="+mn-ea"/>
              <a:cs typeface="Calibri" panose="020F0502020204030204"/>
            </a:endParaRPr>
          </a:p>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BM Plex Sans"/>
              <a:ea typeface="+mn-ea"/>
              <a:cs typeface="Calibri" panose="020F0502020204030204"/>
            </a:endParaRPr>
          </a:p>
        </p:txBody>
      </p:sp>
      <p:pic>
        <p:nvPicPr>
          <p:cNvPr id="38" name="Picture 37" descr="Ibm cloud logo - Social media &amp; Logos Icons">
            <a:extLst>
              <a:ext uri="{FF2B5EF4-FFF2-40B4-BE49-F238E27FC236}">
                <a16:creationId xmlns:a16="http://schemas.microsoft.com/office/drawing/2014/main" id="{86288138-0494-73C8-FCF4-BBB3E46CA115}"/>
              </a:ext>
            </a:extLst>
          </p:cNvPr>
          <p:cNvPicPr>
            <a:picLocks noChangeAspect="1"/>
          </p:cNvPicPr>
          <p:nvPr/>
        </p:nvPicPr>
        <p:blipFill>
          <a:blip r:embed="rId27"/>
          <a:stretch>
            <a:fillRect/>
          </a:stretch>
        </p:blipFill>
        <p:spPr>
          <a:xfrm>
            <a:off x="5213231" y="5866275"/>
            <a:ext cx="471517" cy="399641"/>
          </a:xfrm>
          <a:prstGeom prst="rect">
            <a:avLst/>
          </a:prstGeom>
        </p:spPr>
      </p:pic>
      <p:sp>
        <p:nvSpPr>
          <p:cNvPr id="40" name="TextBox 39">
            <a:extLst>
              <a:ext uri="{FF2B5EF4-FFF2-40B4-BE49-F238E27FC236}">
                <a16:creationId xmlns:a16="http://schemas.microsoft.com/office/drawing/2014/main" id="{A97981C0-DD68-4904-6706-4F7762628968}"/>
              </a:ext>
            </a:extLst>
          </p:cNvPr>
          <p:cNvSpPr txBox="1"/>
          <p:nvPr/>
        </p:nvSpPr>
        <p:spPr>
          <a:xfrm>
            <a:off x="10144130" y="845719"/>
            <a:ext cx="1877910" cy="415486"/>
          </a:xfrm>
          <a:prstGeom prst="rect">
            <a:avLst/>
          </a:prstGeom>
          <a:noFill/>
        </p:spPr>
        <p:txBody>
          <a:bodyPr rot="0" spcFirstLastPara="0" vertOverflow="overflow" horzOverflow="overflow" vert="horz" wrap="square" lIns="91428" tIns="45714" rIns="91428" bIns="45714" numCol="1" spcCol="0" rtlCol="0" fromWordArt="0" anchor="t" anchorCtr="0" forceAA="0" compatLnSpc="1">
            <a:prstTxWarp prst="textNoShape">
              <a:avLst/>
            </a:prstTxWarp>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472C4"/>
                </a:solidFill>
                <a:effectLst/>
                <a:uLnTx/>
                <a:uFillTx/>
                <a:latin typeface="IBM Plex Sans"/>
                <a:ea typeface="+mn-ea"/>
                <a:cs typeface="+mn-cs"/>
              </a:rPr>
              <a:t>IBM Cloud Object Storage</a:t>
            </a:r>
            <a:endParaRPr kumimoji="0" lang="en-US" sz="1800" b="0" i="0" u="none" strike="noStrike" kern="1200" cap="none" spc="0" normalizeH="0" baseline="0" noProof="0">
              <a:ln>
                <a:noFill/>
              </a:ln>
              <a:solidFill>
                <a:srgbClr val="4472C4"/>
              </a:solidFill>
              <a:effectLst/>
              <a:uLnTx/>
              <a:uFillTx/>
              <a:latin typeface="Calibri" panose="020F0502020204030204"/>
              <a:ea typeface="+mn-ea"/>
              <a:cs typeface="+mn-cs"/>
            </a:endParaRP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IBM Plex Sans"/>
                <a:ea typeface="+mn-ea"/>
                <a:cs typeface="+mn-cs"/>
              </a:rPr>
              <a:t>Document Storage</a:t>
            </a:r>
          </a:p>
        </p:txBody>
      </p:sp>
      <p:pic>
        <p:nvPicPr>
          <p:cNvPr id="71" name="Picture 70">
            <a:extLst>
              <a:ext uri="{FF2B5EF4-FFF2-40B4-BE49-F238E27FC236}">
                <a16:creationId xmlns:a16="http://schemas.microsoft.com/office/drawing/2014/main" id="{1EA0CBBC-63B0-C222-E5B7-E7B151EC4EF8}"/>
              </a:ext>
            </a:extLst>
          </p:cNvPr>
          <p:cNvPicPr>
            <a:picLocks noChangeAspect="1"/>
          </p:cNvPicPr>
          <p:nvPr/>
        </p:nvPicPr>
        <p:blipFill rotWithShape="1">
          <a:blip r:embed="rId28"/>
          <a:srcRect t="294" r="524" b="25751"/>
          <a:stretch/>
        </p:blipFill>
        <p:spPr>
          <a:xfrm>
            <a:off x="9820484" y="842228"/>
            <a:ext cx="385282" cy="420220"/>
          </a:xfrm>
          <a:prstGeom prst="rect">
            <a:avLst/>
          </a:prstGeom>
        </p:spPr>
      </p:pic>
      <p:sp>
        <p:nvSpPr>
          <p:cNvPr id="2" name="Footer Placeholder 1">
            <a:extLst>
              <a:ext uri="{FF2B5EF4-FFF2-40B4-BE49-F238E27FC236}">
                <a16:creationId xmlns:a16="http://schemas.microsoft.com/office/drawing/2014/main" id="{4885F098-0747-6B81-E218-084F9A952269}"/>
              </a:ext>
            </a:extLst>
          </p:cNvPr>
          <p:cNvSpPr txBox="1">
            <a:spLocks/>
          </p:cNvSpPr>
          <p:nvPr/>
        </p:nvSpPr>
        <p:spPr>
          <a:xfrm>
            <a:off x="284882" y="6401345"/>
            <a:ext cx="2477442" cy="190450"/>
          </a:xfrm>
          <a:prstGeom prst="rect">
            <a:avLst/>
          </a:prstGeom>
        </p:spPr>
        <p:txBody>
          <a:bodyPr vert="horz" lIns="0" tIns="0" rIns="0" bIns="0" rtlCol="0" anchor="b"/>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l" defTabSz="91432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oogle Sans"/>
                <a:ea typeface="+mn-ea"/>
                <a:cs typeface="+mn-cs"/>
              </a:rPr>
              <a:t>©</a:t>
            </a:r>
            <a:r>
              <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 IBM 2024</a:t>
            </a:r>
          </a:p>
        </p:txBody>
      </p:sp>
      <p:sp>
        <p:nvSpPr>
          <p:cNvPr id="28" name="Slide Number">
            <a:extLst>
              <a:ext uri="{FF2B5EF4-FFF2-40B4-BE49-F238E27FC236}">
                <a16:creationId xmlns:a16="http://schemas.microsoft.com/office/drawing/2014/main" id="{F0F6A881-FFBA-6A41-C96D-3CC95A506255}"/>
              </a:ext>
            </a:extLst>
          </p:cNvPr>
          <p:cNvSpPr txBox="1">
            <a:spLocks/>
          </p:cNvSpPr>
          <p:nvPr/>
        </p:nvSpPr>
        <p:spPr>
          <a:xfrm>
            <a:off x="11700664" y="6409195"/>
            <a:ext cx="137859" cy="138499"/>
          </a:xfrm>
          <a:prstGeom prst="rect">
            <a:avLst/>
          </a:prstGeom>
          <a:ln w="12700">
            <a:miter lim="400000"/>
          </a:ln>
        </p:spPr>
        <p:txBody>
          <a:bodyPr wrap="none" lIns="0" tIns="0" rIns="0" bIns="0" anchor="b" anchorCtr="0">
            <a:spAutoFit/>
          </a:bodyPr>
          <a:lstStyle>
            <a:defPPr>
              <a:defRPr lang="en-US"/>
            </a:defPPr>
            <a:lvl1pPr marL="0" algn="r" defTabSz="914400" rtl="0" eaLnBrk="1" latinLnBrk="0" hangingPunct="1">
              <a:defRPr sz="900" b="0" i="0" kern="1200">
                <a:solidFill>
                  <a:schemeClr val="tx1"/>
                </a:solidFill>
                <a:latin typeface="IBM Plex Sans" panose="020B0503050203000203" pitchFamily="34" charset="0"/>
                <a:ea typeface="+mn-ea"/>
                <a:cs typeface="+mn-cs"/>
                <a:sym typeface="IBM Plex San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17"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a:ln>
                  <a:noFill/>
                </a:ln>
                <a:solidFill>
                  <a:prstClr val="black"/>
                </a:solidFill>
                <a:effectLst/>
                <a:uLnTx/>
                <a:uFillTx/>
                <a:latin typeface="IBM Plex Sans" panose="020B0503050203000203" pitchFamily="34" charset="0"/>
                <a:ea typeface="+mn-ea"/>
                <a:cs typeface="+mn-cs"/>
                <a:sym typeface="IBM Plex Sans"/>
              </a:rPr>
              <a:pPr marL="0" marR="0" lvl="0" indent="0" algn="r" defTabSz="914217"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a:ln>
                <a:noFill/>
              </a:ln>
              <a:solidFill>
                <a:prstClr val="black"/>
              </a:solidFill>
              <a:effectLst/>
              <a:uLnTx/>
              <a:uFillTx/>
              <a:latin typeface="IBM Plex Sans" panose="020B0503050203000203" pitchFamily="34" charset="0"/>
              <a:ea typeface="+mn-ea"/>
              <a:cs typeface="+mn-cs"/>
              <a:sym typeface="IBM Plex Sans"/>
            </a:endParaRPr>
          </a:p>
        </p:txBody>
      </p:sp>
      <p:sp>
        <p:nvSpPr>
          <p:cNvPr id="20" name="Rectangle 15">
            <a:extLst>
              <a:ext uri="{FF2B5EF4-FFF2-40B4-BE49-F238E27FC236}">
                <a16:creationId xmlns:a16="http://schemas.microsoft.com/office/drawing/2014/main" id="{F10D2BFD-9EBF-6E85-67D6-134808F81846}"/>
              </a:ext>
            </a:extLst>
          </p:cNvPr>
          <p:cNvSpPr/>
          <p:nvPr/>
        </p:nvSpPr>
        <p:spPr>
          <a:xfrm>
            <a:off x="3779007" y="5844195"/>
            <a:ext cx="4590157" cy="439179"/>
          </a:xfrm>
          <a:prstGeom prst="roundRect">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91428" tIns="45714" rIns="91428" bIns="45714"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IBM Plex Sans Text"/>
              <a:ea typeface="+mn-ea"/>
              <a:cs typeface="Calibri"/>
            </a:endParaRPr>
          </a:p>
        </p:txBody>
      </p:sp>
      <p:sp>
        <p:nvSpPr>
          <p:cNvPr id="21" name="Rectangle 18">
            <a:extLst>
              <a:ext uri="{FF2B5EF4-FFF2-40B4-BE49-F238E27FC236}">
                <a16:creationId xmlns:a16="http://schemas.microsoft.com/office/drawing/2014/main" id="{AEEC1322-0047-160D-FC63-BE19246329D1}"/>
              </a:ext>
            </a:extLst>
          </p:cNvPr>
          <p:cNvSpPr/>
          <p:nvPr/>
        </p:nvSpPr>
        <p:spPr>
          <a:xfrm>
            <a:off x="4109942" y="5603453"/>
            <a:ext cx="2037416" cy="280281"/>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lIns="91428" tIns="45714" rIns="91428" bIns="45714"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IBM Plex Sans"/>
                <a:ea typeface="+mn-ea"/>
                <a:cs typeface="+mn-cs"/>
              </a:rPr>
              <a:t>Infrastructure Options</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TextBox 34">
            <a:extLst>
              <a:ext uri="{FF2B5EF4-FFF2-40B4-BE49-F238E27FC236}">
                <a16:creationId xmlns:a16="http://schemas.microsoft.com/office/drawing/2014/main" id="{99D5F44C-1598-843A-9E9B-E13AAB2E1D65}"/>
              </a:ext>
            </a:extLst>
          </p:cNvPr>
          <p:cNvSpPr txBox="1"/>
          <p:nvPr/>
        </p:nvSpPr>
        <p:spPr>
          <a:xfrm>
            <a:off x="3930670" y="5956799"/>
            <a:ext cx="758541" cy="261610"/>
          </a:xfrm>
          <a:prstGeom prst="rect">
            <a:avLst/>
          </a:prstGeom>
          <a:noFill/>
        </p:spPr>
        <p:txBody>
          <a:bodyPr wrap="none" rtlCol="0">
            <a:spAutoFit/>
          </a:body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IBM Plex Sans"/>
                <a:ea typeface="+mn-ea"/>
                <a:cs typeface="+mn-cs"/>
              </a:rPr>
              <a:t>On Prem</a:t>
            </a:r>
          </a:p>
        </p:txBody>
      </p:sp>
    </p:spTree>
    <p:extLst>
      <p:ext uri="{BB962C8B-B14F-4D97-AF65-F5344CB8AC3E}">
        <p14:creationId xmlns:p14="http://schemas.microsoft.com/office/powerpoint/2010/main" val="11986432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A51F0FD-A6EB-BD13-4503-741EE7746758}"/>
              </a:ext>
            </a:extLst>
          </p:cNvPr>
          <p:cNvSpPr/>
          <p:nvPr/>
        </p:nvSpPr>
        <p:spPr bwMode="auto">
          <a:xfrm>
            <a:off x="212316" y="5909740"/>
            <a:ext cx="11767371" cy="608341"/>
          </a:xfrm>
          <a:prstGeom prst="rect">
            <a:avLst/>
          </a:prstGeom>
          <a:solidFill>
            <a:schemeClr val="bg1"/>
          </a:solidFill>
          <a:ln w="19050">
            <a:solidFill>
              <a:schemeClr val="tx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14270" tIns="114270" rIns="114270" bIns="114270" numCol="1" rtlCol="0" anchor="ctr" anchorCtr="0" compatLnSpc="1">
            <a:prstTxWarp prst="textNoShape">
              <a:avLst/>
            </a:prstTxWarp>
          </a:bodyPr>
          <a:lstStyle/>
          <a:p>
            <a:pPr marL="0" marR="0" lvl="0" indent="0" algn="l" defTabSz="91432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90" normalizeH="0" baseline="0" noProof="0" dirty="0">
              <a:ln>
                <a:noFill/>
              </a:ln>
              <a:solidFill>
                <a:srgbClr val="FFFFFF"/>
              </a:solidFill>
              <a:effectLst/>
              <a:uLnTx/>
              <a:uFillTx/>
              <a:latin typeface="IBM Plex Sans" panose="020B0503050203000203" pitchFamily="34" charset="0"/>
              <a:ea typeface="+mn-ea"/>
              <a:cs typeface="+mn-cs"/>
            </a:endParaRPr>
          </a:p>
        </p:txBody>
      </p:sp>
      <p:sp>
        <p:nvSpPr>
          <p:cNvPr id="39" name="Right Bracket 38">
            <a:extLst>
              <a:ext uri="{FF2B5EF4-FFF2-40B4-BE49-F238E27FC236}">
                <a16:creationId xmlns:a16="http://schemas.microsoft.com/office/drawing/2014/main" id="{4A217491-6E03-CCD2-C7AC-5DA3D97CFBBC}"/>
              </a:ext>
            </a:extLst>
          </p:cNvPr>
          <p:cNvSpPr/>
          <p:nvPr/>
        </p:nvSpPr>
        <p:spPr bwMode="auto">
          <a:xfrm rot="16200000">
            <a:off x="6025877" y="-964785"/>
            <a:ext cx="175411" cy="11732208"/>
          </a:xfrm>
          <a:prstGeom prst="rightBracket">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txBody>
          <a:bodyPr rtlCol="0" anchor="ctr"/>
          <a:lstStyle/>
          <a:p>
            <a:pPr marL="0" marR="0" lvl="0" indent="0" algn="l" defTabSz="914416"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11" name="Rectangle 10">
            <a:extLst>
              <a:ext uri="{FF2B5EF4-FFF2-40B4-BE49-F238E27FC236}">
                <a16:creationId xmlns:a16="http://schemas.microsoft.com/office/drawing/2014/main" id="{BBD22FA0-1B3F-67B0-E6E6-D53341FD740B}"/>
              </a:ext>
            </a:extLst>
          </p:cNvPr>
          <p:cNvSpPr/>
          <p:nvPr/>
        </p:nvSpPr>
        <p:spPr bwMode="auto">
          <a:xfrm>
            <a:off x="7388498" y="5153390"/>
            <a:ext cx="4591188" cy="608341"/>
          </a:xfrm>
          <a:prstGeom prst="rect">
            <a:avLst/>
          </a:prstGeom>
          <a:solidFill>
            <a:srgbClr val="1192E8"/>
          </a:solidFill>
          <a:ln w="19050">
            <a:solidFill>
              <a:schemeClr val="tx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14270" tIns="114270" rIns="114270" bIns="114270" numCol="1" rtlCol="0" anchor="b" anchorCtr="0" compatLnSpc="1">
            <a:prstTxWarp prst="textNoShape">
              <a:avLst/>
            </a:prstTxWarp>
          </a:bodyPr>
          <a:lstStyle/>
          <a:p>
            <a:pPr marL="0" marR="0" lvl="0" indent="0" algn="l" defTabSz="91432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90" normalizeH="0" baseline="0" noProof="0" dirty="0">
                <a:ln>
                  <a:noFill/>
                </a:ln>
                <a:solidFill>
                  <a:srgbClr val="FFFFFF"/>
                </a:solidFill>
                <a:effectLst/>
                <a:uLnTx/>
                <a:uFillTx/>
                <a:latin typeface="IBM Plex Sans" panose="020B0503050203000203" pitchFamily="34" charset="0"/>
                <a:ea typeface="+mn-ea"/>
                <a:cs typeface="+mn-cs"/>
                <a:sym typeface="IBM Plex Sans"/>
              </a:rPr>
              <a:t>    RPA </a:t>
            </a:r>
            <a:r>
              <a:rPr kumimoji="0" lang="en-US" sz="900" b="0" i="0" u="none" strike="noStrike" kern="1200" cap="none" spc="90" normalizeH="0" baseline="0" noProof="0" dirty="0">
                <a:ln>
                  <a:noFill/>
                </a:ln>
                <a:solidFill>
                  <a:srgbClr val="000000"/>
                </a:solidFill>
                <a:effectLst/>
                <a:uLnTx/>
                <a:uFillTx/>
                <a:latin typeface="IBM Plex Sans" panose="020B0503050203000203" pitchFamily="34" charset="0"/>
                <a:ea typeface="+mn-ea"/>
                <a:cs typeface="+mn-cs"/>
                <a:sym typeface="IBM Plex Sans"/>
              </a:rPr>
              <a:t> |  </a:t>
            </a:r>
            <a:r>
              <a:rPr kumimoji="0" lang="en-US" sz="900" b="0" i="0" u="none" strike="noStrike" kern="1200" cap="none" spc="90" normalizeH="0" baseline="0" noProof="0" dirty="0">
                <a:ln>
                  <a:noFill/>
                </a:ln>
                <a:solidFill>
                  <a:srgbClr val="FFFFFF"/>
                </a:solidFill>
                <a:effectLst/>
                <a:uLnTx/>
                <a:uFillTx/>
                <a:latin typeface="IBM Plex Sans" panose="020B0503050203000203" pitchFamily="34" charset="0"/>
                <a:ea typeface="+mn-ea"/>
                <a:cs typeface="+mn-cs"/>
                <a:sym typeface="IBM Plex Sans"/>
              </a:rPr>
              <a:t>WORFKLOW </a:t>
            </a:r>
            <a:r>
              <a:rPr kumimoji="0" lang="en-US" sz="900" b="0" i="0" u="none" strike="noStrike" kern="1200" cap="none" spc="90" normalizeH="0" baseline="0" noProof="0" dirty="0">
                <a:ln>
                  <a:noFill/>
                </a:ln>
                <a:solidFill>
                  <a:srgbClr val="000000"/>
                </a:solidFill>
                <a:effectLst/>
                <a:uLnTx/>
                <a:uFillTx/>
                <a:latin typeface="IBM Plex Sans" panose="020B0503050203000203" pitchFamily="34" charset="0"/>
                <a:ea typeface="+mn-ea"/>
                <a:cs typeface="+mn-cs"/>
                <a:sym typeface="IBM Plex Sans"/>
              </a:rPr>
              <a:t> |  </a:t>
            </a:r>
            <a:r>
              <a:rPr kumimoji="0" lang="en-US" sz="900" b="0" i="0" u="none" strike="noStrike" kern="1200" cap="none" spc="90" normalizeH="0" baseline="0" noProof="0" dirty="0">
                <a:ln>
                  <a:noFill/>
                </a:ln>
                <a:solidFill>
                  <a:srgbClr val="FFFFFF"/>
                </a:solidFill>
                <a:effectLst/>
                <a:uLnTx/>
                <a:uFillTx/>
                <a:latin typeface="IBM Plex Sans" panose="020B0503050203000203" pitchFamily="34" charset="0"/>
                <a:ea typeface="+mn-ea"/>
                <a:cs typeface="+mn-cs"/>
                <a:sym typeface="IBM Plex Sans"/>
              </a:rPr>
              <a:t>DECISION </a:t>
            </a:r>
            <a:r>
              <a:rPr kumimoji="0" lang="en-US" sz="900" b="0" i="0" u="none" strike="noStrike" kern="1200" cap="none" spc="90" normalizeH="0" baseline="0" noProof="0" dirty="0">
                <a:ln>
                  <a:noFill/>
                </a:ln>
                <a:solidFill>
                  <a:srgbClr val="000000"/>
                </a:solidFill>
                <a:effectLst/>
                <a:uLnTx/>
                <a:uFillTx/>
                <a:latin typeface="IBM Plex Sans" panose="020B0503050203000203" pitchFamily="34" charset="0"/>
                <a:ea typeface="+mn-ea"/>
                <a:cs typeface="+mn-cs"/>
                <a:sym typeface="IBM Plex Sans"/>
              </a:rPr>
              <a:t> |  </a:t>
            </a:r>
            <a:r>
              <a:rPr kumimoji="0" lang="en-US" sz="900" b="0" i="0" u="none" strike="noStrike" kern="1200" cap="none" spc="90" normalizeH="0" baseline="0" noProof="0" dirty="0">
                <a:ln>
                  <a:noFill/>
                </a:ln>
                <a:solidFill>
                  <a:srgbClr val="FFFFFF"/>
                </a:solidFill>
                <a:effectLst/>
                <a:uLnTx/>
                <a:uFillTx/>
                <a:latin typeface="IBM Plex Sans" panose="020B0503050203000203" pitchFamily="34" charset="0"/>
                <a:ea typeface="+mn-ea"/>
                <a:cs typeface="+mn-cs"/>
                <a:sym typeface="IBM Plex Sans"/>
              </a:rPr>
              <a:t>DISCOVER EXISTING</a:t>
            </a:r>
            <a:endParaRPr kumimoji="0" lang="en-US" sz="900" b="0" i="0" u="none" strike="noStrike" kern="1200" cap="none" spc="90" normalizeH="0" baseline="0" noProof="0" dirty="0">
              <a:ln>
                <a:noFill/>
              </a:ln>
              <a:solidFill>
                <a:srgbClr val="FFFFFF"/>
              </a:solidFill>
              <a:effectLst/>
              <a:uLnTx/>
              <a:uFillTx/>
              <a:latin typeface="IBM Plex Sans" panose="020B0503050203000203" pitchFamily="34" charset="0"/>
              <a:ea typeface="+mn-ea"/>
              <a:cs typeface="+mn-cs"/>
            </a:endParaRPr>
          </a:p>
        </p:txBody>
      </p:sp>
      <p:sp>
        <p:nvSpPr>
          <p:cNvPr id="13" name="Rounded Rectangle 12">
            <a:extLst>
              <a:ext uri="{FF2B5EF4-FFF2-40B4-BE49-F238E27FC236}">
                <a16:creationId xmlns:a16="http://schemas.microsoft.com/office/drawing/2014/main" id="{4EB6C05C-327B-BBC8-33B6-2801F9D9D54D}"/>
              </a:ext>
            </a:extLst>
          </p:cNvPr>
          <p:cNvSpPr>
            <a:spLocks/>
          </p:cNvSpPr>
          <p:nvPr/>
        </p:nvSpPr>
        <p:spPr bwMode="auto">
          <a:xfrm>
            <a:off x="8148710" y="1064480"/>
            <a:ext cx="1942594" cy="3199567"/>
          </a:xfrm>
          <a:prstGeom prst="roundRect">
            <a:avLst/>
          </a:prstGeom>
          <a:solidFill>
            <a:srgbClr val="E8DA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marL="0" marR="0" lvl="0" indent="0" algn="l" defTabSz="45706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Light"/>
                <a:ea typeface="+mn-ea"/>
                <a:cs typeface="+mn-cs"/>
              </a:rPr>
              <a:t>Finance</a:t>
            </a:r>
          </a:p>
        </p:txBody>
      </p:sp>
      <p:sp>
        <p:nvSpPr>
          <p:cNvPr id="19" name="Rounded Rectangle 18">
            <a:extLst>
              <a:ext uri="{FF2B5EF4-FFF2-40B4-BE49-F238E27FC236}">
                <a16:creationId xmlns:a16="http://schemas.microsoft.com/office/drawing/2014/main" id="{C082A8C3-F9EE-40D4-630E-933142D3B05C}"/>
              </a:ext>
            </a:extLst>
          </p:cNvPr>
          <p:cNvSpPr>
            <a:spLocks/>
          </p:cNvSpPr>
          <p:nvPr/>
        </p:nvSpPr>
        <p:spPr bwMode="auto">
          <a:xfrm>
            <a:off x="212316" y="1064480"/>
            <a:ext cx="1942594" cy="3199567"/>
          </a:xfrm>
          <a:prstGeom prst="roundRect">
            <a:avLst/>
          </a:prstGeom>
          <a:solidFill>
            <a:srgbClr val="E5F7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marL="0" marR="0" lvl="0" indent="0" algn="l" defTabSz="45706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Light"/>
                <a:ea typeface="+mn-ea"/>
                <a:cs typeface="+mn-cs"/>
              </a:rPr>
              <a:t>Customer Care</a:t>
            </a:r>
          </a:p>
        </p:txBody>
      </p:sp>
      <p:sp>
        <p:nvSpPr>
          <p:cNvPr id="21" name="Rounded Rectangle 20">
            <a:extLst>
              <a:ext uri="{FF2B5EF4-FFF2-40B4-BE49-F238E27FC236}">
                <a16:creationId xmlns:a16="http://schemas.microsoft.com/office/drawing/2014/main" id="{BF433B3C-665C-F291-AC69-0B11397F3BA1}"/>
              </a:ext>
            </a:extLst>
          </p:cNvPr>
          <p:cNvSpPr>
            <a:spLocks/>
          </p:cNvSpPr>
          <p:nvPr/>
        </p:nvSpPr>
        <p:spPr bwMode="auto">
          <a:xfrm>
            <a:off x="2196415" y="1064480"/>
            <a:ext cx="1942594" cy="3199567"/>
          </a:xfrm>
          <a:prstGeom prst="roundRect">
            <a:avLst/>
          </a:prstGeom>
          <a:solidFill>
            <a:srgbClr val="D9FBFB"/>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marL="0" marR="0" lvl="0" indent="0" algn="l" defTabSz="45706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Light"/>
                <a:ea typeface="+mn-ea"/>
                <a:cs typeface="+mn-cs"/>
              </a:rPr>
              <a:t>Sales</a:t>
            </a:r>
          </a:p>
        </p:txBody>
      </p:sp>
      <p:sp>
        <p:nvSpPr>
          <p:cNvPr id="2" name="Slide Number Placeholder 6">
            <a:extLst>
              <a:ext uri="{FF2B5EF4-FFF2-40B4-BE49-F238E27FC236}">
                <a16:creationId xmlns:a16="http://schemas.microsoft.com/office/drawing/2014/main" id="{62050445-574D-37DE-1EC1-63E97C6B717B}"/>
              </a:ext>
            </a:extLst>
          </p:cNvPr>
          <p:cNvSpPr txBox="1">
            <a:spLocks/>
          </p:cNvSpPr>
          <p:nvPr/>
        </p:nvSpPr>
        <p:spPr>
          <a:xfrm>
            <a:off x="9448367" y="6400029"/>
            <a:ext cx="2437993" cy="222192"/>
          </a:xfrm>
          <a:prstGeom prst="rect">
            <a:avLst/>
          </a:prstGeom>
        </p:spPr>
        <p:txBody>
          <a:bodyPr/>
          <a:lstStyle>
            <a:defPPr>
              <a:defRPr lang="en-US"/>
            </a:defPPr>
            <a:lvl1pPr marL="0" algn="l" defTabSz="1829379" rtl="0" eaLnBrk="1" latinLnBrk="0" hangingPunct="1">
              <a:defRPr sz="36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r" defTabSz="685786" rtl="0" eaLnBrk="1" fontAlgn="auto" latinLnBrk="0" hangingPunct="1">
              <a:lnSpc>
                <a:spcPct val="100000"/>
              </a:lnSpc>
              <a:spcBef>
                <a:spcPts val="0"/>
              </a:spcBef>
              <a:spcAft>
                <a:spcPts val="0"/>
              </a:spcAft>
              <a:buClr>
                <a:srgbClr val="000000"/>
              </a:buClr>
              <a:buSzTx/>
              <a:buFontTx/>
              <a:buNone/>
              <a:tabLst/>
              <a:defRPr/>
            </a:pPr>
            <a:fld id="{81B13A8B-8D95-BC44-A2FE-339DD532D912}" type="slidenum">
              <a:rPr kumimoji="0" lang="en-US" sz="800" b="0" i="0" u="none" strike="noStrike" kern="0" cap="none" spc="0" normalizeH="0" baseline="0" noProof="0">
                <a:ln>
                  <a:noFill/>
                </a:ln>
                <a:solidFill>
                  <a:srgbClr val="000000"/>
                </a:solidFill>
                <a:effectLst/>
                <a:uLnTx/>
                <a:uFillTx/>
                <a:latin typeface="IBM Plex Sans" panose="020B0503050203000203" pitchFamily="34" charset="0"/>
                <a:ea typeface="+mn-ea"/>
                <a:cs typeface="Arial"/>
                <a:sym typeface="Arial"/>
              </a:rPr>
              <a:pPr marL="0" marR="0" lvl="0" indent="0" algn="r" defTabSz="685786" rtl="0" eaLnBrk="1" fontAlgn="auto" latinLnBrk="0" hangingPunct="1">
                <a:lnSpc>
                  <a:spcPct val="100000"/>
                </a:lnSpc>
                <a:spcBef>
                  <a:spcPts val="0"/>
                </a:spcBef>
                <a:spcAft>
                  <a:spcPts val="0"/>
                </a:spcAft>
                <a:buClr>
                  <a:srgbClr val="000000"/>
                </a:buClr>
                <a:buSzTx/>
                <a:buFontTx/>
                <a:buNone/>
                <a:tabLst/>
                <a:defRPr/>
              </a:pPr>
              <a:t>11</a:t>
            </a:fld>
            <a:endParaRPr kumimoji="0" lang="en-US" sz="800" b="0" i="0" u="none" strike="noStrike" kern="0" cap="none" spc="0" normalizeH="0" baseline="0" noProof="0" dirty="0">
              <a:ln>
                <a:noFill/>
              </a:ln>
              <a:solidFill>
                <a:srgbClr val="000000"/>
              </a:solidFill>
              <a:effectLst/>
              <a:uLnTx/>
              <a:uFillTx/>
              <a:latin typeface="IBM Plex Sans" panose="020B0503050203000203" pitchFamily="34" charset="0"/>
              <a:ea typeface="+mn-ea"/>
              <a:cs typeface="Arial"/>
              <a:sym typeface="Arial"/>
            </a:endParaRPr>
          </a:p>
        </p:txBody>
      </p:sp>
      <p:sp>
        <p:nvSpPr>
          <p:cNvPr id="8" name="TextBox 7">
            <a:extLst>
              <a:ext uri="{FF2B5EF4-FFF2-40B4-BE49-F238E27FC236}">
                <a16:creationId xmlns:a16="http://schemas.microsoft.com/office/drawing/2014/main" id="{56C08F49-D305-58CB-157B-875431BE471B}"/>
              </a:ext>
            </a:extLst>
          </p:cNvPr>
          <p:cNvSpPr txBox="1"/>
          <p:nvPr/>
        </p:nvSpPr>
        <p:spPr>
          <a:xfrm>
            <a:off x="241270" y="127593"/>
            <a:ext cx="9466256" cy="784702"/>
          </a:xfrm>
          <a:prstGeom prst="rect">
            <a:avLst/>
          </a:prstGeom>
          <a:noFill/>
        </p:spPr>
        <p:txBody>
          <a:bodyPr wrap="square" lIns="0" tIns="0" rIns="0" bIns="0" anchor="t">
            <a:spAutoFit/>
          </a:bodyPr>
          <a:lstStyle/>
          <a:p>
            <a:pPr marL="0" marR="0" lvl="0" indent="0" algn="l" defTabSz="1219077" rtl="0" eaLnBrk="1" fontAlgn="auto" latinLnBrk="0" hangingPunct="1">
              <a:lnSpc>
                <a:spcPct val="100000"/>
              </a:lnSpc>
              <a:spcBef>
                <a:spcPts val="0"/>
              </a:spcBef>
              <a:spcAft>
                <a:spcPts val="0"/>
              </a:spcAft>
              <a:buClr>
                <a:srgbClr val="000000"/>
              </a:buClr>
              <a:buSzTx/>
              <a:buFontTx/>
              <a:buNone/>
              <a:tabLst/>
              <a:defRPr/>
            </a:pPr>
            <a:r>
              <a:rPr kumimoji="0" lang="en-US" sz="2400" b="0" i="0" u="none" strike="noStrike" kern="0" cap="none" spc="0" normalizeH="0" baseline="0" noProof="0" dirty="0">
                <a:ln>
                  <a:noFill/>
                </a:ln>
                <a:solidFill>
                  <a:srgbClr val="000000"/>
                </a:solidFill>
                <a:effectLst/>
                <a:uLnTx/>
                <a:uFillTx/>
                <a:latin typeface="IBM Plex Sans Light"/>
                <a:ea typeface="+mn-ea"/>
                <a:cs typeface="Arial"/>
                <a:sym typeface="Arial"/>
              </a:rPr>
              <a:t>watson</a:t>
            </a:r>
            <a:r>
              <a:rPr kumimoji="0" lang="en-US" sz="2400" b="0" i="0" u="none" strike="noStrike" kern="0" cap="none" spc="0" normalizeH="0" baseline="0" noProof="0" dirty="0">
                <a:ln>
                  <a:noFill/>
                </a:ln>
                <a:solidFill>
                  <a:srgbClr val="0F62FE"/>
                </a:solidFill>
                <a:effectLst/>
                <a:uLnTx/>
                <a:uFillTx/>
                <a:latin typeface="IBM Plex Sans Light"/>
                <a:ea typeface="+mn-ea"/>
                <a:cs typeface="Arial"/>
                <a:sym typeface="Arial"/>
              </a:rPr>
              <a:t>x</a:t>
            </a:r>
            <a:r>
              <a:rPr kumimoji="0" lang="en-US" sz="2400" b="0" i="0" u="none" strike="noStrike" kern="0" cap="none" spc="0" normalizeH="0" baseline="0" noProof="0" dirty="0">
                <a:ln>
                  <a:noFill/>
                </a:ln>
                <a:solidFill>
                  <a:srgbClr val="000000"/>
                </a:solidFill>
                <a:effectLst/>
                <a:uLnTx/>
                <a:uFillTx/>
                <a:latin typeface="IBM Plex Sans Light"/>
                <a:ea typeface="+mn-ea"/>
                <a:cs typeface="Arial"/>
                <a:sym typeface="Arial"/>
              </a:rPr>
              <a:t> Orchestrate: </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Arial"/>
                <a:sym typeface="Arial"/>
              </a:rPr>
              <a:t>AI Assistants for business</a:t>
            </a:r>
            <a:endParaRPr kumimoji="0" lang="en-US" sz="2400" b="0" i="0" u="none" strike="noStrike" kern="0" cap="none" spc="0" normalizeH="0" baseline="0" noProof="0" dirty="0">
              <a:ln>
                <a:noFill/>
              </a:ln>
              <a:solidFill>
                <a:srgbClr val="0F62FE"/>
              </a:solidFill>
              <a:effectLst/>
              <a:uLnTx/>
              <a:uFillTx/>
              <a:latin typeface="IBM Plex Sans Light"/>
              <a:ea typeface="+mn-ea"/>
              <a:cs typeface="Arial"/>
              <a:sym typeface="Arial"/>
            </a:endParaRPr>
          </a:p>
          <a:p>
            <a:pPr marL="0" marR="0" lvl="0" indent="0" algn="l" defTabSz="1218833" rtl="0" eaLnBrk="1" fontAlgn="auto" latinLnBrk="0" hangingPunct="1">
              <a:lnSpc>
                <a:spcPct val="100000"/>
              </a:lnSpc>
              <a:spcBef>
                <a:spcPts val="0"/>
              </a:spcBef>
              <a:spcAft>
                <a:spcPts val="0"/>
              </a:spcAft>
              <a:buClr>
                <a:srgbClr val="000000"/>
              </a:buClr>
              <a:buSzTx/>
              <a:buFontTx/>
              <a:buNone/>
              <a:tabLst/>
              <a:defRPr/>
            </a:pPr>
            <a:endParaRPr kumimoji="0" lang="en-US" sz="2699" b="0" i="1" u="none" strike="noStrike" kern="1200" cap="none" spc="0" normalizeH="0" baseline="0" noProof="0" dirty="0">
              <a:ln>
                <a:noFill/>
              </a:ln>
              <a:solidFill>
                <a:srgbClr val="002D9C"/>
              </a:solidFill>
              <a:effectLst/>
              <a:uLnTx/>
              <a:uFillTx/>
              <a:latin typeface="IBM Plex Sans Light"/>
              <a:ea typeface="+mn-ea"/>
              <a:cs typeface="Arial"/>
              <a:sym typeface="Arial"/>
            </a:endParaRPr>
          </a:p>
        </p:txBody>
      </p:sp>
      <p:sp>
        <p:nvSpPr>
          <p:cNvPr id="5" name="Freeform 4">
            <a:extLst>
              <a:ext uri="{FF2B5EF4-FFF2-40B4-BE49-F238E27FC236}">
                <a16:creationId xmlns:a16="http://schemas.microsoft.com/office/drawing/2014/main" id="{2E48D20C-B098-600C-FC93-2B1A223ADC4D}"/>
              </a:ext>
            </a:extLst>
          </p:cNvPr>
          <p:cNvSpPr/>
          <p:nvPr/>
        </p:nvSpPr>
        <p:spPr>
          <a:xfrm>
            <a:off x="4910645" y="5276943"/>
            <a:ext cx="186260" cy="180618"/>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marL="0" marR="0" lvl="0" indent="0" algn="l" defTabSz="914416" rtl="0" eaLnBrk="1" fontAlgn="auto" latinLnBrk="0" hangingPunct="1">
              <a:lnSpc>
                <a:spcPct val="100000"/>
              </a:lnSpc>
              <a:spcBef>
                <a:spcPts val="0"/>
              </a:spcBef>
              <a:spcAft>
                <a:spcPts val="0"/>
              </a:spcAft>
              <a:buClrTx/>
              <a:buSzTx/>
              <a:buFontTx/>
              <a:buNone/>
              <a:tabLst/>
              <a:defRPr/>
            </a:pPr>
            <a:endParaRPr kumimoji="0" lang="en-US" sz="3599"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6" name="Rectangle 5">
            <a:extLst>
              <a:ext uri="{FF2B5EF4-FFF2-40B4-BE49-F238E27FC236}">
                <a16:creationId xmlns:a16="http://schemas.microsoft.com/office/drawing/2014/main" id="{39E253C3-C236-04E0-44E1-8B2B98E72EDD}"/>
              </a:ext>
            </a:extLst>
          </p:cNvPr>
          <p:cNvSpPr/>
          <p:nvPr/>
        </p:nvSpPr>
        <p:spPr bwMode="auto">
          <a:xfrm>
            <a:off x="212315" y="5153390"/>
            <a:ext cx="4593664" cy="608341"/>
          </a:xfrm>
          <a:prstGeom prst="rect">
            <a:avLst/>
          </a:prstGeom>
          <a:solidFill>
            <a:srgbClr val="001D6C"/>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14270" tIns="114270" rIns="114270" bIns="114270" numCol="1" rtlCol="0" anchor="b" anchorCtr="0" compatLnSpc="1">
            <a:prstTxWarp prst="textNoShape">
              <a:avLst/>
            </a:prstTxWarp>
          </a:bodyPr>
          <a:lstStyle/>
          <a:p>
            <a:pPr marL="0" marR="0" lvl="0" indent="0" algn="l" defTabSz="91432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90" normalizeH="0" baseline="0" noProof="0" dirty="0">
                <a:ln>
                  <a:noFill/>
                </a:ln>
                <a:solidFill>
                  <a:srgbClr val="FFFFFF"/>
                </a:solidFill>
                <a:effectLst/>
                <a:uLnTx/>
                <a:uFillTx/>
                <a:latin typeface="IBM Plex Sans" panose="020B0503050203000203" pitchFamily="34" charset="0"/>
                <a:ea typeface="+mn-ea"/>
                <a:cs typeface="+mn-cs"/>
                <a:sym typeface="IBM Plex Sans"/>
              </a:rPr>
              <a:t>                              CLASSIFY  </a:t>
            </a:r>
            <a:r>
              <a:rPr kumimoji="0" lang="en-US" sz="900" b="0" i="0" u="none" strike="noStrike" kern="1200" cap="none" spc="90" normalizeH="0" baseline="0" noProof="0" dirty="0">
                <a:ln>
                  <a:noFill/>
                </a:ln>
                <a:solidFill>
                  <a:srgbClr val="4489FF"/>
                </a:solidFill>
                <a:effectLst/>
                <a:uLnTx/>
                <a:uFillTx/>
                <a:latin typeface="IBM Plex Sans" panose="020B0503050203000203" pitchFamily="34" charset="0"/>
                <a:ea typeface="+mn-ea"/>
                <a:cs typeface="+mn-cs"/>
                <a:sym typeface="IBM Plex Sans"/>
              </a:rPr>
              <a:t>|</a:t>
            </a:r>
            <a:r>
              <a:rPr kumimoji="0" lang="en-US" sz="900" b="0" i="0" u="none" strike="noStrike" kern="1200" cap="none" spc="90" normalizeH="0" baseline="0" noProof="0" dirty="0">
                <a:ln>
                  <a:noFill/>
                </a:ln>
                <a:solidFill>
                  <a:srgbClr val="FFFFFF"/>
                </a:solidFill>
                <a:effectLst/>
                <a:uLnTx/>
                <a:uFillTx/>
                <a:latin typeface="IBM Plex Sans" panose="020B0503050203000203" pitchFamily="34" charset="0"/>
                <a:ea typeface="+mn-ea"/>
                <a:cs typeface="+mn-cs"/>
                <a:sym typeface="IBM Plex Sans"/>
              </a:rPr>
              <a:t>  GENERATE  </a:t>
            </a:r>
            <a:r>
              <a:rPr kumimoji="0" lang="en-US" sz="900" b="0" i="0" u="none" strike="noStrike" kern="1200" cap="none" spc="90" normalizeH="0" baseline="0" noProof="0" dirty="0">
                <a:ln>
                  <a:noFill/>
                </a:ln>
                <a:solidFill>
                  <a:srgbClr val="4489FF"/>
                </a:solidFill>
                <a:effectLst/>
                <a:uLnTx/>
                <a:uFillTx/>
                <a:latin typeface="IBM Plex Sans" panose="020B0503050203000203" pitchFamily="34" charset="0"/>
                <a:ea typeface="+mn-ea"/>
                <a:cs typeface="+mn-cs"/>
                <a:sym typeface="IBM Plex Sans"/>
              </a:rPr>
              <a:t>|</a:t>
            </a:r>
            <a:r>
              <a:rPr kumimoji="0" lang="en-US" sz="900" b="0" i="0" u="none" strike="noStrike" kern="1200" cap="none" spc="90" normalizeH="0" baseline="0" noProof="0" dirty="0">
                <a:ln>
                  <a:noFill/>
                </a:ln>
                <a:solidFill>
                  <a:srgbClr val="FFFFFF"/>
                </a:solidFill>
                <a:effectLst/>
                <a:uLnTx/>
                <a:uFillTx/>
                <a:latin typeface="IBM Plex Sans" panose="020B0503050203000203" pitchFamily="34" charset="0"/>
                <a:ea typeface="+mn-ea"/>
                <a:cs typeface="+mn-cs"/>
                <a:sym typeface="IBM Plex Sans"/>
              </a:rPr>
              <a:t>  SUMMARIZE  </a:t>
            </a:r>
            <a:r>
              <a:rPr kumimoji="0" lang="en-US" sz="900" b="0" i="0" u="none" strike="noStrike" kern="1200" cap="none" spc="90" normalizeH="0" baseline="0" noProof="0" dirty="0">
                <a:ln>
                  <a:noFill/>
                </a:ln>
                <a:solidFill>
                  <a:srgbClr val="4489FF"/>
                </a:solidFill>
                <a:effectLst/>
                <a:uLnTx/>
                <a:uFillTx/>
                <a:latin typeface="IBM Plex Sans" panose="020B0503050203000203" pitchFamily="34" charset="0"/>
                <a:ea typeface="+mn-ea"/>
                <a:cs typeface="+mn-cs"/>
                <a:sym typeface="IBM Plex Sans"/>
              </a:rPr>
              <a:t>|</a:t>
            </a:r>
            <a:r>
              <a:rPr kumimoji="0" lang="en-US" sz="900" b="0" i="0" u="none" strike="noStrike" kern="1200" cap="none" spc="90" normalizeH="0" baseline="0" noProof="0" dirty="0">
                <a:ln>
                  <a:noFill/>
                </a:ln>
                <a:solidFill>
                  <a:srgbClr val="FFFFFF"/>
                </a:solidFill>
                <a:effectLst/>
                <a:uLnTx/>
                <a:uFillTx/>
                <a:latin typeface="IBM Plex Sans" panose="020B0503050203000203" pitchFamily="34" charset="0"/>
                <a:ea typeface="+mn-ea"/>
                <a:cs typeface="+mn-cs"/>
                <a:sym typeface="IBM Plex Sans"/>
              </a:rPr>
              <a:t>  EXTRACT</a:t>
            </a:r>
            <a:endParaRPr kumimoji="0" lang="en-US" sz="900" b="0" i="0" u="none" strike="noStrike" kern="1200" cap="none" spc="90" normalizeH="0" baseline="0" noProof="0" dirty="0">
              <a:ln>
                <a:noFill/>
              </a:ln>
              <a:solidFill>
                <a:srgbClr val="FFFFFF"/>
              </a:solidFill>
              <a:effectLst/>
              <a:uLnTx/>
              <a:uFillTx/>
              <a:latin typeface="IBM Plex Sans" panose="020B0503050203000203" pitchFamily="34" charset="0"/>
              <a:ea typeface="+mn-ea"/>
              <a:cs typeface="+mn-cs"/>
            </a:endParaRPr>
          </a:p>
        </p:txBody>
      </p:sp>
      <p:pic>
        <p:nvPicPr>
          <p:cNvPr id="7" name="Picture 6" descr="A black background with white text&#10;&#10;Description automatically generated">
            <a:extLst>
              <a:ext uri="{FF2B5EF4-FFF2-40B4-BE49-F238E27FC236}">
                <a16:creationId xmlns:a16="http://schemas.microsoft.com/office/drawing/2014/main" id="{D2B0F195-2F53-AA3C-3184-1D0CBCAA2426}"/>
              </a:ext>
            </a:extLst>
          </p:cNvPr>
          <p:cNvPicPr>
            <a:picLocks noChangeAspect="1"/>
          </p:cNvPicPr>
          <p:nvPr/>
        </p:nvPicPr>
        <p:blipFill rotWithShape="1">
          <a:blip r:embed="rId3"/>
          <a:srcRect l="19813" t="39217" r="16039" b="37525"/>
          <a:stretch/>
        </p:blipFill>
        <p:spPr>
          <a:xfrm>
            <a:off x="247479" y="5482123"/>
            <a:ext cx="1038960" cy="182502"/>
          </a:xfrm>
          <a:prstGeom prst="rect">
            <a:avLst/>
          </a:prstGeom>
        </p:spPr>
      </p:pic>
      <p:sp>
        <p:nvSpPr>
          <p:cNvPr id="9" name="TextBox 8">
            <a:extLst>
              <a:ext uri="{FF2B5EF4-FFF2-40B4-BE49-F238E27FC236}">
                <a16:creationId xmlns:a16="http://schemas.microsoft.com/office/drawing/2014/main" id="{1DB8EDA7-43CC-C876-F42C-5621E2E49AA0}"/>
              </a:ext>
            </a:extLst>
          </p:cNvPr>
          <p:cNvSpPr txBox="1"/>
          <p:nvPr/>
        </p:nvSpPr>
        <p:spPr>
          <a:xfrm>
            <a:off x="241270" y="5185016"/>
            <a:ext cx="1603414" cy="24622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9144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90" normalizeH="0" baseline="0" noProof="0" dirty="0">
                <a:ln>
                  <a:noFill/>
                </a:ln>
                <a:solidFill>
                  <a:srgbClr val="FFFFFF"/>
                </a:solidFill>
                <a:effectLst/>
                <a:uLnTx/>
                <a:uFillTx/>
                <a:latin typeface="IBM Plex Sans" panose="020B0503050203000203" pitchFamily="34" charset="0"/>
                <a:ea typeface="+mn-ea"/>
                <a:cs typeface="+mn-cs"/>
                <a:sym typeface="IBM Plex Sans"/>
              </a:rPr>
              <a:t>Generative AI Skills</a:t>
            </a:r>
            <a:endParaRPr kumimoji="0" lang="en-US" sz="10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12" name="TextBox 11">
            <a:extLst>
              <a:ext uri="{FF2B5EF4-FFF2-40B4-BE49-F238E27FC236}">
                <a16:creationId xmlns:a16="http://schemas.microsoft.com/office/drawing/2014/main" id="{2D4EBA3E-809A-E376-FDE8-B80065907FB2}"/>
              </a:ext>
            </a:extLst>
          </p:cNvPr>
          <p:cNvSpPr txBox="1"/>
          <p:nvPr/>
        </p:nvSpPr>
        <p:spPr>
          <a:xfrm>
            <a:off x="7411954" y="5190326"/>
            <a:ext cx="1390504" cy="24622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9144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90" normalizeH="0" baseline="0" noProof="0" dirty="0">
                <a:ln>
                  <a:noFill/>
                </a:ln>
                <a:solidFill>
                  <a:srgbClr val="FFFFFF"/>
                </a:solidFill>
                <a:effectLst/>
                <a:uLnTx/>
                <a:uFillTx/>
                <a:latin typeface="IBM Plex Sans" panose="020B0503050203000203" pitchFamily="34" charset="0"/>
                <a:ea typeface="+mn-ea"/>
                <a:cs typeface="+mn-cs"/>
                <a:sym typeface="IBM Plex Sans"/>
              </a:rPr>
              <a:t>Automation Skills</a:t>
            </a:r>
            <a:endParaRPr kumimoji="0" lang="en-US" sz="1000" b="0" i="0" u="none" strike="noStrike" kern="1200" cap="none" spc="0" normalizeH="0" baseline="0" noProof="0" dirty="0">
              <a:ln>
                <a:noFill/>
              </a:ln>
              <a:solidFill>
                <a:srgbClr val="000000"/>
              </a:solidFill>
              <a:effectLst/>
              <a:uLnTx/>
              <a:uFillTx/>
              <a:latin typeface="IBM Plex Sans Light"/>
              <a:ea typeface="+mn-ea"/>
              <a:cs typeface="+mn-cs"/>
            </a:endParaRPr>
          </a:p>
        </p:txBody>
      </p:sp>
      <p:pic>
        <p:nvPicPr>
          <p:cNvPr id="15" name="Graphic 14">
            <a:extLst>
              <a:ext uri="{FF2B5EF4-FFF2-40B4-BE49-F238E27FC236}">
                <a16:creationId xmlns:a16="http://schemas.microsoft.com/office/drawing/2014/main" id="{1EC608B0-4735-22E7-C319-76645749B5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44684" y="6003077"/>
            <a:ext cx="839977" cy="226812"/>
          </a:xfrm>
          <a:prstGeom prst="rect">
            <a:avLst/>
          </a:prstGeom>
        </p:spPr>
      </p:pic>
      <p:pic>
        <p:nvPicPr>
          <p:cNvPr id="23" name="Graphic 22">
            <a:extLst>
              <a:ext uri="{FF2B5EF4-FFF2-40B4-BE49-F238E27FC236}">
                <a16:creationId xmlns:a16="http://schemas.microsoft.com/office/drawing/2014/main" id="{24C23D8E-2CD3-4364-C97C-E425BB3F3B7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26837" y="6282095"/>
            <a:ext cx="1165684" cy="170591"/>
          </a:xfrm>
          <a:prstGeom prst="rect">
            <a:avLst/>
          </a:prstGeom>
        </p:spPr>
      </p:pic>
      <p:pic>
        <p:nvPicPr>
          <p:cNvPr id="24" name="Picture 23" descr="A blue and purple logo&#10;&#10;Description automatically generated">
            <a:extLst>
              <a:ext uri="{FF2B5EF4-FFF2-40B4-BE49-F238E27FC236}">
                <a16:creationId xmlns:a16="http://schemas.microsoft.com/office/drawing/2014/main" id="{A18E6502-1789-0034-C2B7-18243A06D233}"/>
              </a:ext>
            </a:extLst>
          </p:cNvPr>
          <p:cNvPicPr>
            <a:picLocks noChangeAspect="1"/>
          </p:cNvPicPr>
          <p:nvPr/>
        </p:nvPicPr>
        <p:blipFill rotWithShape="1">
          <a:blip r:embed="rId8"/>
          <a:srcRect l="29179" r="28617"/>
          <a:stretch/>
        </p:blipFill>
        <p:spPr>
          <a:xfrm>
            <a:off x="9376927" y="6186464"/>
            <a:ext cx="252573" cy="324661"/>
          </a:xfrm>
          <a:prstGeom prst="rect">
            <a:avLst/>
          </a:prstGeom>
        </p:spPr>
      </p:pic>
      <p:pic>
        <p:nvPicPr>
          <p:cNvPr id="25" name="Graphic 24">
            <a:extLst>
              <a:ext uri="{FF2B5EF4-FFF2-40B4-BE49-F238E27FC236}">
                <a16:creationId xmlns:a16="http://schemas.microsoft.com/office/drawing/2014/main" id="{44CAFF18-EB38-6C05-6EFB-B4ABDE7575D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27891" y="6155705"/>
            <a:ext cx="524985" cy="355444"/>
          </a:xfrm>
          <a:prstGeom prst="rect">
            <a:avLst/>
          </a:prstGeom>
        </p:spPr>
      </p:pic>
      <p:pic>
        <p:nvPicPr>
          <p:cNvPr id="27" name="Graphic 26">
            <a:extLst>
              <a:ext uri="{FF2B5EF4-FFF2-40B4-BE49-F238E27FC236}">
                <a16:creationId xmlns:a16="http://schemas.microsoft.com/office/drawing/2014/main" id="{1D0946E5-F592-19F8-DE01-399A5A1ACF6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708939" y="5955391"/>
            <a:ext cx="285592" cy="311770"/>
          </a:xfrm>
          <a:prstGeom prst="rect">
            <a:avLst/>
          </a:prstGeom>
        </p:spPr>
      </p:pic>
      <p:pic>
        <p:nvPicPr>
          <p:cNvPr id="28" name="Graphic 27">
            <a:extLst>
              <a:ext uri="{FF2B5EF4-FFF2-40B4-BE49-F238E27FC236}">
                <a16:creationId xmlns:a16="http://schemas.microsoft.com/office/drawing/2014/main" id="{B6EA8214-5054-8853-8256-14C43AC2375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835716" y="5977385"/>
            <a:ext cx="474586" cy="244474"/>
          </a:xfrm>
          <a:prstGeom prst="rect">
            <a:avLst/>
          </a:prstGeom>
        </p:spPr>
      </p:pic>
      <p:sp>
        <p:nvSpPr>
          <p:cNvPr id="32" name="Rounded Rectangle 31">
            <a:extLst>
              <a:ext uri="{FF2B5EF4-FFF2-40B4-BE49-F238E27FC236}">
                <a16:creationId xmlns:a16="http://schemas.microsoft.com/office/drawing/2014/main" id="{F9E5EF1C-22C1-0F8B-5842-CF8D56D7D578}"/>
              </a:ext>
            </a:extLst>
          </p:cNvPr>
          <p:cNvSpPr>
            <a:spLocks/>
          </p:cNvSpPr>
          <p:nvPr/>
        </p:nvSpPr>
        <p:spPr bwMode="auto">
          <a:xfrm>
            <a:off x="4180513" y="1064480"/>
            <a:ext cx="1942594" cy="3199567"/>
          </a:xfrm>
          <a:prstGeom prst="roundRect">
            <a:avLst/>
          </a:prstGeom>
          <a:solidFill>
            <a:srgbClr val="BAE8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marL="0" marR="0" lvl="0" indent="0" algn="l" defTabSz="45706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Light"/>
                <a:ea typeface="+mn-ea"/>
                <a:cs typeface="+mn-cs"/>
              </a:rPr>
              <a:t>Supply Chain</a:t>
            </a:r>
          </a:p>
        </p:txBody>
      </p:sp>
      <p:sp>
        <p:nvSpPr>
          <p:cNvPr id="33" name="Rounded Rectangle 32">
            <a:extLst>
              <a:ext uri="{FF2B5EF4-FFF2-40B4-BE49-F238E27FC236}">
                <a16:creationId xmlns:a16="http://schemas.microsoft.com/office/drawing/2014/main" id="{31DF9210-B8D9-06BB-21D6-4E0451DCD56D}"/>
              </a:ext>
            </a:extLst>
          </p:cNvPr>
          <p:cNvSpPr>
            <a:spLocks/>
          </p:cNvSpPr>
          <p:nvPr/>
        </p:nvSpPr>
        <p:spPr bwMode="auto">
          <a:xfrm>
            <a:off x="6164612" y="1064480"/>
            <a:ext cx="1942594" cy="3199567"/>
          </a:xfrm>
          <a:prstGeom prst="roundRect">
            <a:avLst/>
          </a:prstGeom>
          <a:solidFill>
            <a:srgbClr val="F6F2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marL="0" marR="0" lvl="0" indent="0" algn="l" defTabSz="45706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Light"/>
                <a:ea typeface="+mn-ea"/>
                <a:cs typeface="+mn-cs"/>
              </a:rPr>
              <a:t>Procurement</a:t>
            </a:r>
          </a:p>
        </p:txBody>
      </p:sp>
      <p:sp>
        <p:nvSpPr>
          <p:cNvPr id="34" name="Rounded Rectangle 33">
            <a:extLst>
              <a:ext uri="{FF2B5EF4-FFF2-40B4-BE49-F238E27FC236}">
                <a16:creationId xmlns:a16="http://schemas.microsoft.com/office/drawing/2014/main" id="{298E1C90-D2DE-77A2-44F7-FB7E4B324353}"/>
              </a:ext>
            </a:extLst>
          </p:cNvPr>
          <p:cNvSpPr>
            <a:spLocks/>
          </p:cNvSpPr>
          <p:nvPr/>
        </p:nvSpPr>
        <p:spPr bwMode="auto">
          <a:xfrm>
            <a:off x="10132808" y="1064480"/>
            <a:ext cx="1942594" cy="3199567"/>
          </a:xfrm>
          <a:prstGeom prst="roundRect">
            <a:avLst/>
          </a:prstGeom>
          <a:solidFill>
            <a:srgbClr val="9EF1F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marL="0" marR="0" lvl="0" indent="0" algn="l" defTabSz="45706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Light"/>
                <a:ea typeface="+mn-ea"/>
                <a:cs typeface="+mn-cs"/>
              </a:rPr>
              <a:t>HR</a:t>
            </a:r>
          </a:p>
        </p:txBody>
      </p:sp>
      <p:sp>
        <p:nvSpPr>
          <p:cNvPr id="35" name="Rounded Rectangle 34">
            <a:extLst>
              <a:ext uri="{FF2B5EF4-FFF2-40B4-BE49-F238E27FC236}">
                <a16:creationId xmlns:a16="http://schemas.microsoft.com/office/drawing/2014/main" id="{2006B926-CBD6-34FC-C485-B5CD2B1D5F3B}"/>
              </a:ext>
            </a:extLst>
          </p:cNvPr>
          <p:cNvSpPr>
            <a:spLocks noChangeAspect="1"/>
          </p:cNvSpPr>
          <p:nvPr/>
        </p:nvSpPr>
        <p:spPr bwMode="auto">
          <a:xfrm>
            <a:off x="315158" y="2908332"/>
            <a:ext cx="1725562" cy="118841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marL="0" marR="0" lvl="0" indent="0" algn="l" defTabSz="457064"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Business impact</a:t>
            </a:r>
          </a:p>
          <a:p>
            <a:pPr marL="91413" marR="0" lvl="0" indent="-91413" algn="l" defTabSz="457064"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Better resolution times</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Reduced costs</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Improved NPS/CSAT</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Higher agent retention</a:t>
            </a:r>
          </a:p>
        </p:txBody>
      </p:sp>
      <p:sp>
        <p:nvSpPr>
          <p:cNvPr id="36" name="Rectangle 35">
            <a:extLst>
              <a:ext uri="{FF2B5EF4-FFF2-40B4-BE49-F238E27FC236}">
                <a16:creationId xmlns:a16="http://schemas.microsoft.com/office/drawing/2014/main" id="{7E1E64A1-404F-0FBA-A920-248B94F8CBF7}"/>
              </a:ext>
            </a:extLst>
          </p:cNvPr>
          <p:cNvSpPr/>
          <p:nvPr/>
        </p:nvSpPr>
        <p:spPr bwMode="auto">
          <a:xfrm>
            <a:off x="4876320" y="5153390"/>
            <a:ext cx="2441839" cy="608341"/>
          </a:xfrm>
          <a:prstGeom prst="rect">
            <a:avLst/>
          </a:prstGeom>
          <a:solidFill>
            <a:srgbClr val="009D9A"/>
          </a:solidFill>
          <a:ln w="19050">
            <a:solidFill>
              <a:schemeClr val="tx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14270" tIns="114270" rIns="114270" bIns="114270" numCol="1" rtlCol="0" anchor="b" anchorCtr="0" compatLnSpc="1">
            <a:prstTxWarp prst="textNoShape">
              <a:avLst/>
            </a:prstTxWarp>
          </a:bodyPr>
          <a:lstStyle/>
          <a:p>
            <a:pPr marL="0" marR="0" lvl="0" indent="0" algn="l" defTabSz="91432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90" normalizeH="0" baseline="0" noProof="0" dirty="0">
                <a:ln>
                  <a:noFill/>
                </a:ln>
                <a:solidFill>
                  <a:srgbClr val="FFFFFF"/>
                </a:solidFill>
                <a:effectLst/>
                <a:uLnTx/>
                <a:uFillTx/>
                <a:latin typeface="IBM Plex Sans" panose="020B0503050203000203" pitchFamily="34" charset="0"/>
                <a:ea typeface="+mn-ea"/>
                <a:cs typeface="+mn-cs"/>
                <a:sym typeface="IBM Plex Sans"/>
              </a:rPr>
              <a:t>SEMANTIC SEARCH</a:t>
            </a:r>
            <a:r>
              <a:rPr kumimoji="0" lang="en-US" sz="900" b="0" i="0" u="none" strike="noStrike" kern="1200" cap="none" spc="90" normalizeH="0" baseline="0" noProof="0" dirty="0">
                <a:ln>
                  <a:noFill/>
                </a:ln>
                <a:solidFill>
                  <a:srgbClr val="000000"/>
                </a:solidFill>
                <a:effectLst/>
                <a:uLnTx/>
                <a:uFillTx/>
                <a:latin typeface="IBM Plex Sans" panose="020B0503050203000203" pitchFamily="34" charset="0"/>
                <a:ea typeface="+mn-ea"/>
                <a:cs typeface="+mn-cs"/>
                <a:sym typeface="IBM Plex Sans"/>
              </a:rPr>
              <a:t> |  </a:t>
            </a:r>
            <a:r>
              <a:rPr kumimoji="0" lang="en-US" sz="900" b="0" i="0" u="none" strike="noStrike" kern="1200" cap="none" spc="90" normalizeH="0" baseline="0" noProof="0" dirty="0">
                <a:ln>
                  <a:noFill/>
                </a:ln>
                <a:solidFill>
                  <a:srgbClr val="FFFFFF"/>
                </a:solidFill>
                <a:effectLst/>
                <a:uLnTx/>
                <a:uFillTx/>
                <a:latin typeface="IBM Plex Sans" panose="020B0503050203000203" pitchFamily="34" charset="0"/>
                <a:ea typeface="+mn-ea"/>
                <a:cs typeface="+mn-cs"/>
                <a:sym typeface="IBM Plex Sans"/>
              </a:rPr>
              <a:t>VECTOR DB</a:t>
            </a:r>
            <a:endParaRPr kumimoji="0" lang="en-US" sz="900" b="0" i="0" u="none" strike="noStrike" kern="1200" cap="none" spc="90" normalizeH="0" baseline="0" noProof="0" dirty="0">
              <a:ln>
                <a:noFill/>
              </a:ln>
              <a:solidFill>
                <a:srgbClr val="FFFFFF"/>
              </a:solidFill>
              <a:effectLst/>
              <a:uLnTx/>
              <a:uFillTx/>
              <a:latin typeface="IBM Plex Sans" panose="020B0503050203000203" pitchFamily="34" charset="0"/>
              <a:ea typeface="+mn-ea"/>
              <a:cs typeface="+mn-cs"/>
            </a:endParaRPr>
          </a:p>
        </p:txBody>
      </p:sp>
      <p:pic>
        <p:nvPicPr>
          <p:cNvPr id="1026" name="Picture 2" descr="Download Genesys Logo in SVG Vector or PNG File Format ...">
            <a:extLst>
              <a:ext uri="{FF2B5EF4-FFF2-40B4-BE49-F238E27FC236}">
                <a16:creationId xmlns:a16="http://schemas.microsoft.com/office/drawing/2014/main" id="{C7223558-AC7F-FB00-AB76-2B1D45FED1B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70664" y="5996208"/>
            <a:ext cx="951758" cy="63450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NICE CXone Reviews 2024: Details, Pricing, &amp; Features | G2">
            <a:extLst>
              <a:ext uri="{FF2B5EF4-FFF2-40B4-BE49-F238E27FC236}">
                <a16:creationId xmlns:a16="http://schemas.microsoft.com/office/drawing/2014/main" id="{651FE816-3AE3-FDA7-C67E-A9066BC78A0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40404" y="5976144"/>
            <a:ext cx="510776" cy="26815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A6E6389C-72B5-D4E0-E20A-14386220B24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415276" y="6239092"/>
            <a:ext cx="804234" cy="254222"/>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184BDA8B-D84B-1019-D9E4-E7D64B6037B5}"/>
              </a:ext>
            </a:extLst>
          </p:cNvPr>
          <p:cNvSpPr txBox="1"/>
          <p:nvPr/>
        </p:nvSpPr>
        <p:spPr>
          <a:xfrm>
            <a:off x="4942687" y="5185016"/>
            <a:ext cx="1861174" cy="24622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91441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90" normalizeH="0" baseline="0" noProof="0" dirty="0">
                <a:ln>
                  <a:noFill/>
                </a:ln>
                <a:solidFill>
                  <a:srgbClr val="FFFFFF"/>
                </a:solidFill>
                <a:effectLst/>
                <a:uLnTx/>
                <a:uFillTx/>
                <a:latin typeface="IBM Plex Sans" panose="020B0503050203000203" pitchFamily="34" charset="0"/>
                <a:ea typeface="+mn-ea"/>
                <a:cs typeface="+mn-cs"/>
                <a:sym typeface="IBM Plex Sans"/>
              </a:rPr>
              <a:t>Knowledge Skills</a:t>
            </a:r>
            <a:endParaRPr kumimoji="0" lang="en-US" sz="10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38" name="Rectangle 37">
            <a:extLst>
              <a:ext uri="{FF2B5EF4-FFF2-40B4-BE49-F238E27FC236}">
                <a16:creationId xmlns:a16="http://schemas.microsoft.com/office/drawing/2014/main" id="{B30F5973-FEA9-1659-51F0-AF758A2797F0}"/>
              </a:ext>
            </a:extLst>
          </p:cNvPr>
          <p:cNvSpPr/>
          <p:nvPr/>
        </p:nvSpPr>
        <p:spPr bwMode="auto">
          <a:xfrm>
            <a:off x="3072083" y="4380684"/>
            <a:ext cx="6006551" cy="608341"/>
          </a:xfrm>
          <a:prstGeom prst="rect">
            <a:avLst/>
          </a:prstGeom>
          <a:solidFill>
            <a:schemeClr val="bg1"/>
          </a:solidFill>
          <a:ln w="19050">
            <a:solidFill>
              <a:srgbClr val="161616"/>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14270" tIns="114270" rIns="114270" bIns="114270" numCol="1" rtlCol="0" anchor="ctr" anchorCtr="0" compatLnSpc="1">
            <a:prstTxWarp prst="textNoShape">
              <a:avLst/>
            </a:prstTxWarp>
          </a:bodyPr>
          <a:lstStyle/>
          <a:p>
            <a:pPr marL="0" marR="0" lvl="0" indent="0" algn="l" defTabSz="91432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90" normalizeH="0" baseline="0" noProof="0" dirty="0">
                <a:ln>
                  <a:noFill/>
                </a:ln>
                <a:solidFill>
                  <a:srgbClr val="000000"/>
                </a:solidFill>
                <a:effectLst/>
                <a:uLnTx/>
                <a:uFillTx/>
                <a:latin typeface="IBM Plex Sans" panose="020B0503050203000203" pitchFamily="34" charset="0"/>
                <a:ea typeface="+mn-ea"/>
                <a:cs typeface="+mn-cs"/>
                <a:sym typeface="IBM Plex Sans"/>
              </a:rPr>
              <a:t>                 CONVERSATIONAL  |  ORCHESTRATES SKILLS  | CONTEXTUALIZED</a:t>
            </a:r>
            <a:br>
              <a:rPr kumimoji="0" lang="en-US" sz="900" b="0" i="0" u="none" strike="noStrike" kern="1200" cap="none" spc="90" normalizeH="0" baseline="0" noProof="0" dirty="0">
                <a:ln>
                  <a:noFill/>
                </a:ln>
                <a:solidFill>
                  <a:srgbClr val="000000"/>
                </a:solidFill>
                <a:effectLst/>
                <a:uLnTx/>
                <a:uFillTx/>
                <a:latin typeface="IBM Plex Sans" panose="020B0503050203000203" pitchFamily="34" charset="0"/>
                <a:ea typeface="+mn-ea"/>
                <a:cs typeface="+mn-cs"/>
                <a:sym typeface="IBM Plex Sans"/>
              </a:rPr>
            </a:br>
            <a:r>
              <a:rPr kumimoji="0" lang="en-US" sz="900" b="0" i="0" u="none" strike="noStrike" kern="1200" cap="none" spc="90" normalizeH="0" baseline="0" noProof="0" dirty="0">
                <a:ln>
                  <a:noFill/>
                </a:ln>
                <a:solidFill>
                  <a:srgbClr val="000000"/>
                </a:solidFill>
                <a:effectLst/>
                <a:uLnTx/>
                <a:uFillTx/>
                <a:latin typeface="IBM Plex Sans" panose="020B0503050203000203" pitchFamily="34" charset="0"/>
                <a:ea typeface="+mn-ea"/>
                <a:cs typeface="+mn-cs"/>
                <a:sym typeface="IBM Plex Sans"/>
              </a:rPr>
              <a:t>                  OMNI-CHANNEL | MULTI-CLOUD</a:t>
            </a:r>
            <a:endParaRPr kumimoji="0" lang="en-US" sz="900" b="0" i="0" u="none" strike="noStrike" kern="1200" cap="none" spc="90" normalizeH="0" baseline="0" noProof="0" dirty="0">
              <a:ln>
                <a:noFill/>
              </a:ln>
              <a:solidFill>
                <a:srgbClr val="000000"/>
              </a:solidFill>
              <a:effectLst/>
              <a:uLnTx/>
              <a:uFillTx/>
              <a:latin typeface="IBM Plex Sans" panose="020B0503050203000203" pitchFamily="34" charset="0"/>
              <a:ea typeface="+mn-ea"/>
              <a:cs typeface="+mn-cs"/>
            </a:endParaRPr>
          </a:p>
        </p:txBody>
      </p:sp>
      <p:pic>
        <p:nvPicPr>
          <p:cNvPr id="1032" name="Picture 8" descr="Salesloft - Workato Tech Partner Directory">
            <a:extLst>
              <a:ext uri="{FF2B5EF4-FFF2-40B4-BE49-F238E27FC236}">
                <a16:creationId xmlns:a16="http://schemas.microsoft.com/office/drawing/2014/main" id="{9B1067A6-7559-4557-8968-72CA0417AE0F}"/>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612782" y="6161720"/>
            <a:ext cx="804234" cy="40211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Elastic Logo PNG Transparent &amp; SVG Vector - Freebie Supply">
            <a:extLst>
              <a:ext uri="{FF2B5EF4-FFF2-40B4-BE49-F238E27FC236}">
                <a16:creationId xmlns:a16="http://schemas.microsoft.com/office/drawing/2014/main" id="{AFA0BB5E-0BA7-B455-C8BB-3F5AFF8FE573}"/>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154395" y="6236999"/>
            <a:ext cx="767945" cy="26334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Brandfetch | Coupa Logos &amp; Brand Assets">
            <a:extLst>
              <a:ext uri="{FF2B5EF4-FFF2-40B4-BE49-F238E27FC236}">
                <a16:creationId xmlns:a16="http://schemas.microsoft.com/office/drawing/2014/main" id="{8125DF25-DF5F-218E-ADFE-EBA63BA57E5F}"/>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509531" y="5955392"/>
            <a:ext cx="1033419" cy="281607"/>
          </a:xfrm>
          <a:prstGeom prst="rect">
            <a:avLst/>
          </a:prstGeom>
          <a:noFill/>
          <a:extLst>
            <a:ext uri="{909E8E84-426E-40DD-AFC4-6F175D3DCCD1}">
              <a14:hiddenFill xmlns:a14="http://schemas.microsoft.com/office/drawing/2010/main">
                <a:solidFill>
                  <a:srgbClr val="FFFFFF"/>
                </a:solidFill>
              </a14:hiddenFill>
            </a:ext>
          </a:extLst>
        </p:spPr>
      </p:pic>
      <p:sp>
        <p:nvSpPr>
          <p:cNvPr id="42" name="Rounded Rectangle 41">
            <a:extLst>
              <a:ext uri="{FF2B5EF4-FFF2-40B4-BE49-F238E27FC236}">
                <a16:creationId xmlns:a16="http://schemas.microsoft.com/office/drawing/2014/main" id="{77B77BA9-E28F-96B4-68A5-4BC0CD67D25F}"/>
              </a:ext>
            </a:extLst>
          </p:cNvPr>
          <p:cNvSpPr>
            <a:spLocks/>
          </p:cNvSpPr>
          <p:nvPr/>
        </p:nvSpPr>
        <p:spPr bwMode="auto">
          <a:xfrm>
            <a:off x="315158" y="1513816"/>
            <a:ext cx="1736908" cy="118841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marL="0" marR="0" lvl="0" indent="0" algn="l" defTabSz="457064"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Use cases</a:t>
            </a:r>
          </a:p>
          <a:p>
            <a:pPr marL="91413" marR="0" lvl="0" indent="-91413" algn="l" defTabSz="457064"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Digital self-serve</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Modernize contact center</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Agent Assist</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Contact Center Insights</a:t>
            </a:r>
          </a:p>
        </p:txBody>
      </p:sp>
      <p:sp>
        <p:nvSpPr>
          <p:cNvPr id="43" name="Rounded Rectangle 42">
            <a:extLst>
              <a:ext uri="{FF2B5EF4-FFF2-40B4-BE49-F238E27FC236}">
                <a16:creationId xmlns:a16="http://schemas.microsoft.com/office/drawing/2014/main" id="{FB3BD7C7-8CB7-09D5-4F5A-119CAB40BAAB}"/>
              </a:ext>
            </a:extLst>
          </p:cNvPr>
          <p:cNvSpPr>
            <a:spLocks noChangeAspect="1"/>
          </p:cNvSpPr>
          <p:nvPr/>
        </p:nvSpPr>
        <p:spPr bwMode="auto">
          <a:xfrm>
            <a:off x="2304930" y="2935920"/>
            <a:ext cx="1725562" cy="118841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marL="0" marR="0" lvl="0" indent="0" algn="l" defTabSz="457064"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Business impact</a:t>
            </a:r>
          </a:p>
          <a:p>
            <a:pPr marL="91413" marR="0" lvl="0" indent="-91413" algn="l" defTabSz="457064"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Higher conversion rate</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Increased order size</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Improved upselling</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Customer retention</a:t>
            </a:r>
            <a:r>
              <a:rPr kumimoji="0" lang="en-US" sz="1100" b="0" i="0" u="none" strike="noStrike" kern="1200" cap="none" spc="0" normalizeH="0" baseline="0" noProof="0" dirty="0">
                <a:ln>
                  <a:noFill/>
                </a:ln>
                <a:solidFill>
                  <a:srgbClr val="000000"/>
                </a:solidFill>
                <a:effectLst/>
                <a:uLnTx/>
                <a:uFillTx/>
                <a:latin typeface="IBM Plex Sans Light"/>
                <a:ea typeface="+mn-ea"/>
                <a:cs typeface="+mn-cs"/>
              </a:rPr>
              <a:t> </a:t>
            </a:r>
          </a:p>
        </p:txBody>
      </p:sp>
      <p:sp>
        <p:nvSpPr>
          <p:cNvPr id="44" name="Rounded Rectangle 43">
            <a:extLst>
              <a:ext uri="{FF2B5EF4-FFF2-40B4-BE49-F238E27FC236}">
                <a16:creationId xmlns:a16="http://schemas.microsoft.com/office/drawing/2014/main" id="{F63FE4A2-0D77-247D-8C99-E4A525E5E9E1}"/>
              </a:ext>
            </a:extLst>
          </p:cNvPr>
          <p:cNvSpPr>
            <a:spLocks/>
          </p:cNvSpPr>
          <p:nvPr/>
        </p:nvSpPr>
        <p:spPr bwMode="auto">
          <a:xfrm>
            <a:off x="2299257" y="1541402"/>
            <a:ext cx="1736908" cy="118841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marL="0" marR="0" lvl="0" indent="0" algn="l" defTabSz="457064"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Use cases</a:t>
            </a:r>
          </a:p>
          <a:p>
            <a:pPr marL="91413" marR="0" lvl="0" indent="-91413" algn="l" defTabSz="457064"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Buyer experience</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Lead management</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Opportunity management</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Seller support</a:t>
            </a:r>
          </a:p>
        </p:txBody>
      </p:sp>
      <p:pic>
        <p:nvPicPr>
          <p:cNvPr id="45" name="Picture 14" descr="Sap success factor and Edflex">
            <a:extLst>
              <a:ext uri="{FF2B5EF4-FFF2-40B4-BE49-F238E27FC236}">
                <a16:creationId xmlns:a16="http://schemas.microsoft.com/office/drawing/2014/main" id="{8B046CFA-BF00-7B49-031D-681689F095A5}"/>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19845" r="19381"/>
          <a:stretch/>
        </p:blipFill>
        <p:spPr bwMode="auto">
          <a:xfrm>
            <a:off x="11297959" y="6034729"/>
            <a:ext cx="670100" cy="405372"/>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8DFFD65B-848F-5F7B-3304-67F88D9A63D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094725" y="5997733"/>
            <a:ext cx="1199210" cy="155503"/>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a:extLst>
              <a:ext uri="{FF2B5EF4-FFF2-40B4-BE49-F238E27FC236}">
                <a16:creationId xmlns:a16="http://schemas.microsoft.com/office/drawing/2014/main" id="{2AF5EE0A-C398-DCDE-7453-7F7765121961}"/>
              </a:ext>
            </a:extLst>
          </p:cNvPr>
          <p:cNvSpPr txBox="1"/>
          <p:nvPr/>
        </p:nvSpPr>
        <p:spPr>
          <a:xfrm>
            <a:off x="194333" y="5936948"/>
            <a:ext cx="1298456" cy="2308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914416"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90" normalizeH="0" baseline="0" noProof="0" dirty="0">
                <a:ln>
                  <a:noFill/>
                </a:ln>
                <a:solidFill>
                  <a:srgbClr val="000000"/>
                </a:solidFill>
                <a:effectLst/>
                <a:uLnTx/>
                <a:uFillTx/>
                <a:latin typeface="IBM Plex Sans" panose="020B0503050203000203" pitchFamily="34" charset="0"/>
                <a:ea typeface="+mn-ea"/>
                <a:cs typeface="+mn-cs"/>
                <a:sym typeface="IBM Plex Sans"/>
              </a:rPr>
              <a:t>INTEGRATIONS</a:t>
            </a:r>
            <a:endParaRPr kumimoji="0" lang="en-US" sz="900" b="1" i="0" u="none" strike="noStrike" kern="1200" cap="none" spc="0" normalizeH="0" baseline="0" noProof="0" dirty="0">
              <a:ln>
                <a:noFill/>
              </a:ln>
              <a:solidFill>
                <a:srgbClr val="000000"/>
              </a:solidFill>
              <a:effectLst/>
              <a:uLnTx/>
              <a:uFillTx/>
              <a:latin typeface="IBM Plex Sans Light"/>
              <a:ea typeface="+mn-ea"/>
              <a:cs typeface="+mn-cs"/>
            </a:endParaRPr>
          </a:p>
        </p:txBody>
      </p:sp>
      <p:pic>
        <p:nvPicPr>
          <p:cNvPr id="1042" name="Picture 18" descr="Dun &amp; Bradstreet - Accelerate Growth and Improve Business ...">
            <a:extLst>
              <a:ext uri="{FF2B5EF4-FFF2-40B4-BE49-F238E27FC236}">
                <a16:creationId xmlns:a16="http://schemas.microsoft.com/office/drawing/2014/main" id="{C8376BA9-F371-A360-1B39-407E0156BC51}"/>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550494" y="5971929"/>
            <a:ext cx="1595920" cy="234121"/>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Home">
            <a:extLst>
              <a:ext uri="{FF2B5EF4-FFF2-40B4-BE49-F238E27FC236}">
                <a16:creationId xmlns:a16="http://schemas.microsoft.com/office/drawing/2014/main" id="{37D3121B-F346-4BCE-31F6-746910E0FB4D}"/>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931819" y="6264727"/>
            <a:ext cx="1014244" cy="246397"/>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Our Commercial Intelligence Data and Ariba">
            <a:extLst>
              <a:ext uri="{FF2B5EF4-FFF2-40B4-BE49-F238E27FC236}">
                <a16:creationId xmlns:a16="http://schemas.microsoft.com/office/drawing/2014/main" id="{50AA7ACA-932A-0E74-97A4-FD64F716184D}"/>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r="62454"/>
          <a:stretch/>
        </p:blipFill>
        <p:spPr bwMode="auto">
          <a:xfrm>
            <a:off x="6858670" y="5955391"/>
            <a:ext cx="1335969" cy="764035"/>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Data Applications - Analytics Dashboard Template | Incorta">
            <a:extLst>
              <a:ext uri="{FF2B5EF4-FFF2-40B4-BE49-F238E27FC236}">
                <a16:creationId xmlns:a16="http://schemas.microsoft.com/office/drawing/2014/main" id="{31C7D4B4-CE2A-9484-B096-EB2BE4CDB0F0}"/>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69501" y="6034728"/>
            <a:ext cx="750361" cy="419147"/>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8">
            <a:extLst>
              <a:ext uri="{FF2B5EF4-FFF2-40B4-BE49-F238E27FC236}">
                <a16:creationId xmlns:a16="http://schemas.microsoft.com/office/drawing/2014/main" id="{B5311937-3AF4-F784-FC08-649D55470983}"/>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829715" y="5900676"/>
            <a:ext cx="1654576" cy="248801"/>
          </a:xfrm>
          <a:prstGeom prst="rect">
            <a:avLst/>
          </a:prstGeom>
          <a:noFill/>
          <a:extLst>
            <a:ext uri="{909E8E84-426E-40DD-AFC4-6F175D3DCCD1}">
              <a14:hiddenFill xmlns:a14="http://schemas.microsoft.com/office/drawing/2010/main">
                <a:solidFill>
                  <a:srgbClr val="FFFFFF"/>
                </a:solidFill>
              </a14:hiddenFill>
            </a:ext>
          </a:extLst>
        </p:spPr>
      </p:pic>
      <p:sp>
        <p:nvSpPr>
          <p:cNvPr id="49" name="Rounded Rectangle 48">
            <a:extLst>
              <a:ext uri="{FF2B5EF4-FFF2-40B4-BE49-F238E27FC236}">
                <a16:creationId xmlns:a16="http://schemas.microsoft.com/office/drawing/2014/main" id="{2FF9CC48-91A2-3F6B-DE15-ED9CBD252EB4}"/>
              </a:ext>
            </a:extLst>
          </p:cNvPr>
          <p:cNvSpPr>
            <a:spLocks noChangeAspect="1"/>
          </p:cNvSpPr>
          <p:nvPr/>
        </p:nvSpPr>
        <p:spPr bwMode="auto">
          <a:xfrm>
            <a:off x="4289028" y="2953366"/>
            <a:ext cx="1725562" cy="118841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marL="0" marR="0" lvl="0" indent="0" algn="l" defTabSz="457064"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Business impact</a:t>
            </a:r>
          </a:p>
          <a:p>
            <a:pPr marL="91413" marR="0" lvl="0" indent="-91413" algn="l" defTabSz="457064"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Cost per order</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Lead times</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Order cycle time</a:t>
            </a:r>
          </a:p>
        </p:txBody>
      </p:sp>
      <p:sp>
        <p:nvSpPr>
          <p:cNvPr id="50" name="Rounded Rectangle 49">
            <a:extLst>
              <a:ext uri="{FF2B5EF4-FFF2-40B4-BE49-F238E27FC236}">
                <a16:creationId xmlns:a16="http://schemas.microsoft.com/office/drawing/2014/main" id="{6192DF58-3416-D453-9FBA-05EB06BEA83B}"/>
              </a:ext>
            </a:extLst>
          </p:cNvPr>
          <p:cNvSpPr>
            <a:spLocks/>
          </p:cNvSpPr>
          <p:nvPr/>
        </p:nvSpPr>
        <p:spPr bwMode="auto">
          <a:xfrm>
            <a:off x="4283355" y="1558848"/>
            <a:ext cx="1736908" cy="118841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marL="0" marR="0" lvl="0" indent="0" algn="l" defTabSz="457064"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Use cases</a:t>
            </a:r>
          </a:p>
          <a:p>
            <a:pPr marL="91413" marR="0" lvl="0" indent="-91413" algn="l" defTabSz="457064"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Sourcing Support</a:t>
            </a:r>
          </a:p>
          <a:p>
            <a:pPr marL="91413" marR="0" lvl="0" indent="-91413" algn="l" defTabSz="457064"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Supplier Management</a:t>
            </a:r>
          </a:p>
          <a:p>
            <a:pPr marL="91413" marR="0" lvl="0" indent="-91413" algn="l" defTabSz="457064"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Sustainability</a:t>
            </a:r>
          </a:p>
          <a:p>
            <a:pPr marL="91413" marR="0" lvl="0" indent="-91413" algn="l" defTabSz="457064"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Inventory Management</a:t>
            </a:r>
          </a:p>
        </p:txBody>
      </p:sp>
      <p:sp>
        <p:nvSpPr>
          <p:cNvPr id="51" name="Rounded Rectangle 50">
            <a:extLst>
              <a:ext uri="{FF2B5EF4-FFF2-40B4-BE49-F238E27FC236}">
                <a16:creationId xmlns:a16="http://schemas.microsoft.com/office/drawing/2014/main" id="{A69F98BB-1449-CED1-CCC8-92A18F2756A0}"/>
              </a:ext>
            </a:extLst>
          </p:cNvPr>
          <p:cNvSpPr>
            <a:spLocks noChangeAspect="1"/>
          </p:cNvSpPr>
          <p:nvPr/>
        </p:nvSpPr>
        <p:spPr bwMode="auto">
          <a:xfrm>
            <a:off x="10241324" y="2918727"/>
            <a:ext cx="1725562" cy="118841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marL="0" marR="0" lvl="0" indent="0" algn="l" defTabSz="457064"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Business impact</a:t>
            </a:r>
          </a:p>
          <a:p>
            <a:pPr marL="91413" marR="0" lvl="0" indent="-91413" algn="l" defTabSz="457064"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Time to offer</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Cost per hire</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Reduced support cost</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1-click resolution rates </a:t>
            </a:r>
          </a:p>
        </p:txBody>
      </p:sp>
      <p:sp>
        <p:nvSpPr>
          <p:cNvPr id="52" name="Rounded Rectangle 51">
            <a:extLst>
              <a:ext uri="{FF2B5EF4-FFF2-40B4-BE49-F238E27FC236}">
                <a16:creationId xmlns:a16="http://schemas.microsoft.com/office/drawing/2014/main" id="{EEB01ABA-C1A4-4412-8F03-33B121EA3195}"/>
              </a:ext>
            </a:extLst>
          </p:cNvPr>
          <p:cNvSpPr>
            <a:spLocks/>
          </p:cNvSpPr>
          <p:nvPr/>
        </p:nvSpPr>
        <p:spPr bwMode="auto">
          <a:xfrm>
            <a:off x="10235651" y="1524210"/>
            <a:ext cx="1736908" cy="118841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marL="0" marR="0" lvl="0" indent="0" algn="l" defTabSz="457064"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Use cases</a:t>
            </a:r>
          </a:p>
          <a:p>
            <a:pPr marL="91413" marR="0" lvl="0" indent="-91413" algn="l" defTabSz="457064"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Talent Recruitment</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Onboarding</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Payroll</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Compensation</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Employee support</a:t>
            </a:r>
          </a:p>
        </p:txBody>
      </p:sp>
      <p:sp>
        <p:nvSpPr>
          <p:cNvPr id="57" name="Rounded Rectangle 56">
            <a:extLst>
              <a:ext uri="{FF2B5EF4-FFF2-40B4-BE49-F238E27FC236}">
                <a16:creationId xmlns:a16="http://schemas.microsoft.com/office/drawing/2014/main" id="{5C107C5F-BD57-1984-20C2-9221BB49C5CD}"/>
              </a:ext>
            </a:extLst>
          </p:cNvPr>
          <p:cNvSpPr>
            <a:spLocks noChangeAspect="1"/>
          </p:cNvSpPr>
          <p:nvPr/>
        </p:nvSpPr>
        <p:spPr bwMode="auto">
          <a:xfrm>
            <a:off x="6273127" y="2950353"/>
            <a:ext cx="1725562" cy="118841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marL="0" marR="0" lvl="0" indent="0" algn="l" defTabSz="457064"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Business impact</a:t>
            </a:r>
          </a:p>
          <a:p>
            <a:pPr marL="91413" marR="0" lvl="0" indent="-91413" algn="l" defTabSz="457064"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Improved onboarding</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Reduced external spend</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Improved sourcing </a:t>
            </a:r>
          </a:p>
        </p:txBody>
      </p:sp>
      <p:sp>
        <p:nvSpPr>
          <p:cNvPr id="58" name="Rounded Rectangle 57">
            <a:extLst>
              <a:ext uri="{FF2B5EF4-FFF2-40B4-BE49-F238E27FC236}">
                <a16:creationId xmlns:a16="http://schemas.microsoft.com/office/drawing/2014/main" id="{0A2984E8-691E-3955-EF6B-67E8C0CC0CD8}"/>
              </a:ext>
            </a:extLst>
          </p:cNvPr>
          <p:cNvSpPr>
            <a:spLocks/>
          </p:cNvSpPr>
          <p:nvPr/>
        </p:nvSpPr>
        <p:spPr bwMode="auto">
          <a:xfrm>
            <a:off x="6267454" y="1555836"/>
            <a:ext cx="1736908" cy="118841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marL="0" marR="0" lvl="0" indent="0" algn="l" defTabSz="457064"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Use cases</a:t>
            </a:r>
          </a:p>
          <a:p>
            <a:pPr marL="91413" marR="0" lvl="0" indent="-91413" algn="l" defTabSz="457064"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Procure to pay</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Contractor requisitions</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PO management</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Supplier assessment</a:t>
            </a:r>
          </a:p>
        </p:txBody>
      </p:sp>
      <p:sp>
        <p:nvSpPr>
          <p:cNvPr id="59" name="Rounded Rectangle 58">
            <a:extLst>
              <a:ext uri="{FF2B5EF4-FFF2-40B4-BE49-F238E27FC236}">
                <a16:creationId xmlns:a16="http://schemas.microsoft.com/office/drawing/2014/main" id="{872F358A-27E5-49B1-4A9E-B63180684D1C}"/>
              </a:ext>
            </a:extLst>
          </p:cNvPr>
          <p:cNvSpPr>
            <a:spLocks noChangeAspect="1"/>
          </p:cNvSpPr>
          <p:nvPr/>
        </p:nvSpPr>
        <p:spPr bwMode="auto">
          <a:xfrm>
            <a:off x="8257226" y="2967799"/>
            <a:ext cx="1725562" cy="118841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marL="0" marR="0" lvl="0" indent="0" algn="l" defTabSz="457064"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Business impact</a:t>
            </a:r>
          </a:p>
          <a:p>
            <a:pPr marL="91413" marR="0" lvl="0" indent="-91413" algn="l" defTabSz="457064"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Cost per transaction</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Days sales outstanding</a:t>
            </a:r>
          </a:p>
          <a:p>
            <a:pPr marL="91413" marR="0" lvl="0" indent="-91413" algn="l" defTabSz="45706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Time to close period</a:t>
            </a:r>
          </a:p>
        </p:txBody>
      </p:sp>
      <p:sp>
        <p:nvSpPr>
          <p:cNvPr id="60" name="Rounded Rectangle 59">
            <a:extLst>
              <a:ext uri="{FF2B5EF4-FFF2-40B4-BE49-F238E27FC236}">
                <a16:creationId xmlns:a16="http://schemas.microsoft.com/office/drawing/2014/main" id="{E3267EA8-BAEC-3049-19F8-A6A385E0027B}"/>
              </a:ext>
            </a:extLst>
          </p:cNvPr>
          <p:cNvSpPr>
            <a:spLocks/>
          </p:cNvSpPr>
          <p:nvPr/>
        </p:nvSpPr>
        <p:spPr bwMode="auto">
          <a:xfrm>
            <a:off x="8251552" y="1573281"/>
            <a:ext cx="1736908" cy="1188411"/>
          </a:xfrm>
          <a:prstGeom prst="round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t" anchorCtr="0" compatLnSpc="1">
            <a:prstTxWarp prst="textNoShape">
              <a:avLst/>
            </a:prstTxWarp>
          </a:bodyPr>
          <a:lstStyle/>
          <a:p>
            <a:pPr marL="0" marR="0" lvl="0" indent="0" algn="l" defTabSz="457064"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Use cases</a:t>
            </a:r>
          </a:p>
          <a:p>
            <a:pPr marL="91413" marR="0" lvl="0" indent="-91413" algn="l" defTabSz="457064"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Source to Pay</a:t>
            </a:r>
          </a:p>
          <a:p>
            <a:pPr marL="91413" marR="0" lvl="0" indent="-91413" algn="l" defTabSz="457064"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Order to Cash</a:t>
            </a:r>
          </a:p>
          <a:p>
            <a:pPr marL="91413" marR="0" lvl="0" indent="-91413" algn="l" defTabSz="457064"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Expense Management</a:t>
            </a:r>
          </a:p>
          <a:p>
            <a:pPr marL="91413" marR="0" lvl="0" indent="-91413" algn="l" defTabSz="457064"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Auditing</a:t>
            </a:r>
          </a:p>
          <a:p>
            <a:pPr marL="91413" marR="0" lvl="0" indent="-91413" algn="l" defTabSz="457064"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Financial Reporting</a:t>
            </a:r>
          </a:p>
        </p:txBody>
      </p:sp>
    </p:spTree>
    <p:extLst>
      <p:ext uri="{BB962C8B-B14F-4D97-AF65-F5344CB8AC3E}">
        <p14:creationId xmlns:p14="http://schemas.microsoft.com/office/powerpoint/2010/main" val="30837023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8B859-E3F8-D46B-AC0D-864A218025C9}"/>
              </a:ext>
            </a:extLst>
          </p:cNvPr>
          <p:cNvSpPr>
            <a:spLocks noGrp="1"/>
          </p:cNvSpPr>
          <p:nvPr>
            <p:ph type="title"/>
          </p:nvPr>
        </p:nvSpPr>
        <p:spPr/>
        <p:txBody>
          <a:bodyPr/>
          <a:lstStyle/>
          <a:p>
            <a:r>
              <a:rPr lang="en-US" dirty="0"/>
              <a:t>AskHR</a:t>
            </a:r>
          </a:p>
        </p:txBody>
      </p:sp>
    </p:spTree>
    <p:extLst>
      <p:ext uri="{BB962C8B-B14F-4D97-AF65-F5344CB8AC3E}">
        <p14:creationId xmlns:p14="http://schemas.microsoft.com/office/powerpoint/2010/main" val="26883055"/>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EE640EA7-1B9B-F157-D35A-3C1B891EC529}"/>
              </a:ext>
            </a:extLst>
          </p:cNvPr>
          <p:cNvSpPr/>
          <p:nvPr/>
        </p:nvSpPr>
        <p:spPr bwMode="auto">
          <a:xfrm>
            <a:off x="4763230" y="4265814"/>
            <a:ext cx="1370583" cy="2062423"/>
          </a:xfrm>
          <a:prstGeom prst="rect">
            <a:avLst/>
          </a:prstGeom>
          <a:solidFill>
            <a:schemeClr val="accent2">
              <a:lumMod val="40000"/>
              <a:lumOff val="60000"/>
            </a:schemeClr>
          </a:solidFill>
          <a:ln w="19050">
            <a:no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47994" tIns="47994" rIns="47994" bIns="47994" numCol="1" rtlCol="0" anchor="t" anchorCtr="0" compatLnSpc="1">
            <a:prstTxWarp prst="textNoShape">
              <a:avLst/>
            </a:prstTxWarp>
          </a:bodyPr>
          <a:lstStyle/>
          <a:p>
            <a:pPr marL="0" marR="0" lvl="0" indent="0" algn="l" defTabSz="914438"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26" name="TextBox 25">
            <a:extLst>
              <a:ext uri="{FF2B5EF4-FFF2-40B4-BE49-F238E27FC236}">
                <a16:creationId xmlns:a16="http://schemas.microsoft.com/office/drawing/2014/main" id="{C0DF54BF-E744-0625-DFE6-55ADD89B0576}"/>
              </a:ext>
            </a:extLst>
          </p:cNvPr>
          <p:cNvSpPr txBox="1"/>
          <p:nvPr/>
        </p:nvSpPr>
        <p:spPr>
          <a:xfrm>
            <a:off x="4661979" y="4268531"/>
            <a:ext cx="1743028" cy="1861535"/>
          </a:xfrm>
          <a:prstGeom prst="rect">
            <a:avLst/>
          </a:prstGeom>
          <a:noFill/>
        </p:spPr>
        <p:txBody>
          <a:bodyPr wrap="square">
            <a:spAutoFit/>
          </a:bodyPr>
          <a:lstStyle/>
          <a:p>
            <a:pPr marL="228543" marR="0" lvl="0" indent="-121893" algn="l" defTabSz="914171"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Check Claim Status</a:t>
            </a:r>
          </a:p>
          <a:p>
            <a:pPr marL="228543" marR="0" lvl="0" indent="-121893" algn="l" defTabSz="914171"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charset="0"/>
              </a:rPr>
              <a:t>View Per Diem</a:t>
            </a:r>
          </a:p>
          <a:p>
            <a:pPr marL="228543" marR="0" lvl="0" indent="-121893" algn="l" defTabSz="914171"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charset="0"/>
              </a:rPr>
              <a:t>Instant messenger notification: Expense transactions</a:t>
            </a:r>
          </a:p>
        </p:txBody>
      </p:sp>
      <p:sp>
        <p:nvSpPr>
          <p:cNvPr id="46" name="Rectangle 45">
            <a:extLst>
              <a:ext uri="{FF2B5EF4-FFF2-40B4-BE49-F238E27FC236}">
                <a16:creationId xmlns:a16="http://schemas.microsoft.com/office/drawing/2014/main" id="{629F5FF0-0278-DBE1-7E83-3E16FE3F9A6D}"/>
              </a:ext>
            </a:extLst>
          </p:cNvPr>
          <p:cNvSpPr/>
          <p:nvPr/>
        </p:nvSpPr>
        <p:spPr bwMode="auto">
          <a:xfrm>
            <a:off x="3333322" y="4265598"/>
            <a:ext cx="1370583" cy="1497220"/>
          </a:xfrm>
          <a:prstGeom prst="rect">
            <a:avLst/>
          </a:prstGeom>
          <a:solidFill>
            <a:schemeClr val="accent2">
              <a:lumMod val="40000"/>
              <a:lumOff val="60000"/>
            </a:schemeClr>
          </a:solidFill>
          <a:ln w="19050">
            <a:no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47994" tIns="47994" rIns="47994" bIns="47994" numCol="1" rtlCol="0" anchor="t" anchorCtr="0" compatLnSpc="1">
            <a:prstTxWarp prst="textNoShape">
              <a:avLst/>
            </a:prstTxWarp>
          </a:bodyPr>
          <a:lstStyle/>
          <a:p>
            <a:pPr marL="0" marR="0" lvl="0" indent="0" algn="l" defTabSz="914438"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48" name="Rectangle 47">
            <a:extLst>
              <a:ext uri="{FF2B5EF4-FFF2-40B4-BE49-F238E27FC236}">
                <a16:creationId xmlns:a16="http://schemas.microsoft.com/office/drawing/2014/main" id="{B835C204-D273-28E2-B3CB-7123C9CBE1C7}"/>
              </a:ext>
            </a:extLst>
          </p:cNvPr>
          <p:cNvSpPr/>
          <p:nvPr/>
        </p:nvSpPr>
        <p:spPr bwMode="auto">
          <a:xfrm>
            <a:off x="1905734" y="4263707"/>
            <a:ext cx="1370583" cy="2328276"/>
          </a:xfrm>
          <a:prstGeom prst="rect">
            <a:avLst/>
          </a:prstGeom>
          <a:solidFill>
            <a:schemeClr val="accent2">
              <a:lumMod val="40000"/>
              <a:lumOff val="60000"/>
            </a:schemeClr>
          </a:solidFill>
          <a:ln w="19050">
            <a:no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47994" tIns="47994" rIns="47994" bIns="47994" numCol="1" rtlCol="0" anchor="t" anchorCtr="0" compatLnSpc="1">
            <a:prstTxWarp prst="textNoShape">
              <a:avLst/>
            </a:prstTxWarp>
          </a:bodyPr>
          <a:lstStyle/>
          <a:p>
            <a:pPr marL="0" marR="0" lvl="0" indent="0" algn="l" defTabSz="914438"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49" name="Rectangle 48">
            <a:extLst>
              <a:ext uri="{FF2B5EF4-FFF2-40B4-BE49-F238E27FC236}">
                <a16:creationId xmlns:a16="http://schemas.microsoft.com/office/drawing/2014/main" id="{77C62361-CE06-8B0A-186B-985E6C9E2F42}"/>
              </a:ext>
            </a:extLst>
          </p:cNvPr>
          <p:cNvSpPr/>
          <p:nvPr/>
        </p:nvSpPr>
        <p:spPr bwMode="auto">
          <a:xfrm>
            <a:off x="10520992" y="4278201"/>
            <a:ext cx="1370583" cy="1747827"/>
          </a:xfrm>
          <a:prstGeom prst="rect">
            <a:avLst/>
          </a:prstGeom>
          <a:solidFill>
            <a:schemeClr val="accent2">
              <a:lumMod val="40000"/>
              <a:lumOff val="60000"/>
            </a:schemeClr>
          </a:solidFill>
          <a:ln w="19050">
            <a:no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47994" tIns="47994" rIns="47994" bIns="47994" numCol="1" rtlCol="0" anchor="t" anchorCtr="0" compatLnSpc="1">
            <a:prstTxWarp prst="textNoShape">
              <a:avLst/>
            </a:prstTxWarp>
          </a:bodyPr>
          <a:lstStyle/>
          <a:p>
            <a:pPr marL="0" marR="0" lvl="0" indent="0" algn="l" defTabSz="914438"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50" name="Rectangle 49">
            <a:extLst>
              <a:ext uri="{FF2B5EF4-FFF2-40B4-BE49-F238E27FC236}">
                <a16:creationId xmlns:a16="http://schemas.microsoft.com/office/drawing/2014/main" id="{42890CA3-0164-DD9C-9A15-31ED4D0F120F}"/>
              </a:ext>
            </a:extLst>
          </p:cNvPr>
          <p:cNvSpPr/>
          <p:nvPr/>
        </p:nvSpPr>
        <p:spPr bwMode="auto">
          <a:xfrm>
            <a:off x="6198529" y="4266468"/>
            <a:ext cx="1370583" cy="2256563"/>
          </a:xfrm>
          <a:prstGeom prst="rect">
            <a:avLst/>
          </a:prstGeom>
          <a:solidFill>
            <a:schemeClr val="accent2">
              <a:lumMod val="40000"/>
              <a:lumOff val="60000"/>
            </a:schemeClr>
          </a:solidFill>
          <a:ln w="19050">
            <a:no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47994" tIns="47994" rIns="47994" bIns="47994" numCol="1" rtlCol="0" anchor="t" anchorCtr="0" compatLnSpc="1">
            <a:prstTxWarp prst="textNoShape">
              <a:avLst/>
            </a:prstTxWarp>
          </a:bodyPr>
          <a:lstStyle/>
          <a:p>
            <a:pPr marL="0" marR="0" lvl="0" indent="0" algn="l" defTabSz="914438"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51" name="Rectangle 50">
            <a:extLst>
              <a:ext uri="{FF2B5EF4-FFF2-40B4-BE49-F238E27FC236}">
                <a16:creationId xmlns:a16="http://schemas.microsoft.com/office/drawing/2014/main" id="{CAFB723E-A8D6-7AAB-7352-E1C1427999CD}"/>
              </a:ext>
            </a:extLst>
          </p:cNvPr>
          <p:cNvSpPr/>
          <p:nvPr/>
        </p:nvSpPr>
        <p:spPr bwMode="auto">
          <a:xfrm>
            <a:off x="7628437" y="4266685"/>
            <a:ext cx="1370583" cy="1356792"/>
          </a:xfrm>
          <a:prstGeom prst="rect">
            <a:avLst/>
          </a:prstGeom>
          <a:solidFill>
            <a:schemeClr val="accent2">
              <a:lumMod val="40000"/>
              <a:lumOff val="60000"/>
            </a:schemeClr>
          </a:solidFill>
          <a:ln w="19050">
            <a:no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47994" tIns="47994" rIns="47994" bIns="47994" numCol="1" rtlCol="0" anchor="t" anchorCtr="0" compatLnSpc="1">
            <a:prstTxWarp prst="textNoShape">
              <a:avLst/>
            </a:prstTxWarp>
          </a:bodyPr>
          <a:lstStyle/>
          <a:p>
            <a:pPr marL="0" marR="0" lvl="0" indent="0" algn="l" defTabSz="914438"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52" name="Rectangle 51">
            <a:extLst>
              <a:ext uri="{FF2B5EF4-FFF2-40B4-BE49-F238E27FC236}">
                <a16:creationId xmlns:a16="http://schemas.microsoft.com/office/drawing/2014/main" id="{AEB1875F-B48D-F3C6-9B3A-8C93B249E0DC}"/>
              </a:ext>
            </a:extLst>
          </p:cNvPr>
          <p:cNvSpPr/>
          <p:nvPr/>
        </p:nvSpPr>
        <p:spPr bwMode="auto">
          <a:xfrm>
            <a:off x="9077082" y="4274136"/>
            <a:ext cx="1370583" cy="2317846"/>
          </a:xfrm>
          <a:prstGeom prst="rect">
            <a:avLst/>
          </a:prstGeom>
          <a:solidFill>
            <a:schemeClr val="accent2">
              <a:lumMod val="40000"/>
              <a:lumOff val="60000"/>
            </a:schemeClr>
          </a:solidFill>
          <a:ln w="19050">
            <a:no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47994" tIns="47994" rIns="47994" bIns="47994" numCol="1" rtlCol="0" anchor="t" anchorCtr="0" compatLnSpc="1">
            <a:prstTxWarp prst="textNoShape">
              <a:avLst/>
            </a:prstTxWarp>
          </a:bodyPr>
          <a:lstStyle/>
          <a:p>
            <a:pPr marL="0" marR="0" lvl="0" indent="0" algn="l" defTabSz="914438"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45" name="Rectangle 44">
            <a:extLst>
              <a:ext uri="{FF2B5EF4-FFF2-40B4-BE49-F238E27FC236}">
                <a16:creationId xmlns:a16="http://schemas.microsoft.com/office/drawing/2014/main" id="{06C5B421-CD22-A0D3-D1C1-84695F2F788B}"/>
              </a:ext>
            </a:extLst>
          </p:cNvPr>
          <p:cNvSpPr/>
          <p:nvPr/>
        </p:nvSpPr>
        <p:spPr bwMode="auto">
          <a:xfrm>
            <a:off x="471214" y="4265380"/>
            <a:ext cx="1370583" cy="1031611"/>
          </a:xfrm>
          <a:prstGeom prst="rect">
            <a:avLst/>
          </a:prstGeom>
          <a:solidFill>
            <a:schemeClr val="accent2">
              <a:lumMod val="40000"/>
              <a:lumOff val="60000"/>
            </a:schemeClr>
          </a:solidFill>
          <a:ln w="19050">
            <a:no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47994" tIns="47994" rIns="47994" bIns="47994" numCol="1" rtlCol="0" anchor="t" anchorCtr="0" compatLnSpc="1">
            <a:prstTxWarp prst="textNoShape">
              <a:avLst/>
            </a:prstTxWarp>
          </a:bodyPr>
          <a:lstStyle/>
          <a:p>
            <a:pPr marL="0" marR="0" lvl="0" indent="0" algn="l" defTabSz="914438"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13" name="Title 1">
            <a:extLst>
              <a:ext uri="{FF2B5EF4-FFF2-40B4-BE49-F238E27FC236}">
                <a16:creationId xmlns:a16="http://schemas.microsoft.com/office/drawing/2014/main" id="{3D7C7249-21A6-011B-6213-FCF5E8765C55}"/>
              </a:ext>
            </a:extLst>
          </p:cNvPr>
          <p:cNvSpPr txBox="1">
            <a:spLocks/>
          </p:cNvSpPr>
          <p:nvPr/>
        </p:nvSpPr>
        <p:spPr>
          <a:xfrm>
            <a:off x="379989" y="258748"/>
            <a:ext cx="10285661" cy="952376"/>
          </a:xfrm>
          <a:prstGeom prst="rect">
            <a:avLst/>
          </a:prstGeom>
        </p:spPr>
        <p:txBody>
          <a:bodyPr vert="horz" lIns="0" tIns="0" rIns="0" bIns="0" rtlCol="0" anchor="t">
            <a:noAutofit/>
          </a:bodyPr>
          <a:lstStyle>
            <a:lvl1pPr algn="l" defTabSz="685772" rtl="0" eaLnBrk="1" latinLnBrk="0" hangingPunct="1">
              <a:lnSpc>
                <a:spcPct val="90000"/>
              </a:lnSpc>
              <a:spcBef>
                <a:spcPct val="0"/>
              </a:spcBef>
              <a:buNone/>
              <a:defRPr sz="2250" b="0" i="0" kern="1200">
                <a:solidFill>
                  <a:schemeClr val="tx1"/>
                </a:solidFill>
                <a:latin typeface="+mj-lt"/>
                <a:ea typeface="IBM Plex Sans" charset="0"/>
                <a:cs typeface="IBM Plex Sans" charset="0"/>
              </a:defRPr>
            </a:lvl1pPr>
          </a:lstStyle>
          <a:p>
            <a:pPr marL="0" marR="0" lvl="0" indent="0" algn="l" defTabSz="685635" rtl="0" eaLnBrk="1" fontAlgn="auto" latinLnBrk="0" hangingPunct="1">
              <a:lnSpc>
                <a:spcPct val="90000"/>
              </a:lnSpc>
              <a:spcBef>
                <a:spcPct val="0"/>
              </a:spcBef>
              <a:spcAft>
                <a:spcPts val="0"/>
              </a:spcAft>
              <a:buClrTx/>
              <a:buSzTx/>
              <a:buFontTx/>
              <a:buNone/>
              <a:tabLst/>
              <a:defRPr/>
            </a:pPr>
            <a:r>
              <a:rPr kumimoji="0" lang="en-US" sz="2999" b="0" i="0" u="none" strike="noStrike" kern="1200" cap="none" spc="0" normalizeH="0" baseline="0" noProof="0" dirty="0">
                <a:ln>
                  <a:noFill/>
                </a:ln>
                <a:solidFill>
                  <a:srgbClr val="000000"/>
                </a:solidFill>
                <a:effectLst/>
                <a:uLnTx/>
                <a:uFillTx/>
                <a:latin typeface="IBM Plex Sans"/>
              </a:rPr>
              <a:t>Example AskHR Automations</a:t>
            </a:r>
            <a:br>
              <a:rPr kumimoji="0" lang="en-US" sz="2999" b="0" i="0" u="none" strike="noStrike" kern="1200" cap="none" spc="0" normalizeH="0" baseline="0" noProof="0" dirty="0">
                <a:ln>
                  <a:noFill/>
                </a:ln>
                <a:solidFill>
                  <a:srgbClr val="000000"/>
                </a:solidFill>
                <a:effectLst/>
                <a:uLnTx/>
                <a:uFillTx/>
                <a:latin typeface="IBM Plex Sans"/>
              </a:rPr>
            </a:br>
            <a:r>
              <a:rPr kumimoji="0" lang="en-US" sz="2000" b="0" i="1" u="none" strike="noStrike" kern="1200" cap="none" spc="0" normalizeH="0" baseline="0" noProof="0" dirty="0">
                <a:ln>
                  <a:noFill/>
                </a:ln>
                <a:solidFill>
                  <a:srgbClr val="000000"/>
                </a:solidFill>
                <a:effectLst/>
                <a:uLnTx/>
                <a:uFillTx/>
                <a:latin typeface="IBM Plex Sans"/>
              </a:rPr>
              <a:t>Supporting moments that matter</a:t>
            </a:r>
            <a:endParaRPr kumimoji="0" lang="en-US" sz="2999" b="0" i="1" u="none" strike="noStrike" kern="1200" cap="none" spc="0" normalizeH="0" baseline="0" noProof="0" dirty="0">
              <a:ln>
                <a:noFill/>
              </a:ln>
              <a:solidFill>
                <a:srgbClr val="000000"/>
              </a:solidFill>
              <a:effectLst/>
              <a:uLnTx/>
              <a:uFillTx/>
              <a:latin typeface="IBM Plex Sans Light"/>
            </a:endParaRPr>
          </a:p>
        </p:txBody>
      </p:sp>
      <p:sp>
        <p:nvSpPr>
          <p:cNvPr id="20" name="Text Placeholder 8">
            <a:extLst>
              <a:ext uri="{FF2B5EF4-FFF2-40B4-BE49-F238E27FC236}">
                <a16:creationId xmlns:a16="http://schemas.microsoft.com/office/drawing/2014/main" id="{F4AF6D69-C2C6-CDC5-FFB1-B4FBBA87720D}"/>
              </a:ext>
            </a:extLst>
          </p:cNvPr>
          <p:cNvSpPr txBox="1">
            <a:spLocks/>
          </p:cNvSpPr>
          <p:nvPr/>
        </p:nvSpPr>
        <p:spPr>
          <a:xfrm>
            <a:off x="80984" y="4039336"/>
            <a:ext cx="1765237" cy="843807"/>
          </a:xfrm>
          <a:prstGeom prst="rect">
            <a:avLst/>
          </a:prstGeom>
          <a:noFill/>
          <a:ln w="3175">
            <a:noFill/>
          </a:ln>
        </p:spPr>
        <p:txBody>
          <a:bodyPr lIns="380950" tIns="304760" rIns="76190" anchor="t"/>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28543" marR="0" lvl="0" indent="-121893" algn="l" defTabSz="380905"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cs typeface="Arial" charset="0"/>
              </a:rPr>
              <a:t>Request Time Off</a:t>
            </a:r>
          </a:p>
          <a:p>
            <a:pPr marL="228543" marR="0" lvl="0" indent="-121893" algn="l" defTabSz="380905"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cs typeface="Arial" charset="0"/>
              </a:rPr>
              <a:t>See Vacation Balance</a:t>
            </a:r>
          </a:p>
          <a:p>
            <a:pPr marL="0" marR="0" lvl="0" indent="-121893" algn="l" defTabSz="380905" rtl="0" eaLnBrk="1" fontAlgn="auto" latinLnBrk="0" hangingPunct="1">
              <a:lnSpc>
                <a:spcPct val="100000"/>
              </a:lnSpc>
              <a:spcBef>
                <a:spcPts val="500"/>
              </a:spcBef>
              <a:spcAft>
                <a:spcPts val="0"/>
              </a:spcAft>
              <a:buClrTx/>
              <a:buSzTx/>
              <a:buFont typeface="Arial"/>
              <a:buNone/>
              <a:tabLst/>
              <a:defRPr/>
            </a:pPr>
            <a:endPar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cs typeface="Arial" charset="0"/>
            </a:endParaRPr>
          </a:p>
        </p:txBody>
      </p:sp>
      <p:sp>
        <p:nvSpPr>
          <p:cNvPr id="22" name="Text Placeholder 8">
            <a:extLst>
              <a:ext uri="{FF2B5EF4-FFF2-40B4-BE49-F238E27FC236}">
                <a16:creationId xmlns:a16="http://schemas.microsoft.com/office/drawing/2014/main" id="{F0F8F150-90EB-2E98-4B62-5430823BB5BF}"/>
              </a:ext>
            </a:extLst>
          </p:cNvPr>
          <p:cNvSpPr txBox="1">
            <a:spLocks/>
          </p:cNvSpPr>
          <p:nvPr/>
        </p:nvSpPr>
        <p:spPr>
          <a:xfrm>
            <a:off x="1505857" y="4066959"/>
            <a:ext cx="1819394" cy="2328276"/>
          </a:xfrm>
          <a:prstGeom prst="rect">
            <a:avLst/>
          </a:prstGeom>
          <a:noFill/>
          <a:ln w="3175">
            <a:noFill/>
          </a:ln>
        </p:spPr>
        <p:txBody>
          <a:bodyPr lIns="380950" tIns="304760" rIns="76190" anchor="t"/>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28543" marR="0" lvl="0" indent="-121893" algn="l" defTabSz="380905"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cs typeface="Arial" charset="0"/>
              </a:rPr>
              <a:t>View Compensation History</a:t>
            </a:r>
          </a:p>
          <a:p>
            <a:pPr marL="228543" marR="0" lvl="0" indent="-121893" algn="l" defTabSz="380905"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cs typeface="Arial" charset="0"/>
              </a:rPr>
              <a:t>Retrieve </a:t>
            </a:r>
            <a:r>
              <a:rPr kumimoji="0" lang="en-US" sz="1333" b="0" i="0" u="none" strike="noStrike" kern="1200" cap="none" spc="0" normalizeH="0" baseline="0" noProof="0" dirty="0" err="1">
                <a:ln>
                  <a:noFill/>
                </a:ln>
                <a:solidFill>
                  <a:srgbClr val="000000"/>
                </a:solidFill>
                <a:effectLst/>
                <a:uLnTx/>
                <a:uFillTx/>
                <a:latin typeface="IBM Plex Sans" panose="020B0503050203000203" pitchFamily="34" charset="0"/>
                <a:cs typeface="Arial" charset="0"/>
              </a:rPr>
              <a:t>Payslip</a:t>
            </a:r>
            <a:endPar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cs typeface="Arial" charset="0"/>
            </a:endParaRPr>
          </a:p>
          <a:p>
            <a:pPr marL="228543" marR="0" lvl="0" indent="-121893" algn="l" defTabSz="380905"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cs typeface="Arial" charset="0"/>
              </a:rPr>
              <a:t>Create Employment Letters</a:t>
            </a:r>
          </a:p>
          <a:p>
            <a:pPr marL="228543" marR="0" lvl="0" indent="-121893" algn="l" defTabSz="380905"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cs typeface="Arial" charset="0"/>
              </a:rPr>
              <a:t>Retrieve Tax Forms</a:t>
            </a:r>
          </a:p>
          <a:p>
            <a:pPr marL="0" marR="0" lvl="0" indent="-121893" algn="l" defTabSz="380905" rtl="0" eaLnBrk="1" fontAlgn="auto" latinLnBrk="0" hangingPunct="1">
              <a:lnSpc>
                <a:spcPct val="100000"/>
              </a:lnSpc>
              <a:spcBef>
                <a:spcPts val="500"/>
              </a:spcBef>
              <a:spcAft>
                <a:spcPts val="0"/>
              </a:spcAft>
              <a:buClrTx/>
              <a:buSzTx/>
              <a:buFont typeface="Arial"/>
              <a:buNone/>
              <a:tabLst/>
              <a:defRPr/>
            </a:pPr>
            <a:endPar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cs typeface="Arial" charset="0"/>
            </a:endParaRPr>
          </a:p>
          <a:p>
            <a:pPr marL="228543" marR="0" lvl="0" indent="-121893" algn="l" defTabSz="380905" rtl="0" eaLnBrk="1" fontAlgn="auto" latinLnBrk="0" hangingPunct="1">
              <a:lnSpc>
                <a:spcPct val="100000"/>
              </a:lnSpc>
              <a:spcBef>
                <a:spcPts val="500"/>
              </a:spcBef>
              <a:spcAft>
                <a:spcPts val="0"/>
              </a:spcAft>
              <a:buClrTx/>
              <a:buSzTx/>
              <a:buFont typeface="Arial" panose="020B0604020202020204" pitchFamily="34" charset="0"/>
              <a:buChar char="•"/>
              <a:tabLst/>
              <a:defRPr/>
            </a:pPr>
            <a:endPar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cs typeface="Arial" charset="0"/>
            </a:endParaRPr>
          </a:p>
          <a:p>
            <a:pPr marL="228543" marR="0" lvl="0" indent="-121893" algn="l" defTabSz="380905" rtl="0" eaLnBrk="1" fontAlgn="auto" latinLnBrk="0" hangingPunct="1">
              <a:lnSpc>
                <a:spcPct val="100000"/>
              </a:lnSpc>
              <a:spcBef>
                <a:spcPts val="500"/>
              </a:spcBef>
              <a:spcAft>
                <a:spcPts val="0"/>
              </a:spcAft>
              <a:buClrTx/>
              <a:buSzTx/>
              <a:buFont typeface="Arial" panose="020B0604020202020204" pitchFamily="34" charset="0"/>
              <a:buChar char="•"/>
              <a:tabLst/>
              <a:defRPr/>
            </a:pPr>
            <a:endPar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cs typeface="Arial" charset="0"/>
            </a:endParaRPr>
          </a:p>
        </p:txBody>
      </p:sp>
      <p:sp>
        <p:nvSpPr>
          <p:cNvPr id="30" name="TextBox 29">
            <a:extLst>
              <a:ext uri="{FF2B5EF4-FFF2-40B4-BE49-F238E27FC236}">
                <a16:creationId xmlns:a16="http://schemas.microsoft.com/office/drawing/2014/main" id="{EDADD12D-CD95-825A-7AA1-9AFB77DD413F}"/>
              </a:ext>
            </a:extLst>
          </p:cNvPr>
          <p:cNvSpPr txBox="1"/>
          <p:nvPr/>
        </p:nvSpPr>
        <p:spPr>
          <a:xfrm>
            <a:off x="3173437" y="4278844"/>
            <a:ext cx="1659069" cy="1182055"/>
          </a:xfrm>
          <a:prstGeom prst="rect">
            <a:avLst/>
          </a:prstGeom>
          <a:noFill/>
        </p:spPr>
        <p:txBody>
          <a:bodyPr wrap="square">
            <a:spAutoFit/>
          </a:bodyPr>
          <a:lstStyle/>
          <a:p>
            <a:pPr marL="228543" marR="0" lvl="0" indent="-121893" algn="l" defTabSz="914171"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charset="0"/>
              </a:rPr>
              <a:t>Search Colleagues / Direct Reports</a:t>
            </a:r>
          </a:p>
          <a:p>
            <a:pPr marL="228543" marR="0" lvl="0" indent="-121893" algn="l" defTabSz="914171"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Create / View Supervisory Org</a:t>
            </a:r>
          </a:p>
        </p:txBody>
      </p:sp>
      <p:sp>
        <p:nvSpPr>
          <p:cNvPr id="34" name="TextBox 33">
            <a:extLst>
              <a:ext uri="{FF2B5EF4-FFF2-40B4-BE49-F238E27FC236}">
                <a16:creationId xmlns:a16="http://schemas.microsoft.com/office/drawing/2014/main" id="{9AAE58E5-02C0-A6B3-8E21-B7A6E44C5CD6}"/>
              </a:ext>
            </a:extLst>
          </p:cNvPr>
          <p:cNvSpPr txBox="1"/>
          <p:nvPr/>
        </p:nvSpPr>
        <p:spPr>
          <a:xfrm>
            <a:off x="6080231" y="4290645"/>
            <a:ext cx="1500088" cy="2233432"/>
          </a:xfrm>
          <a:prstGeom prst="rect">
            <a:avLst/>
          </a:prstGeom>
          <a:noFill/>
        </p:spPr>
        <p:txBody>
          <a:bodyPr wrap="square">
            <a:spAutoFit/>
          </a:bodyPr>
          <a:lstStyle/>
          <a:p>
            <a:pPr marL="228543" marR="0" lvl="0" indent="-121893" algn="l" defTabSz="914171"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Show Learning Hours</a:t>
            </a:r>
          </a:p>
          <a:p>
            <a:pPr marL="228543" marR="0" lvl="0" indent="-121893" algn="l" defTabSz="914171"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View Badge D</a:t>
            </a:r>
            <a:r>
              <a:rPr kumimoji="0" lang="en-US" sz="1333"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etails</a:t>
            </a:r>
            <a:endPar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a:p>
            <a:pPr marL="228543" marR="0" lvl="0" indent="-121893" algn="l" defTabSz="914171"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Search Learning A</a:t>
            </a:r>
            <a:r>
              <a:rPr kumimoji="0" lang="en-US" sz="1333"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ctivities</a:t>
            </a:r>
            <a:endPar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a:p>
            <a:pPr marL="228543" marR="0" lvl="0" indent="-121893" algn="l" defTabSz="914171"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Recommended Learning A</a:t>
            </a:r>
            <a:r>
              <a:rPr kumimoji="0" lang="en-US" sz="1000"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ctivities</a:t>
            </a:r>
            <a:endParaRPr kumimoji="0" lang="en-US" sz="10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
        <p:nvSpPr>
          <p:cNvPr id="36" name="TextBox 35">
            <a:extLst>
              <a:ext uri="{FF2B5EF4-FFF2-40B4-BE49-F238E27FC236}">
                <a16:creationId xmlns:a16="http://schemas.microsoft.com/office/drawing/2014/main" id="{57C4F5AC-886E-89A6-F90B-F702026E83F8}"/>
              </a:ext>
            </a:extLst>
          </p:cNvPr>
          <p:cNvSpPr txBox="1"/>
          <p:nvPr/>
        </p:nvSpPr>
        <p:spPr>
          <a:xfrm>
            <a:off x="7534788" y="4278156"/>
            <a:ext cx="1542295" cy="1387175"/>
          </a:xfrm>
          <a:prstGeom prst="rect">
            <a:avLst/>
          </a:prstGeom>
          <a:noFill/>
        </p:spPr>
        <p:txBody>
          <a:bodyPr wrap="square">
            <a:spAutoFit/>
          </a:bodyPr>
          <a:lstStyle/>
          <a:p>
            <a:pPr marL="228543" marR="0" lvl="0" indent="-121893" algn="l" defTabSz="914171"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Get historical performance </a:t>
            </a:r>
            <a:br>
              <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r>
              <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data</a:t>
            </a:r>
          </a:p>
          <a:p>
            <a:pPr marL="228543" marR="0" lvl="0" indent="-121893" algn="l" defTabSz="914171"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Get my earned personal awards</a:t>
            </a:r>
          </a:p>
        </p:txBody>
      </p:sp>
      <p:sp>
        <p:nvSpPr>
          <p:cNvPr id="40" name="TextBox 39">
            <a:extLst>
              <a:ext uri="{FF2B5EF4-FFF2-40B4-BE49-F238E27FC236}">
                <a16:creationId xmlns:a16="http://schemas.microsoft.com/office/drawing/2014/main" id="{BC5D85CC-F610-0646-CE35-0A3395C9BB45}"/>
              </a:ext>
            </a:extLst>
          </p:cNvPr>
          <p:cNvSpPr txBox="1"/>
          <p:nvPr/>
        </p:nvSpPr>
        <p:spPr>
          <a:xfrm>
            <a:off x="8999019" y="4325962"/>
            <a:ext cx="1567345" cy="2064476"/>
          </a:xfrm>
          <a:prstGeom prst="rect">
            <a:avLst/>
          </a:prstGeom>
          <a:noFill/>
        </p:spPr>
        <p:txBody>
          <a:bodyPr wrap="square">
            <a:spAutoFit/>
          </a:bodyPr>
          <a:lstStyle/>
          <a:p>
            <a:pPr marL="228543" marR="0" lvl="0" indent="-121893" algn="l" defTabSz="914171"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View performance ratings</a:t>
            </a:r>
          </a:p>
          <a:p>
            <a:pPr marL="228543" marR="0" lvl="0" indent="-121893" algn="l" defTabSz="914171"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Instant messenger notification: mid-year  performance manager action required</a:t>
            </a:r>
          </a:p>
        </p:txBody>
      </p:sp>
      <p:sp>
        <p:nvSpPr>
          <p:cNvPr id="41" name="Text Placeholder 8">
            <a:extLst>
              <a:ext uri="{FF2B5EF4-FFF2-40B4-BE49-F238E27FC236}">
                <a16:creationId xmlns:a16="http://schemas.microsoft.com/office/drawing/2014/main" id="{80A01C4F-C779-B814-8421-45AD0588BB10}"/>
              </a:ext>
            </a:extLst>
          </p:cNvPr>
          <p:cNvSpPr txBox="1">
            <a:spLocks/>
          </p:cNvSpPr>
          <p:nvPr/>
        </p:nvSpPr>
        <p:spPr>
          <a:xfrm>
            <a:off x="80984" y="919566"/>
            <a:ext cx="4131043" cy="848382"/>
          </a:xfrm>
          <a:prstGeom prst="rect">
            <a:avLst/>
          </a:prstGeom>
          <a:noFill/>
          <a:ln w="3175">
            <a:noFill/>
          </a:ln>
        </p:spPr>
        <p:txBody>
          <a:bodyPr lIns="380950" tIns="304760" rIns="76190" anchor="t"/>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380905" rtl="0" eaLnBrk="1" fontAlgn="auto" latinLnBrk="0" hangingPunct="1">
              <a:lnSpc>
                <a:spcPct val="105000"/>
              </a:lnSpc>
              <a:spcBef>
                <a:spcPts val="500"/>
              </a:spcBef>
              <a:spcAft>
                <a:spcPts val="0"/>
              </a:spcAft>
              <a:buClrTx/>
              <a:buSzTx/>
              <a:buFont typeface="Arial"/>
              <a:buNone/>
              <a:tabLst/>
              <a:defRPr/>
            </a:pPr>
            <a:r>
              <a:rPr kumimoji="0" lang="en-US" sz="1867" b="1" i="0" u="none" strike="noStrike" kern="1200" cap="none" spc="0" normalizeH="0" baseline="0" noProof="0" dirty="0">
                <a:ln>
                  <a:noFill/>
                </a:ln>
                <a:solidFill>
                  <a:srgbClr val="000000"/>
                </a:solidFill>
                <a:effectLst/>
                <a:uLnTx/>
                <a:uFillTx/>
                <a:latin typeface="IBM Plex Sans" panose="020B0503050203000203" pitchFamily="34" charset="0"/>
                <a:cs typeface="Arial" charset="0"/>
              </a:rPr>
              <a:t>Moments That Matter:</a:t>
            </a:r>
            <a:endParaRPr kumimoji="0" lang="en-US" sz="3732" b="0" i="0" u="none" strike="noStrike" kern="1200" cap="none" spc="0" normalizeH="0" baseline="0" noProof="0" dirty="0">
              <a:ln>
                <a:noFill/>
              </a:ln>
              <a:solidFill>
                <a:srgbClr val="000000"/>
              </a:solidFill>
              <a:effectLst/>
              <a:uLnTx/>
              <a:uFillTx/>
              <a:latin typeface="IBM Plex Sans" panose="020B0503050203000203" pitchFamily="34" charset="0"/>
              <a:cs typeface="Arial" charset="0"/>
            </a:endParaRPr>
          </a:p>
        </p:txBody>
      </p:sp>
      <p:sp>
        <p:nvSpPr>
          <p:cNvPr id="43" name="TextBox 42">
            <a:extLst>
              <a:ext uri="{FF2B5EF4-FFF2-40B4-BE49-F238E27FC236}">
                <a16:creationId xmlns:a16="http://schemas.microsoft.com/office/drawing/2014/main" id="{03DE30E1-3EA3-03CA-43CE-E2EC8FBBAE5E}"/>
              </a:ext>
            </a:extLst>
          </p:cNvPr>
          <p:cNvSpPr txBox="1"/>
          <p:nvPr/>
        </p:nvSpPr>
        <p:spPr>
          <a:xfrm>
            <a:off x="10436044" y="4291475"/>
            <a:ext cx="1660836" cy="1925655"/>
          </a:xfrm>
          <a:prstGeom prst="rect">
            <a:avLst/>
          </a:prstGeom>
          <a:noFill/>
        </p:spPr>
        <p:txBody>
          <a:bodyPr wrap="square">
            <a:spAutoFit/>
          </a:bodyPr>
          <a:lstStyle/>
          <a:p>
            <a:pPr marL="228543" marR="0" lvl="0" indent="-121893" algn="l" defTabSz="914171"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Assign Manager Flag</a:t>
            </a:r>
          </a:p>
          <a:p>
            <a:pPr marL="228543" marR="0" lvl="0" indent="-121893" algn="l" defTabSz="914171"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Initiate Colleague Transfer</a:t>
            </a:r>
          </a:p>
          <a:p>
            <a:pPr marL="228543" marR="0" lvl="0" indent="-121893" algn="l" defTabSz="914171"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Initiate Cost Center Change</a:t>
            </a:r>
          </a:p>
          <a:p>
            <a:pPr marL="0" marR="0" lvl="0" indent="-121893" algn="l" defTabSz="914171" rtl="0" eaLnBrk="1" fontAlgn="auto" latinLnBrk="0" hangingPunct="1">
              <a:lnSpc>
                <a:spcPct val="100000"/>
              </a:lnSpc>
              <a:spcBef>
                <a:spcPts val="500"/>
              </a:spcBef>
              <a:spcAft>
                <a:spcPts val="0"/>
              </a:spcAft>
              <a:buClrTx/>
              <a:buSzTx/>
              <a:buFontTx/>
              <a:buNone/>
              <a:tabLst/>
              <a:defRPr/>
            </a:pPr>
            <a:endParaRPr kumimoji="0" lang="en-US" sz="1333"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cxnSp>
        <p:nvCxnSpPr>
          <p:cNvPr id="58" name="Straight Arrow Connector 57">
            <a:extLst>
              <a:ext uri="{FF2B5EF4-FFF2-40B4-BE49-F238E27FC236}">
                <a16:creationId xmlns:a16="http://schemas.microsoft.com/office/drawing/2014/main" id="{D1E8A4B9-B2CB-B626-2150-244ACF2CA9C5}"/>
              </a:ext>
            </a:extLst>
          </p:cNvPr>
          <p:cNvCxnSpPr>
            <a:cxnSpLocks/>
          </p:cNvCxnSpPr>
          <p:nvPr/>
        </p:nvCxnSpPr>
        <p:spPr bwMode="auto">
          <a:xfrm>
            <a:off x="1158798" y="2882412"/>
            <a:ext cx="0" cy="1289084"/>
          </a:xfrm>
          <a:prstGeom prst="straightConnector1">
            <a:avLst/>
          </a:prstGeom>
          <a:ln>
            <a:solidFill>
              <a:schemeClr val="tx1"/>
            </a:solidFill>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17" name="Straight Arrow Connector 116">
            <a:extLst>
              <a:ext uri="{FF2B5EF4-FFF2-40B4-BE49-F238E27FC236}">
                <a16:creationId xmlns:a16="http://schemas.microsoft.com/office/drawing/2014/main" id="{F640FD3B-8496-D470-CB2A-8E53E96962D9}"/>
              </a:ext>
            </a:extLst>
          </p:cNvPr>
          <p:cNvCxnSpPr>
            <a:cxnSpLocks/>
          </p:cNvCxnSpPr>
          <p:nvPr/>
        </p:nvCxnSpPr>
        <p:spPr bwMode="auto">
          <a:xfrm>
            <a:off x="4025227" y="2872524"/>
            <a:ext cx="0" cy="1289084"/>
          </a:xfrm>
          <a:prstGeom prst="straightConnector1">
            <a:avLst/>
          </a:prstGeom>
          <a:ln>
            <a:solidFill>
              <a:schemeClr val="tx1"/>
            </a:solidFill>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18" name="Straight Arrow Connector 117">
            <a:extLst>
              <a:ext uri="{FF2B5EF4-FFF2-40B4-BE49-F238E27FC236}">
                <a16:creationId xmlns:a16="http://schemas.microsoft.com/office/drawing/2014/main" id="{89FB3E07-3F4F-B201-68C2-502F6C881CD7}"/>
              </a:ext>
            </a:extLst>
          </p:cNvPr>
          <p:cNvCxnSpPr>
            <a:cxnSpLocks/>
          </p:cNvCxnSpPr>
          <p:nvPr/>
        </p:nvCxnSpPr>
        <p:spPr bwMode="auto">
          <a:xfrm>
            <a:off x="5423540" y="2871836"/>
            <a:ext cx="0" cy="1289084"/>
          </a:xfrm>
          <a:prstGeom prst="straightConnector1">
            <a:avLst/>
          </a:prstGeom>
          <a:ln>
            <a:solidFill>
              <a:schemeClr val="tx1"/>
            </a:solidFill>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19" name="Straight Arrow Connector 118">
            <a:extLst>
              <a:ext uri="{FF2B5EF4-FFF2-40B4-BE49-F238E27FC236}">
                <a16:creationId xmlns:a16="http://schemas.microsoft.com/office/drawing/2014/main" id="{D07A11DA-8331-0A3F-3A6F-1F153B2D5BB4}"/>
              </a:ext>
            </a:extLst>
          </p:cNvPr>
          <p:cNvCxnSpPr>
            <a:cxnSpLocks/>
          </p:cNvCxnSpPr>
          <p:nvPr/>
        </p:nvCxnSpPr>
        <p:spPr bwMode="auto">
          <a:xfrm>
            <a:off x="2534449" y="2868823"/>
            <a:ext cx="0" cy="1289084"/>
          </a:xfrm>
          <a:prstGeom prst="straightConnector1">
            <a:avLst/>
          </a:prstGeom>
          <a:ln>
            <a:solidFill>
              <a:schemeClr val="tx1"/>
            </a:solidFill>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20" name="Straight Arrow Connector 119">
            <a:extLst>
              <a:ext uri="{FF2B5EF4-FFF2-40B4-BE49-F238E27FC236}">
                <a16:creationId xmlns:a16="http://schemas.microsoft.com/office/drawing/2014/main" id="{EB678206-8C8E-4BCE-9B9A-62FA7CBB2485}"/>
              </a:ext>
            </a:extLst>
          </p:cNvPr>
          <p:cNvCxnSpPr>
            <a:cxnSpLocks/>
          </p:cNvCxnSpPr>
          <p:nvPr/>
        </p:nvCxnSpPr>
        <p:spPr bwMode="auto">
          <a:xfrm>
            <a:off x="11213727" y="2882412"/>
            <a:ext cx="0" cy="1289084"/>
          </a:xfrm>
          <a:prstGeom prst="straightConnector1">
            <a:avLst/>
          </a:prstGeom>
          <a:ln>
            <a:solidFill>
              <a:schemeClr val="tx1"/>
            </a:solidFill>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21" name="Straight Arrow Connector 120">
            <a:extLst>
              <a:ext uri="{FF2B5EF4-FFF2-40B4-BE49-F238E27FC236}">
                <a16:creationId xmlns:a16="http://schemas.microsoft.com/office/drawing/2014/main" id="{A08B6343-D84F-BBD8-84D2-5F475E221385}"/>
              </a:ext>
            </a:extLst>
          </p:cNvPr>
          <p:cNvCxnSpPr>
            <a:cxnSpLocks/>
          </p:cNvCxnSpPr>
          <p:nvPr/>
        </p:nvCxnSpPr>
        <p:spPr bwMode="auto">
          <a:xfrm>
            <a:off x="6883572" y="2869772"/>
            <a:ext cx="0" cy="1289084"/>
          </a:xfrm>
          <a:prstGeom prst="straightConnector1">
            <a:avLst/>
          </a:prstGeom>
          <a:ln>
            <a:solidFill>
              <a:schemeClr val="tx1"/>
            </a:solidFill>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22" name="Straight Arrow Connector 121">
            <a:extLst>
              <a:ext uri="{FF2B5EF4-FFF2-40B4-BE49-F238E27FC236}">
                <a16:creationId xmlns:a16="http://schemas.microsoft.com/office/drawing/2014/main" id="{6859D7A2-81FD-6CBD-8A8E-5A4318A92DAF}"/>
              </a:ext>
            </a:extLst>
          </p:cNvPr>
          <p:cNvCxnSpPr>
            <a:cxnSpLocks/>
          </p:cNvCxnSpPr>
          <p:nvPr/>
        </p:nvCxnSpPr>
        <p:spPr bwMode="auto">
          <a:xfrm>
            <a:off x="8305787" y="2869084"/>
            <a:ext cx="0" cy="1289084"/>
          </a:xfrm>
          <a:prstGeom prst="straightConnector1">
            <a:avLst/>
          </a:prstGeom>
          <a:ln>
            <a:solidFill>
              <a:schemeClr val="tx1"/>
            </a:solidFill>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23" name="Straight Arrow Connector 122">
            <a:extLst>
              <a:ext uri="{FF2B5EF4-FFF2-40B4-BE49-F238E27FC236}">
                <a16:creationId xmlns:a16="http://schemas.microsoft.com/office/drawing/2014/main" id="{5AA5C04A-1869-0EFC-38C8-9694E17A140E}"/>
              </a:ext>
            </a:extLst>
          </p:cNvPr>
          <p:cNvCxnSpPr>
            <a:cxnSpLocks/>
          </p:cNvCxnSpPr>
          <p:nvPr/>
        </p:nvCxnSpPr>
        <p:spPr bwMode="auto">
          <a:xfrm>
            <a:off x="9770643" y="2872524"/>
            <a:ext cx="0" cy="1289084"/>
          </a:xfrm>
          <a:prstGeom prst="straightConnector1">
            <a:avLst/>
          </a:prstGeom>
          <a:ln>
            <a:solidFill>
              <a:schemeClr val="tx1"/>
            </a:solidFill>
            <a:headEnd type="none" w="med" len="med"/>
            <a:tailEnd type="triangle"/>
          </a:ln>
        </p:spPr>
        <p:style>
          <a:lnRef idx="1">
            <a:schemeClr val="accent2"/>
          </a:lnRef>
          <a:fillRef idx="0">
            <a:schemeClr val="accent2"/>
          </a:fillRef>
          <a:effectRef idx="0">
            <a:schemeClr val="accent2"/>
          </a:effectRef>
          <a:fontRef idx="minor">
            <a:schemeClr val="tx1"/>
          </a:fontRef>
        </p:style>
      </p:cxnSp>
      <p:sp>
        <p:nvSpPr>
          <p:cNvPr id="84" name="TextBox 83">
            <a:extLst>
              <a:ext uri="{FF2B5EF4-FFF2-40B4-BE49-F238E27FC236}">
                <a16:creationId xmlns:a16="http://schemas.microsoft.com/office/drawing/2014/main" id="{7C78EC50-C32E-3A4A-F09E-7AE3894CD5FF}"/>
              </a:ext>
            </a:extLst>
          </p:cNvPr>
          <p:cNvSpPr txBox="1"/>
          <p:nvPr/>
        </p:nvSpPr>
        <p:spPr>
          <a:xfrm>
            <a:off x="379989" y="3516330"/>
            <a:ext cx="3947446" cy="379399"/>
          </a:xfrm>
          <a:prstGeom prst="rect">
            <a:avLst/>
          </a:prstGeom>
          <a:solidFill>
            <a:schemeClr val="bg1"/>
          </a:solidFill>
        </p:spPr>
        <p:txBody>
          <a:bodyPr wrap="square" rtlCol="0">
            <a:spAutoFit/>
          </a:bodyPr>
          <a:lstStyle/>
          <a:p>
            <a:pPr marL="0" marR="0" lvl="0" indent="0" algn="l" defTabSz="380905" rtl="0" eaLnBrk="1" fontAlgn="auto" latinLnBrk="0" hangingPunct="1">
              <a:lnSpc>
                <a:spcPct val="105000"/>
              </a:lnSpc>
              <a:spcBef>
                <a:spcPts val="500"/>
              </a:spcBef>
              <a:spcAft>
                <a:spcPts val="0"/>
              </a:spcAft>
              <a:buClrTx/>
              <a:buSzTx/>
              <a:buFontTx/>
              <a:buNone/>
              <a:tabLst/>
              <a:defRPr/>
            </a:pPr>
            <a:r>
              <a:rPr kumimoji="0" lang="en-US" sz="1867"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charset="0"/>
              </a:rPr>
              <a:t>AskHR Implemented Use Cases:</a:t>
            </a:r>
            <a:endParaRPr kumimoji="0" lang="en-US" sz="4266"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charset="0"/>
            </a:endParaRPr>
          </a:p>
        </p:txBody>
      </p:sp>
      <p:sp>
        <p:nvSpPr>
          <p:cNvPr id="8" name="Rectangle 7">
            <a:extLst>
              <a:ext uri="{FF2B5EF4-FFF2-40B4-BE49-F238E27FC236}">
                <a16:creationId xmlns:a16="http://schemas.microsoft.com/office/drawing/2014/main" id="{B2D956E4-4CA3-FA62-F733-F8018277CB71}"/>
              </a:ext>
            </a:extLst>
          </p:cNvPr>
          <p:cNvSpPr/>
          <p:nvPr/>
        </p:nvSpPr>
        <p:spPr bwMode="auto">
          <a:xfrm>
            <a:off x="3325250" y="2143238"/>
            <a:ext cx="1370583" cy="943725"/>
          </a:xfrm>
          <a:prstGeom prst="rect">
            <a:avLst/>
          </a:prstGeom>
          <a:solidFill>
            <a:srgbClr val="F2F2F4"/>
          </a:solidFill>
          <a:ln w="19050">
            <a:no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47994" tIns="47994" rIns="47994" bIns="47994" numCol="1" rtlCol="0" anchor="t" anchorCtr="0" compatLnSpc="1">
            <a:prstTxWarp prst="textNoShape">
              <a:avLst/>
            </a:prstTxWarp>
          </a:bodyPr>
          <a:lstStyle/>
          <a:p>
            <a:pPr marL="0" marR="0" lvl="0" indent="0" algn="l" defTabSz="914438"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9" name="Rectangle 8">
            <a:extLst>
              <a:ext uri="{FF2B5EF4-FFF2-40B4-BE49-F238E27FC236}">
                <a16:creationId xmlns:a16="http://schemas.microsoft.com/office/drawing/2014/main" id="{617B987E-98DB-EBAD-01C3-194893C160C7}"/>
              </a:ext>
            </a:extLst>
          </p:cNvPr>
          <p:cNvSpPr/>
          <p:nvPr/>
        </p:nvSpPr>
        <p:spPr bwMode="auto">
          <a:xfrm>
            <a:off x="4749165" y="2143238"/>
            <a:ext cx="1370583" cy="943725"/>
          </a:xfrm>
          <a:prstGeom prst="rect">
            <a:avLst/>
          </a:prstGeom>
          <a:solidFill>
            <a:srgbClr val="F2F2F4"/>
          </a:solidFill>
          <a:ln w="19050">
            <a:no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47994" tIns="47994" rIns="47994" bIns="47994" numCol="1" rtlCol="0" anchor="t" anchorCtr="0" compatLnSpc="1">
            <a:prstTxWarp prst="textNoShape">
              <a:avLst/>
            </a:prstTxWarp>
          </a:bodyPr>
          <a:lstStyle/>
          <a:p>
            <a:pPr marL="0" marR="0" lvl="0" indent="0" algn="l" defTabSz="914438"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10" name="Rectangle 9">
            <a:extLst>
              <a:ext uri="{FF2B5EF4-FFF2-40B4-BE49-F238E27FC236}">
                <a16:creationId xmlns:a16="http://schemas.microsoft.com/office/drawing/2014/main" id="{E98E9124-FF47-1594-8C9D-26902CFFAFDE}"/>
              </a:ext>
            </a:extLst>
          </p:cNvPr>
          <p:cNvSpPr/>
          <p:nvPr/>
        </p:nvSpPr>
        <p:spPr bwMode="auto">
          <a:xfrm>
            <a:off x="1869183" y="2140913"/>
            <a:ext cx="1370583" cy="943725"/>
          </a:xfrm>
          <a:prstGeom prst="rect">
            <a:avLst/>
          </a:prstGeom>
          <a:solidFill>
            <a:srgbClr val="F2F2F4"/>
          </a:solidFill>
          <a:ln w="19050">
            <a:no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47994" tIns="47994" rIns="47994" bIns="47994" numCol="1" rtlCol="0" anchor="t" anchorCtr="0" compatLnSpc="1">
            <a:prstTxWarp prst="textNoShape">
              <a:avLst/>
            </a:prstTxWarp>
          </a:bodyPr>
          <a:lstStyle/>
          <a:p>
            <a:pPr marL="0" marR="0" lvl="0" indent="0" algn="l" defTabSz="914438"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11" name="Rectangle 10">
            <a:extLst>
              <a:ext uri="{FF2B5EF4-FFF2-40B4-BE49-F238E27FC236}">
                <a16:creationId xmlns:a16="http://schemas.microsoft.com/office/drawing/2014/main" id="{D32FDF0F-1652-ECEA-3CD3-84B6BF33AF0F}"/>
              </a:ext>
            </a:extLst>
          </p:cNvPr>
          <p:cNvSpPr/>
          <p:nvPr/>
        </p:nvSpPr>
        <p:spPr bwMode="auto">
          <a:xfrm>
            <a:off x="10546266" y="2155190"/>
            <a:ext cx="1370583" cy="943725"/>
          </a:xfrm>
          <a:prstGeom prst="rect">
            <a:avLst/>
          </a:prstGeom>
          <a:solidFill>
            <a:srgbClr val="F2F2F4"/>
          </a:solidFill>
          <a:ln w="19050">
            <a:no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47994" tIns="47994" rIns="47994" bIns="47994" numCol="1" rtlCol="0" anchor="t" anchorCtr="0" compatLnSpc="1">
            <a:prstTxWarp prst="textNoShape">
              <a:avLst/>
            </a:prstTxWarp>
          </a:bodyPr>
          <a:lstStyle/>
          <a:p>
            <a:pPr marL="0" marR="0" lvl="0" indent="0" algn="l" defTabSz="914438"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12" name="Rectangle 11">
            <a:extLst>
              <a:ext uri="{FF2B5EF4-FFF2-40B4-BE49-F238E27FC236}">
                <a16:creationId xmlns:a16="http://schemas.microsoft.com/office/drawing/2014/main" id="{B39560BE-37EE-AE1B-1DE1-A84D2E14054C}"/>
              </a:ext>
            </a:extLst>
          </p:cNvPr>
          <p:cNvSpPr/>
          <p:nvPr/>
        </p:nvSpPr>
        <p:spPr bwMode="auto">
          <a:xfrm>
            <a:off x="6191656" y="2143238"/>
            <a:ext cx="1351425" cy="943725"/>
          </a:xfrm>
          <a:prstGeom prst="rect">
            <a:avLst/>
          </a:prstGeom>
          <a:solidFill>
            <a:srgbClr val="F2F2F4"/>
          </a:solidFill>
          <a:ln w="19050">
            <a:no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47994" tIns="47994" rIns="47994" bIns="47994" numCol="1" rtlCol="0" anchor="t" anchorCtr="0" compatLnSpc="1">
            <a:prstTxWarp prst="textNoShape">
              <a:avLst/>
            </a:prstTxWarp>
          </a:bodyPr>
          <a:lstStyle/>
          <a:p>
            <a:pPr marL="0" marR="0" lvl="0" indent="0" algn="l" defTabSz="914438"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14" name="Rectangle 13">
            <a:extLst>
              <a:ext uri="{FF2B5EF4-FFF2-40B4-BE49-F238E27FC236}">
                <a16:creationId xmlns:a16="http://schemas.microsoft.com/office/drawing/2014/main" id="{2C56CD45-36EB-9600-A45A-C171FA5315F1}"/>
              </a:ext>
            </a:extLst>
          </p:cNvPr>
          <p:cNvSpPr/>
          <p:nvPr/>
        </p:nvSpPr>
        <p:spPr bwMode="auto">
          <a:xfrm>
            <a:off x="7659627" y="2143238"/>
            <a:ext cx="1370583" cy="943725"/>
          </a:xfrm>
          <a:prstGeom prst="rect">
            <a:avLst/>
          </a:prstGeom>
          <a:solidFill>
            <a:srgbClr val="F2F2F4"/>
          </a:solidFill>
          <a:ln w="19050">
            <a:no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47994" tIns="47994" rIns="47994" bIns="47994" numCol="1" rtlCol="0" anchor="t" anchorCtr="0" compatLnSpc="1">
            <a:prstTxWarp prst="textNoShape">
              <a:avLst/>
            </a:prstTxWarp>
          </a:bodyPr>
          <a:lstStyle/>
          <a:p>
            <a:pPr marL="0" marR="0" lvl="0" indent="0" algn="l" defTabSz="914438"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7" name="Rectangle 6">
            <a:extLst>
              <a:ext uri="{FF2B5EF4-FFF2-40B4-BE49-F238E27FC236}">
                <a16:creationId xmlns:a16="http://schemas.microsoft.com/office/drawing/2014/main" id="{F8A74E3C-8DE8-7DC5-04E8-03E07FACE119}"/>
              </a:ext>
            </a:extLst>
          </p:cNvPr>
          <p:cNvSpPr/>
          <p:nvPr/>
        </p:nvSpPr>
        <p:spPr bwMode="auto">
          <a:xfrm>
            <a:off x="470578" y="2143238"/>
            <a:ext cx="1370583" cy="943725"/>
          </a:xfrm>
          <a:prstGeom prst="rect">
            <a:avLst/>
          </a:prstGeom>
          <a:solidFill>
            <a:srgbClr val="F2F2F4"/>
          </a:solidFill>
          <a:ln w="19050">
            <a:no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47994" tIns="47994" rIns="47994" bIns="47994" numCol="1" rtlCol="0" anchor="t" anchorCtr="0" compatLnSpc="1">
            <a:prstTxWarp prst="textNoShape">
              <a:avLst/>
            </a:prstTxWarp>
          </a:bodyPr>
          <a:lstStyle/>
          <a:p>
            <a:pPr marL="0" marR="0" lvl="0" indent="0" algn="l" defTabSz="914438"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86" name="TextBox 85">
            <a:extLst>
              <a:ext uri="{FF2B5EF4-FFF2-40B4-BE49-F238E27FC236}">
                <a16:creationId xmlns:a16="http://schemas.microsoft.com/office/drawing/2014/main" id="{85AA6326-0774-E65B-97BD-5B3F4BDE6C8F}"/>
              </a:ext>
            </a:extLst>
          </p:cNvPr>
          <p:cNvSpPr txBox="1"/>
          <p:nvPr/>
        </p:nvSpPr>
        <p:spPr>
          <a:xfrm>
            <a:off x="353418" y="2251493"/>
            <a:ext cx="1634788" cy="461665"/>
          </a:xfrm>
          <a:prstGeom prst="rect">
            <a:avLst/>
          </a:prstGeom>
          <a:noFill/>
        </p:spPr>
        <p:txBody>
          <a:bodyPr wrap="square" rtlCol="0">
            <a:spAutoFit/>
          </a:bodyPr>
          <a:lstStyle/>
          <a:p>
            <a:pPr marL="0" marR="0" lvl="0" indent="0" algn="ctr" defTabSz="91419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Light"/>
                <a:ea typeface="+mn-ea"/>
                <a:cs typeface="+mn-cs"/>
              </a:rPr>
              <a:t>Utilizing Workplace Benefits</a:t>
            </a:r>
          </a:p>
        </p:txBody>
      </p:sp>
      <p:sp>
        <p:nvSpPr>
          <p:cNvPr id="87" name="TextBox 86">
            <a:extLst>
              <a:ext uri="{FF2B5EF4-FFF2-40B4-BE49-F238E27FC236}">
                <a16:creationId xmlns:a16="http://schemas.microsoft.com/office/drawing/2014/main" id="{FD841673-8E0F-EA6B-0630-1A545DE89182}"/>
              </a:ext>
            </a:extLst>
          </p:cNvPr>
          <p:cNvSpPr txBox="1"/>
          <p:nvPr/>
        </p:nvSpPr>
        <p:spPr>
          <a:xfrm>
            <a:off x="4661979" y="2263049"/>
            <a:ext cx="1528883" cy="646331"/>
          </a:xfrm>
          <a:prstGeom prst="rect">
            <a:avLst/>
          </a:prstGeom>
          <a:noFill/>
        </p:spPr>
        <p:txBody>
          <a:bodyPr wrap="square" rtlCol="0">
            <a:spAutoFit/>
          </a:bodyPr>
          <a:lstStyle/>
          <a:p>
            <a:pPr marL="0" marR="0" lvl="0" indent="0" algn="ctr" defTabSz="91419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Light"/>
                <a:ea typeface="+mn-ea"/>
                <a:cs typeface="+mn-cs"/>
              </a:rPr>
              <a:t>Booking Travel and Submitting Expenses</a:t>
            </a:r>
          </a:p>
        </p:txBody>
      </p:sp>
      <p:sp>
        <p:nvSpPr>
          <p:cNvPr id="95" name="TextBox 94">
            <a:extLst>
              <a:ext uri="{FF2B5EF4-FFF2-40B4-BE49-F238E27FC236}">
                <a16:creationId xmlns:a16="http://schemas.microsoft.com/office/drawing/2014/main" id="{EC99B677-26C8-B938-8A37-5E9EB590AB32}"/>
              </a:ext>
            </a:extLst>
          </p:cNvPr>
          <p:cNvSpPr txBox="1"/>
          <p:nvPr/>
        </p:nvSpPr>
        <p:spPr>
          <a:xfrm>
            <a:off x="3276736" y="2251493"/>
            <a:ext cx="1483467" cy="707694"/>
          </a:xfrm>
          <a:prstGeom prst="rect">
            <a:avLst/>
          </a:prstGeom>
          <a:noFill/>
        </p:spPr>
        <p:txBody>
          <a:bodyPr wrap="square" rtlCol="0">
            <a:spAutoFit/>
          </a:bodyPr>
          <a:lstStyle/>
          <a:p>
            <a:pPr marL="0" marR="0" lvl="0" indent="0" algn="ctr" defTabSz="914194"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IBM Plex Sans Light"/>
                <a:ea typeface="+mn-ea"/>
                <a:cs typeface="+mn-cs"/>
              </a:rPr>
              <a:t>Finding and Utilizing Tools and Information</a:t>
            </a:r>
          </a:p>
        </p:txBody>
      </p:sp>
      <p:sp>
        <p:nvSpPr>
          <p:cNvPr id="97" name="TextBox 96">
            <a:extLst>
              <a:ext uri="{FF2B5EF4-FFF2-40B4-BE49-F238E27FC236}">
                <a16:creationId xmlns:a16="http://schemas.microsoft.com/office/drawing/2014/main" id="{D0915F82-97C7-3F12-22AB-B6A709BA1ABC}"/>
              </a:ext>
            </a:extLst>
          </p:cNvPr>
          <p:cNvSpPr txBox="1"/>
          <p:nvPr/>
        </p:nvSpPr>
        <p:spPr>
          <a:xfrm>
            <a:off x="10466505" y="2263445"/>
            <a:ext cx="1508133" cy="707694"/>
          </a:xfrm>
          <a:prstGeom prst="rect">
            <a:avLst/>
          </a:prstGeom>
          <a:noFill/>
        </p:spPr>
        <p:txBody>
          <a:bodyPr wrap="square" rtlCol="0">
            <a:spAutoFit/>
          </a:bodyPr>
          <a:lstStyle/>
          <a:p>
            <a:pPr marL="0" marR="0" lvl="0" indent="0" algn="ctr" defTabSz="914194"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IBM Plex Sans Light"/>
                <a:ea typeface="+mn-ea"/>
                <a:cs typeface="+mn-cs"/>
              </a:rPr>
              <a:t>Transitioning to a new or promotional role</a:t>
            </a:r>
          </a:p>
        </p:txBody>
      </p:sp>
      <p:sp>
        <p:nvSpPr>
          <p:cNvPr id="98" name="TextBox 97">
            <a:extLst>
              <a:ext uri="{FF2B5EF4-FFF2-40B4-BE49-F238E27FC236}">
                <a16:creationId xmlns:a16="http://schemas.microsoft.com/office/drawing/2014/main" id="{130511A3-499E-C868-992E-8E02C02268CD}"/>
              </a:ext>
            </a:extLst>
          </p:cNvPr>
          <p:cNvSpPr txBox="1"/>
          <p:nvPr/>
        </p:nvSpPr>
        <p:spPr>
          <a:xfrm>
            <a:off x="7552364" y="2155878"/>
            <a:ext cx="1567856" cy="912814"/>
          </a:xfrm>
          <a:prstGeom prst="rect">
            <a:avLst/>
          </a:prstGeom>
          <a:noFill/>
        </p:spPr>
        <p:txBody>
          <a:bodyPr wrap="square" rtlCol="0">
            <a:spAutoFit/>
          </a:bodyPr>
          <a:lstStyle/>
          <a:p>
            <a:pPr marL="0" marR="0" lvl="0" indent="0" algn="ctr" defTabSz="914194"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IBM Plex Sans Light"/>
                <a:ea typeface="+mn-ea"/>
                <a:cs typeface="+mn-cs"/>
              </a:rPr>
              <a:t>Documenting Performance and Receiving Recognition</a:t>
            </a:r>
          </a:p>
        </p:txBody>
      </p:sp>
      <p:sp>
        <p:nvSpPr>
          <p:cNvPr id="99" name="TextBox 98">
            <a:extLst>
              <a:ext uri="{FF2B5EF4-FFF2-40B4-BE49-F238E27FC236}">
                <a16:creationId xmlns:a16="http://schemas.microsoft.com/office/drawing/2014/main" id="{02728A77-DBE2-660F-43A8-DF00090E865D}"/>
              </a:ext>
            </a:extLst>
          </p:cNvPr>
          <p:cNvSpPr txBox="1"/>
          <p:nvPr/>
        </p:nvSpPr>
        <p:spPr>
          <a:xfrm>
            <a:off x="6160479" y="2155879"/>
            <a:ext cx="1397601" cy="912814"/>
          </a:xfrm>
          <a:prstGeom prst="rect">
            <a:avLst/>
          </a:prstGeom>
          <a:noFill/>
        </p:spPr>
        <p:txBody>
          <a:bodyPr wrap="square" rtlCol="0">
            <a:spAutoFit/>
          </a:bodyPr>
          <a:lstStyle/>
          <a:p>
            <a:pPr marL="0" marR="0" lvl="0" indent="0" algn="ctr" defTabSz="914194"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IBM Plex Sans Light"/>
                <a:ea typeface="+mn-ea"/>
                <a:cs typeface="+mn-cs"/>
              </a:rPr>
              <a:t>Pursuing Learning and Development Opportunities</a:t>
            </a:r>
          </a:p>
        </p:txBody>
      </p:sp>
      <p:sp>
        <p:nvSpPr>
          <p:cNvPr id="3" name="TextBox 2">
            <a:extLst>
              <a:ext uri="{FF2B5EF4-FFF2-40B4-BE49-F238E27FC236}">
                <a16:creationId xmlns:a16="http://schemas.microsoft.com/office/drawing/2014/main" id="{31F50734-200F-5225-0453-BEF5116C47A8}"/>
              </a:ext>
            </a:extLst>
          </p:cNvPr>
          <p:cNvSpPr txBox="1"/>
          <p:nvPr/>
        </p:nvSpPr>
        <p:spPr>
          <a:xfrm>
            <a:off x="1758128" y="2249168"/>
            <a:ext cx="1598484" cy="707694"/>
          </a:xfrm>
          <a:prstGeom prst="rect">
            <a:avLst/>
          </a:prstGeom>
          <a:noFill/>
        </p:spPr>
        <p:txBody>
          <a:bodyPr wrap="square" rtlCol="0">
            <a:spAutoFit/>
          </a:bodyPr>
          <a:lstStyle/>
          <a:p>
            <a:pPr marL="0" marR="0" lvl="0" indent="0" algn="ctr" defTabSz="914194"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IBM Plex Sans Light"/>
                <a:ea typeface="+mn-ea"/>
                <a:cs typeface="+mn-cs"/>
              </a:rPr>
              <a:t>Obtaining workplace and servicing support</a:t>
            </a:r>
          </a:p>
        </p:txBody>
      </p:sp>
      <p:sp>
        <p:nvSpPr>
          <p:cNvPr id="37" name="Rectangle 36">
            <a:extLst>
              <a:ext uri="{FF2B5EF4-FFF2-40B4-BE49-F238E27FC236}">
                <a16:creationId xmlns:a16="http://schemas.microsoft.com/office/drawing/2014/main" id="{A57AD203-1F54-5AD9-C076-31B0E9A0DB95}"/>
              </a:ext>
            </a:extLst>
          </p:cNvPr>
          <p:cNvSpPr/>
          <p:nvPr/>
        </p:nvSpPr>
        <p:spPr bwMode="auto">
          <a:xfrm>
            <a:off x="9091152" y="2139291"/>
            <a:ext cx="1370583" cy="943725"/>
          </a:xfrm>
          <a:prstGeom prst="rect">
            <a:avLst/>
          </a:prstGeom>
          <a:solidFill>
            <a:srgbClr val="F2F2F4"/>
          </a:solidFill>
          <a:ln w="19050">
            <a:no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47994" tIns="47994" rIns="47994" bIns="47994" numCol="1" rtlCol="0" anchor="t" anchorCtr="0" compatLnSpc="1">
            <a:prstTxWarp prst="textNoShape">
              <a:avLst/>
            </a:prstTxWarp>
          </a:bodyPr>
          <a:lstStyle/>
          <a:p>
            <a:pPr marL="0" marR="0" lvl="0" indent="0" algn="l" defTabSz="914438"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38" name="TextBox 37">
            <a:extLst>
              <a:ext uri="{FF2B5EF4-FFF2-40B4-BE49-F238E27FC236}">
                <a16:creationId xmlns:a16="http://schemas.microsoft.com/office/drawing/2014/main" id="{62BBD9C3-457A-65D8-6CA6-E419EEE2D14B}"/>
              </a:ext>
            </a:extLst>
          </p:cNvPr>
          <p:cNvSpPr txBox="1"/>
          <p:nvPr/>
        </p:nvSpPr>
        <p:spPr>
          <a:xfrm>
            <a:off x="8975537" y="2247545"/>
            <a:ext cx="1508133" cy="707694"/>
          </a:xfrm>
          <a:prstGeom prst="rect">
            <a:avLst/>
          </a:prstGeom>
          <a:noFill/>
        </p:spPr>
        <p:txBody>
          <a:bodyPr wrap="square" rtlCol="0">
            <a:spAutoFit/>
          </a:bodyPr>
          <a:lstStyle/>
          <a:p>
            <a:pPr marL="0" marR="0" lvl="0" indent="0" algn="ctr" defTabSz="914194"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IBM Plex Sans Light"/>
                <a:ea typeface="+mn-ea"/>
                <a:cs typeface="+mn-cs"/>
              </a:rPr>
              <a:t>Supporting Role and Career Development</a:t>
            </a:r>
          </a:p>
        </p:txBody>
      </p:sp>
      <p:sp>
        <p:nvSpPr>
          <p:cNvPr id="124" name="Rectangle 123">
            <a:extLst>
              <a:ext uri="{FF2B5EF4-FFF2-40B4-BE49-F238E27FC236}">
                <a16:creationId xmlns:a16="http://schemas.microsoft.com/office/drawing/2014/main" id="{CA6681CD-4FBC-A2F0-417A-3E2A78E2E4F8}"/>
              </a:ext>
            </a:extLst>
          </p:cNvPr>
          <p:cNvSpPr/>
          <p:nvPr/>
        </p:nvSpPr>
        <p:spPr bwMode="auto">
          <a:xfrm>
            <a:off x="470576" y="1591432"/>
            <a:ext cx="2769187" cy="482669"/>
          </a:xfrm>
          <a:prstGeom prst="rect">
            <a:avLst/>
          </a:prstGeom>
          <a:solidFill>
            <a:srgbClr val="002989"/>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7994" tIns="47994" rIns="47994" bIns="47994" numCol="1" rtlCol="0" anchor="ctr" anchorCtr="0" compatLnSpc="1">
            <a:prstTxWarp prst="textNoShape">
              <a:avLst/>
            </a:prstTxWarp>
          </a:bodyPr>
          <a:lstStyle/>
          <a:p>
            <a:pPr marL="0" marR="0" lvl="0" indent="0" algn="ctr" defTabSz="914438"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FFFFF"/>
                </a:solidFill>
                <a:effectLst/>
                <a:uLnTx/>
                <a:uFillTx/>
                <a:latin typeface="IBM Plex Sans" charset="0"/>
                <a:ea typeface="IBM Plex Sans" charset="0"/>
                <a:cs typeface="IBM Plex Sans" charset="0"/>
              </a:rPr>
              <a:t>Receiving Support</a:t>
            </a:r>
          </a:p>
        </p:txBody>
      </p:sp>
      <p:sp>
        <p:nvSpPr>
          <p:cNvPr id="125" name="Rectangle 124">
            <a:extLst>
              <a:ext uri="{FF2B5EF4-FFF2-40B4-BE49-F238E27FC236}">
                <a16:creationId xmlns:a16="http://schemas.microsoft.com/office/drawing/2014/main" id="{2AC08FCF-8703-1BA0-4D4B-109E9E7FF7FD}"/>
              </a:ext>
            </a:extLst>
          </p:cNvPr>
          <p:cNvSpPr/>
          <p:nvPr/>
        </p:nvSpPr>
        <p:spPr bwMode="auto">
          <a:xfrm>
            <a:off x="3276316" y="1591432"/>
            <a:ext cx="2857496" cy="482669"/>
          </a:xfrm>
          <a:prstGeom prst="rect">
            <a:avLst/>
          </a:prstGeom>
          <a:solidFill>
            <a:srgbClr val="002989"/>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7994" tIns="47994" rIns="47994" bIns="47994" numCol="1" rtlCol="0" anchor="ctr" anchorCtr="0" compatLnSpc="1">
            <a:prstTxWarp prst="textNoShape">
              <a:avLst/>
            </a:prstTxWarp>
          </a:bodyPr>
          <a:lstStyle/>
          <a:p>
            <a:pPr marL="0" marR="0" lvl="0" indent="0" algn="ctr" defTabSz="914438"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FFFFF"/>
                </a:solidFill>
                <a:effectLst/>
                <a:uLnTx/>
                <a:uFillTx/>
                <a:latin typeface="IBM Plex Sans" charset="0"/>
                <a:ea typeface="IBM Plex Sans" charset="0"/>
                <a:cs typeface="IBM Plex Sans" charset="0"/>
              </a:rPr>
              <a:t>Working</a:t>
            </a:r>
          </a:p>
        </p:txBody>
      </p:sp>
      <p:sp>
        <p:nvSpPr>
          <p:cNvPr id="126" name="Rectangle 125">
            <a:extLst>
              <a:ext uri="{FF2B5EF4-FFF2-40B4-BE49-F238E27FC236}">
                <a16:creationId xmlns:a16="http://schemas.microsoft.com/office/drawing/2014/main" id="{6C2494FD-0EF7-ADFC-E44D-B3537F35153B}"/>
              </a:ext>
            </a:extLst>
          </p:cNvPr>
          <p:cNvSpPr/>
          <p:nvPr/>
        </p:nvSpPr>
        <p:spPr bwMode="auto">
          <a:xfrm>
            <a:off x="6160479" y="1580911"/>
            <a:ext cx="2857496" cy="482669"/>
          </a:xfrm>
          <a:prstGeom prst="rect">
            <a:avLst/>
          </a:prstGeom>
          <a:solidFill>
            <a:srgbClr val="002989"/>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7994" tIns="47994" rIns="47994" bIns="47994" numCol="1" rtlCol="0" anchor="ctr" anchorCtr="0" compatLnSpc="1">
            <a:prstTxWarp prst="textNoShape">
              <a:avLst/>
            </a:prstTxWarp>
          </a:bodyPr>
          <a:lstStyle/>
          <a:p>
            <a:pPr marL="0" marR="0" lvl="0" indent="0" algn="ctr" defTabSz="914438"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FFFFF"/>
                </a:solidFill>
                <a:effectLst/>
                <a:uLnTx/>
                <a:uFillTx/>
                <a:latin typeface="IBM Plex Sans" charset="0"/>
                <a:ea typeface="IBM Plex Sans" charset="0"/>
                <a:cs typeface="IBM Plex Sans" charset="0"/>
              </a:rPr>
              <a:t>Growing</a:t>
            </a:r>
          </a:p>
        </p:txBody>
      </p:sp>
      <p:sp>
        <p:nvSpPr>
          <p:cNvPr id="127" name="Rectangle 126">
            <a:extLst>
              <a:ext uri="{FF2B5EF4-FFF2-40B4-BE49-F238E27FC236}">
                <a16:creationId xmlns:a16="http://schemas.microsoft.com/office/drawing/2014/main" id="{6C9BC1C3-5731-D9DD-B802-08CF934E0238}"/>
              </a:ext>
            </a:extLst>
          </p:cNvPr>
          <p:cNvSpPr/>
          <p:nvPr/>
        </p:nvSpPr>
        <p:spPr bwMode="auto">
          <a:xfrm>
            <a:off x="9054921" y="1580910"/>
            <a:ext cx="1428749" cy="482669"/>
          </a:xfrm>
          <a:prstGeom prst="rect">
            <a:avLst/>
          </a:prstGeom>
          <a:solidFill>
            <a:srgbClr val="002989"/>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7994" tIns="47994" rIns="47994" bIns="47994" numCol="1" rtlCol="0" anchor="ctr" anchorCtr="0" compatLnSpc="1">
            <a:prstTxWarp prst="textNoShape">
              <a:avLst/>
            </a:prstTxWarp>
          </a:bodyPr>
          <a:lstStyle/>
          <a:p>
            <a:pPr marL="0" marR="0" lvl="0" indent="0" algn="ctr" defTabSz="914438"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FFFFF"/>
                </a:solidFill>
                <a:effectLst/>
                <a:uLnTx/>
                <a:uFillTx/>
                <a:latin typeface="IBM Plex Sans" charset="0"/>
                <a:ea typeface="IBM Plex Sans" charset="0"/>
                <a:cs typeface="IBM Plex Sans" charset="0"/>
              </a:rPr>
              <a:t>Leading</a:t>
            </a:r>
          </a:p>
        </p:txBody>
      </p:sp>
      <p:sp>
        <p:nvSpPr>
          <p:cNvPr id="128" name="Rectangle 127">
            <a:extLst>
              <a:ext uri="{FF2B5EF4-FFF2-40B4-BE49-F238E27FC236}">
                <a16:creationId xmlns:a16="http://schemas.microsoft.com/office/drawing/2014/main" id="{F84CB59A-D32E-DB68-F1CE-14F56CDDF64C}"/>
              </a:ext>
            </a:extLst>
          </p:cNvPr>
          <p:cNvSpPr/>
          <p:nvPr/>
        </p:nvSpPr>
        <p:spPr bwMode="auto">
          <a:xfrm>
            <a:off x="10506196" y="1580910"/>
            <a:ext cx="1428749" cy="482669"/>
          </a:xfrm>
          <a:prstGeom prst="rect">
            <a:avLst/>
          </a:prstGeom>
          <a:solidFill>
            <a:srgbClr val="002989"/>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7994" tIns="47994" rIns="47994" bIns="47994" numCol="1" rtlCol="0" anchor="ctr" anchorCtr="0" compatLnSpc="1">
            <a:prstTxWarp prst="textNoShape">
              <a:avLst/>
            </a:prstTxWarp>
          </a:bodyPr>
          <a:lstStyle/>
          <a:p>
            <a:pPr marL="0" marR="0" lvl="0" indent="0" algn="ctr" defTabSz="914438"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FFFFF"/>
                </a:solidFill>
                <a:effectLst/>
                <a:uLnTx/>
                <a:uFillTx/>
                <a:latin typeface="IBM Plex Sans" charset="0"/>
                <a:ea typeface="IBM Plex Sans" charset="0"/>
                <a:cs typeface="IBM Plex Sans" charset="0"/>
              </a:rPr>
              <a:t>Changing</a:t>
            </a:r>
          </a:p>
        </p:txBody>
      </p:sp>
      <p:sp>
        <p:nvSpPr>
          <p:cNvPr id="15" name="Footer Placeholder 6">
            <a:extLst>
              <a:ext uri="{FF2B5EF4-FFF2-40B4-BE49-F238E27FC236}">
                <a16:creationId xmlns:a16="http://schemas.microsoft.com/office/drawing/2014/main" id="{A0C26048-7583-0047-F511-F54E4A8BF1E1}"/>
              </a:ext>
            </a:extLst>
          </p:cNvPr>
          <p:cNvSpPr txBox="1">
            <a:spLocks/>
          </p:cNvSpPr>
          <p:nvPr/>
        </p:nvSpPr>
        <p:spPr>
          <a:xfrm>
            <a:off x="182425" y="6432906"/>
            <a:ext cx="2763118" cy="247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2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IBM HR | 2024</a:t>
            </a:r>
          </a:p>
        </p:txBody>
      </p:sp>
      <p:sp>
        <p:nvSpPr>
          <p:cNvPr id="4" name="Rectangle 3">
            <a:extLst>
              <a:ext uri="{FF2B5EF4-FFF2-40B4-BE49-F238E27FC236}">
                <a16:creationId xmlns:a16="http://schemas.microsoft.com/office/drawing/2014/main" id="{4A0BDF7D-A8EF-8D26-CD23-8AFFE88A5EC1}"/>
              </a:ext>
            </a:extLst>
          </p:cNvPr>
          <p:cNvSpPr/>
          <p:nvPr/>
        </p:nvSpPr>
        <p:spPr bwMode="auto">
          <a:xfrm>
            <a:off x="525977" y="4345490"/>
            <a:ext cx="1261057" cy="876396"/>
          </a:xfrm>
          <a:prstGeom prst="rect">
            <a:avLst/>
          </a:prstGeom>
          <a:noFill/>
          <a:ln w="34925">
            <a:solidFill>
              <a:schemeClr val="accent6">
                <a:lumMod val="7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5" name="Rectangle 4">
            <a:extLst>
              <a:ext uri="{FF2B5EF4-FFF2-40B4-BE49-F238E27FC236}">
                <a16:creationId xmlns:a16="http://schemas.microsoft.com/office/drawing/2014/main" id="{D3FFC606-1BBC-F004-767C-9414C30000EA}"/>
              </a:ext>
            </a:extLst>
          </p:cNvPr>
          <p:cNvSpPr/>
          <p:nvPr/>
        </p:nvSpPr>
        <p:spPr bwMode="auto">
          <a:xfrm>
            <a:off x="1949622" y="5503264"/>
            <a:ext cx="1261057" cy="627508"/>
          </a:xfrm>
          <a:prstGeom prst="rect">
            <a:avLst/>
          </a:prstGeom>
          <a:noFill/>
          <a:ln w="34925">
            <a:solidFill>
              <a:schemeClr val="accent6">
                <a:lumMod val="7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6" name="Rectangle 15">
            <a:extLst>
              <a:ext uri="{FF2B5EF4-FFF2-40B4-BE49-F238E27FC236}">
                <a16:creationId xmlns:a16="http://schemas.microsoft.com/office/drawing/2014/main" id="{9B7C824E-E1CA-7388-AB31-8C2547C4E9E2}"/>
              </a:ext>
            </a:extLst>
          </p:cNvPr>
          <p:cNvSpPr/>
          <p:nvPr/>
        </p:nvSpPr>
        <p:spPr bwMode="auto">
          <a:xfrm>
            <a:off x="10546266" y="4777446"/>
            <a:ext cx="1261057" cy="627508"/>
          </a:xfrm>
          <a:prstGeom prst="rect">
            <a:avLst/>
          </a:prstGeom>
          <a:noFill/>
          <a:ln w="34925">
            <a:solidFill>
              <a:schemeClr val="accent6">
                <a:lumMod val="7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spTree>
    <p:extLst>
      <p:ext uri="{BB962C8B-B14F-4D97-AF65-F5344CB8AC3E}">
        <p14:creationId xmlns:p14="http://schemas.microsoft.com/office/powerpoint/2010/main" val="18623087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EE38-CA04-7A44-99B6-B9FC6884414B}"/>
              </a:ext>
            </a:extLst>
          </p:cNvPr>
          <p:cNvSpPr>
            <a:spLocks noGrp="1"/>
          </p:cNvSpPr>
          <p:nvPr>
            <p:ph type="title"/>
          </p:nvPr>
        </p:nvSpPr>
        <p:spPr>
          <a:xfrm>
            <a:off x="280417" y="268224"/>
            <a:ext cx="6164835" cy="1066800"/>
          </a:xfrm>
        </p:spPr>
        <p:txBody>
          <a:bodyPr/>
          <a:lstStyle/>
          <a:p>
            <a:r>
              <a:rPr lang="en-US" sz="2667" kern="1200" dirty="0">
                <a:solidFill>
                  <a:srgbClr val="000000"/>
                </a:solidFill>
                <a:latin typeface="IBM Plex Sans Light" panose="020B0403050203000203" pitchFamily="34" charset="0"/>
                <a:ea typeface="+mn-ea"/>
                <a:cs typeface="Arial" panose="020B0604020202020204" pitchFamily="34" charset="0"/>
              </a:rPr>
              <a:t>Also at work in IBM HR: </a:t>
            </a:r>
            <a:br>
              <a:rPr lang="en-US" sz="2667" kern="1200" dirty="0">
                <a:solidFill>
                  <a:srgbClr val="000000"/>
                </a:solidFill>
                <a:latin typeface="IBM Plex Sans Light" panose="020B0403050203000203" pitchFamily="34" charset="0"/>
                <a:ea typeface="+mn-ea"/>
                <a:cs typeface="Arial" panose="020B0604020202020204" pitchFamily="34" charset="0"/>
              </a:rPr>
            </a:br>
            <a:r>
              <a:rPr lang="en-US" sz="2667" kern="1200" dirty="0">
                <a:solidFill>
                  <a:srgbClr val="000000"/>
                </a:solidFill>
                <a:latin typeface="IBM Plex Sans Light" panose="020B0403050203000203" pitchFamily="34" charset="0"/>
                <a:ea typeface="+mn-ea"/>
                <a:cs typeface="Arial" panose="020B0604020202020204" pitchFamily="34" charset="0"/>
              </a:rPr>
              <a:t>Digital Labor</a:t>
            </a:r>
          </a:p>
        </p:txBody>
      </p:sp>
      <p:sp>
        <p:nvSpPr>
          <p:cNvPr id="3" name="Text Placeholder 2">
            <a:extLst>
              <a:ext uri="{FF2B5EF4-FFF2-40B4-BE49-F238E27FC236}">
                <a16:creationId xmlns:a16="http://schemas.microsoft.com/office/drawing/2014/main" id="{19EC15A2-0E09-6D49-8689-3F2137BED832}"/>
              </a:ext>
            </a:extLst>
          </p:cNvPr>
          <p:cNvSpPr>
            <a:spLocks noGrp="1"/>
          </p:cNvSpPr>
          <p:nvPr>
            <p:ph type="body" sz="quarter" idx="13"/>
          </p:nvPr>
        </p:nvSpPr>
        <p:spPr>
          <a:xfrm>
            <a:off x="280417" y="629282"/>
            <a:ext cx="5123353" cy="4336288"/>
          </a:xfrm>
        </p:spPr>
        <p:txBody>
          <a:bodyPr/>
          <a:lstStyle/>
          <a:p>
            <a:pPr defTabSz="914352">
              <a:defRPr/>
            </a:pPr>
            <a:endParaRPr lang="en-US" sz="2000" b="1" dirty="0">
              <a:solidFill>
                <a:schemeClr val="accent1"/>
              </a:solidFill>
              <a:latin typeface="+mn-lt"/>
            </a:endParaRPr>
          </a:p>
          <a:p>
            <a:pPr defTabSz="914352">
              <a:defRPr/>
            </a:pPr>
            <a:endParaRPr lang="en-US" sz="1600" b="1" dirty="0">
              <a:solidFill>
                <a:schemeClr val="accent1"/>
              </a:solidFill>
              <a:latin typeface="+mn-lt"/>
            </a:endParaRPr>
          </a:p>
          <a:p>
            <a:pPr marL="1036253" defTabSz="914352">
              <a:defRPr/>
            </a:pPr>
            <a:endParaRPr lang="en-US" sz="1833" i="1" dirty="0">
              <a:solidFill>
                <a:schemeClr val="accent1"/>
              </a:solidFill>
              <a:latin typeface="+mn-lt"/>
            </a:endParaRPr>
          </a:p>
          <a:p>
            <a:pPr marL="1036253" defTabSz="914352">
              <a:defRPr/>
            </a:pPr>
            <a:r>
              <a:rPr lang="en-US" sz="1833" i="1" dirty="0">
                <a:solidFill>
                  <a:schemeClr val="tx1"/>
                </a:solidFill>
                <a:latin typeface="+mn-lt"/>
              </a:rPr>
              <a:t>Intelligent Orchestration: </a:t>
            </a:r>
            <a:r>
              <a:rPr lang="en-US" sz="1833" dirty="0">
                <a:solidFill>
                  <a:schemeClr val="tx1"/>
                </a:solidFill>
                <a:latin typeface="+mn-lt"/>
              </a:rPr>
              <a:t>Engagement with multiple personas in natural language or via events (e.g., emails, triggers, API calls)</a:t>
            </a:r>
          </a:p>
          <a:p>
            <a:pPr marL="1036253" defTabSz="914352">
              <a:spcBef>
                <a:spcPts val="2400"/>
              </a:spcBef>
              <a:defRPr/>
            </a:pPr>
            <a:r>
              <a:rPr lang="en-US" sz="1833" i="1" dirty="0">
                <a:solidFill>
                  <a:schemeClr val="tx1"/>
                </a:solidFill>
                <a:latin typeface="+mn-lt"/>
              </a:rPr>
              <a:t>Business Context: </a:t>
            </a:r>
            <a:r>
              <a:rPr lang="en-US" sz="1833" dirty="0">
                <a:solidFill>
                  <a:schemeClr val="tx1"/>
                </a:solidFill>
                <a:latin typeface="+mn-lt"/>
              </a:rPr>
              <a:t>Remembers past business interactions to make workflows more effective(i.e., it has a long-term memory)</a:t>
            </a:r>
          </a:p>
          <a:p>
            <a:pPr marL="1036253" defTabSz="914352">
              <a:spcBef>
                <a:spcPts val="2400"/>
              </a:spcBef>
              <a:defRPr/>
            </a:pPr>
            <a:r>
              <a:rPr lang="en-US" sz="1833" i="1" dirty="0">
                <a:solidFill>
                  <a:schemeClr val="tx1"/>
                </a:solidFill>
                <a:latin typeface="+mn-lt"/>
              </a:rPr>
              <a:t>Skills: </a:t>
            </a:r>
            <a:r>
              <a:rPr lang="en-US" sz="1833" dirty="0">
                <a:solidFill>
                  <a:schemeClr val="tx1"/>
                </a:solidFill>
                <a:latin typeface="+mn-lt"/>
              </a:rPr>
              <a:t>Out of the box capabilities that can be immediately used to create new workflows and can be added to easily</a:t>
            </a:r>
          </a:p>
          <a:p>
            <a:pPr defTabSz="914352">
              <a:defRPr/>
            </a:pPr>
            <a:endParaRPr lang="en-US" sz="1600" b="1" dirty="0">
              <a:solidFill>
                <a:schemeClr val="accent1"/>
              </a:solidFill>
              <a:latin typeface="+mn-lt"/>
            </a:endParaRPr>
          </a:p>
        </p:txBody>
      </p:sp>
      <p:sp>
        <p:nvSpPr>
          <p:cNvPr id="4" name="Text Placeholder 3">
            <a:extLst>
              <a:ext uri="{FF2B5EF4-FFF2-40B4-BE49-F238E27FC236}">
                <a16:creationId xmlns:a16="http://schemas.microsoft.com/office/drawing/2014/main" id="{669F8D14-F407-CF41-B56B-D79BE883100E}"/>
              </a:ext>
            </a:extLst>
          </p:cNvPr>
          <p:cNvSpPr>
            <a:spLocks noGrp="1"/>
          </p:cNvSpPr>
          <p:nvPr>
            <p:ph type="body" sz="quarter" idx="12"/>
          </p:nvPr>
        </p:nvSpPr>
        <p:spPr>
          <a:xfrm>
            <a:off x="5845510" y="688421"/>
            <a:ext cx="6164835" cy="5952140"/>
          </a:xfrm>
        </p:spPr>
        <p:txBody>
          <a:bodyPr/>
          <a:lstStyle/>
          <a:p>
            <a:r>
              <a:rPr lang="en-US" sz="2000" dirty="0">
                <a:solidFill>
                  <a:schemeClr val="accent1"/>
                </a:solidFill>
                <a:latin typeface="+mn-lt"/>
              </a:rPr>
              <a:t>Use Cases</a:t>
            </a:r>
            <a:endParaRPr lang="en-US" sz="1600" dirty="0">
              <a:solidFill>
                <a:schemeClr val="accent1"/>
              </a:solidFill>
              <a:latin typeface="+mn-lt"/>
            </a:endParaRPr>
          </a:p>
          <a:p>
            <a:endParaRPr lang="en-US" sz="900" dirty="0">
              <a:solidFill>
                <a:schemeClr val="accent1"/>
              </a:solidFill>
              <a:latin typeface="+mn-lt"/>
            </a:endParaRPr>
          </a:p>
          <a:p>
            <a:pPr marL="1036253" lvl="0"/>
            <a:r>
              <a:rPr lang="en-US" sz="1400" b="1" dirty="0">
                <a:solidFill>
                  <a:schemeClr val="tx1"/>
                </a:solidFill>
                <a:latin typeface="+mn-lt"/>
              </a:rPr>
              <a:t>Quarterly Promotion (HiRo)</a:t>
            </a:r>
            <a:r>
              <a:rPr lang="en-US" sz="1400" dirty="0">
                <a:solidFill>
                  <a:schemeClr val="tx1"/>
                </a:solidFill>
                <a:latin typeface="+mn-lt"/>
              </a:rPr>
              <a:t>: Learns criteria for promotion and provides managers with selection options: Communicates with managers; </a:t>
            </a:r>
            <a:r>
              <a:rPr lang="en-US" sz="1400" b="1" u="sng" dirty="0">
                <a:solidFill>
                  <a:schemeClr val="tx1"/>
                </a:solidFill>
                <a:latin typeface="+mn-lt"/>
              </a:rPr>
              <a:t>100% loads selections to HRIS</a:t>
            </a:r>
            <a:r>
              <a:rPr lang="en-US" sz="1400" u="sng" dirty="0">
                <a:solidFill>
                  <a:schemeClr val="tx1"/>
                </a:solidFill>
                <a:latin typeface="+mn-lt"/>
              </a:rPr>
              <a:t>. </a:t>
            </a:r>
            <a:r>
              <a:rPr lang="en-US" sz="1400" b="1" u="sng" dirty="0">
                <a:solidFill>
                  <a:schemeClr val="tx1"/>
                </a:solidFill>
                <a:latin typeface="+mn-lt"/>
              </a:rPr>
              <a:t>50,000</a:t>
            </a:r>
            <a:r>
              <a:rPr lang="en-US" sz="1400" u="sng" dirty="0">
                <a:solidFill>
                  <a:schemeClr val="tx1"/>
                </a:solidFill>
                <a:latin typeface="+mn-lt"/>
              </a:rPr>
              <a:t> </a:t>
            </a:r>
            <a:r>
              <a:rPr lang="en-US" sz="1400" dirty="0">
                <a:solidFill>
                  <a:schemeClr val="tx1"/>
                </a:solidFill>
                <a:latin typeface="+mn-lt"/>
              </a:rPr>
              <a:t>manager productivity hours saved per year: </a:t>
            </a:r>
            <a:r>
              <a:rPr lang="en-US" sz="1400" b="1" u="sng" dirty="0">
                <a:solidFill>
                  <a:schemeClr val="tx1"/>
                </a:solidFill>
                <a:latin typeface="+mn-lt"/>
              </a:rPr>
              <a:t>85% HR Business Partner time savings</a:t>
            </a:r>
          </a:p>
          <a:p>
            <a:pPr marL="1036253" lvl="0"/>
            <a:endParaRPr lang="en-US" sz="1600" dirty="0">
              <a:solidFill>
                <a:schemeClr val="tx1"/>
              </a:solidFill>
              <a:latin typeface="+mn-lt"/>
            </a:endParaRPr>
          </a:p>
          <a:p>
            <a:pPr marL="1036253"/>
            <a:r>
              <a:rPr lang="en-US" sz="1400" b="1" dirty="0">
                <a:solidFill>
                  <a:schemeClr val="tx1"/>
                </a:solidFill>
                <a:latin typeface="+mn-lt"/>
              </a:rPr>
              <a:t>Expense Audit &amp; Recovery (sHeRlock)</a:t>
            </a:r>
            <a:r>
              <a:rPr lang="en-US" sz="1400" dirty="0">
                <a:solidFill>
                  <a:schemeClr val="tx1"/>
                </a:solidFill>
                <a:latin typeface="+mn-lt"/>
              </a:rPr>
              <a:t>: Detect fraud through anomalies in expense data; Communicate with managers/employees and handle queries; Setup overpayments, recover funds. Recoveries possible </a:t>
            </a:r>
            <a:r>
              <a:rPr lang="en-US" sz="1400" b="1" u="sng" dirty="0">
                <a:solidFill>
                  <a:schemeClr val="tx1"/>
                </a:solidFill>
                <a:latin typeface="+mn-lt"/>
              </a:rPr>
              <a:t>~$2M ; 6k hours </a:t>
            </a:r>
            <a:r>
              <a:rPr lang="en-US" sz="1400" dirty="0">
                <a:solidFill>
                  <a:schemeClr val="tx1"/>
                </a:solidFill>
                <a:latin typeface="+mn-lt"/>
              </a:rPr>
              <a:t>saved for Expense team</a:t>
            </a:r>
          </a:p>
          <a:p>
            <a:pPr marL="1036253"/>
            <a:endParaRPr lang="en-US" sz="1400" dirty="0">
              <a:solidFill>
                <a:schemeClr val="tx1"/>
              </a:solidFill>
              <a:latin typeface="+mn-lt"/>
            </a:endParaRPr>
          </a:p>
          <a:p>
            <a:pPr marL="1036253" lvl="0"/>
            <a:r>
              <a:rPr lang="en-US" sz="1400" b="1" dirty="0">
                <a:solidFill>
                  <a:schemeClr val="tx1"/>
                </a:solidFill>
                <a:latin typeface="+mn-lt"/>
              </a:rPr>
              <a:t>Learning Class Management (cHaRlie):</a:t>
            </a:r>
            <a:r>
              <a:rPr lang="en-US" sz="1400" dirty="0">
                <a:solidFill>
                  <a:schemeClr val="tx1"/>
                </a:solidFill>
                <a:latin typeface="+mn-lt"/>
              </a:rPr>
              <a:t> Display upcoming classes with low enrollments; View, promote, cancel and communicate classes. </a:t>
            </a:r>
            <a:r>
              <a:rPr lang="en-US" sz="1400" b="1" u="sng" dirty="0">
                <a:solidFill>
                  <a:schemeClr val="tx1"/>
                </a:solidFill>
                <a:latin typeface="+mn-lt"/>
              </a:rPr>
              <a:t>16k Learning Event Manager hours saved; 2k IBMer hours saved through auto-class promotion; Manages 11,000 classes per year</a:t>
            </a:r>
          </a:p>
          <a:p>
            <a:pPr marL="1036253" lvl="0"/>
            <a:endParaRPr lang="en-US" sz="1400" dirty="0">
              <a:solidFill>
                <a:schemeClr val="tx1"/>
              </a:solidFill>
              <a:latin typeface="+mn-lt"/>
            </a:endParaRPr>
          </a:p>
          <a:p>
            <a:pPr marL="1036253" lvl="0"/>
            <a:r>
              <a:rPr lang="en-US" sz="1400" b="1" dirty="0">
                <a:solidFill>
                  <a:schemeClr val="tx1"/>
                </a:solidFill>
                <a:latin typeface="+mn-lt"/>
              </a:rPr>
              <a:t>Additional cases </a:t>
            </a:r>
            <a:r>
              <a:rPr lang="en-US" sz="1400" dirty="0">
                <a:solidFill>
                  <a:schemeClr val="tx1"/>
                </a:solidFill>
                <a:latin typeface="+mn-lt"/>
              </a:rPr>
              <a:t>include job requisition creation (HeRmione); M&amp;A Employee data integration (HaRmony); Legal compliance in Colorado (wage transparency - HaRper); </a:t>
            </a:r>
            <a:r>
              <a:rPr lang="en-US" sz="1400" i="1" dirty="0">
                <a:solidFill>
                  <a:schemeClr val="tx1"/>
                </a:solidFill>
                <a:latin typeface="+mn-lt"/>
              </a:rPr>
              <a:t>Return-to-Office Management (HeRmes); Performance Management (HeRcules); Talent Reviews (HactoR): Skills Update.(HarRy)</a:t>
            </a:r>
          </a:p>
          <a:p>
            <a:pPr marL="1036253" lvl="0"/>
            <a:endParaRPr lang="en-US" sz="1400" dirty="0">
              <a:solidFill>
                <a:schemeClr val="tx1"/>
              </a:solidFill>
              <a:latin typeface="+mn-lt"/>
            </a:endParaRPr>
          </a:p>
          <a:p>
            <a:pPr marL="1036253" lvl="0"/>
            <a:r>
              <a:rPr lang="en-US" sz="1400" dirty="0">
                <a:solidFill>
                  <a:schemeClr val="tx1"/>
                </a:solidFill>
                <a:latin typeface="+mn-lt"/>
              </a:rPr>
              <a:t> </a:t>
            </a:r>
          </a:p>
          <a:p>
            <a:pPr marL="1036253"/>
            <a:endParaRPr lang="en-US" sz="1400" dirty="0">
              <a:solidFill>
                <a:schemeClr val="tx1"/>
              </a:solidFill>
              <a:latin typeface="+mn-lt"/>
            </a:endParaRPr>
          </a:p>
          <a:p>
            <a:pPr marL="1036253"/>
            <a:endParaRPr lang="en-US" sz="1400" dirty="0">
              <a:solidFill>
                <a:schemeClr val="tx1"/>
              </a:solidFill>
              <a:latin typeface="+mn-lt"/>
            </a:endParaRPr>
          </a:p>
        </p:txBody>
      </p:sp>
      <p:sp>
        <p:nvSpPr>
          <p:cNvPr id="6" name="Slide Number Placeholder 5">
            <a:extLst>
              <a:ext uri="{FF2B5EF4-FFF2-40B4-BE49-F238E27FC236}">
                <a16:creationId xmlns:a16="http://schemas.microsoft.com/office/drawing/2014/main" id="{CC860851-8433-8945-ACED-21BED348E409}"/>
              </a:ext>
            </a:extLst>
          </p:cNvPr>
          <p:cNvSpPr>
            <a:spLocks noGrp="1"/>
          </p:cNvSpPr>
          <p:nvPr>
            <p:ph type="sldNum" sz="quarter" idx="11"/>
          </p:nvPr>
        </p:nvSpPr>
        <p:spPr>
          <a:xfrm>
            <a:off x="14224726" y="7787878"/>
            <a:ext cx="60914" cy="123111"/>
          </a:xfrm>
        </p:spPr>
        <p:txBody>
          <a:bodyPr/>
          <a:lstStyle/>
          <a:p>
            <a:pPr marL="0" marR="0" lvl="0" indent="0" algn="r" defTabSz="914585" rtl="0" eaLnBrk="1" fontAlgn="auto" latinLnBrk="0" hangingPunct="1">
              <a:lnSpc>
                <a:spcPct val="100000"/>
              </a:lnSpc>
              <a:spcBef>
                <a:spcPts val="0"/>
              </a:spcBef>
              <a:spcAft>
                <a:spcPts val="0"/>
              </a:spcAft>
              <a:buClrTx/>
              <a:buSzTx/>
              <a:buFontTx/>
              <a:buNone/>
              <a:tabLst/>
              <a:defRPr/>
            </a:pPr>
            <a:fld id="{59395FB3-9C97-154F-86B2-7E381B951268}" type="slidenum">
              <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sym typeface="IBM Plex Sans"/>
              </a:rPr>
              <a:pPr marL="0" marR="0" lvl="0" indent="0" algn="r" defTabSz="914585"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IBM Plex Sans"/>
            </a:endParaRPr>
          </a:p>
        </p:txBody>
      </p:sp>
      <p:pic>
        <p:nvPicPr>
          <p:cNvPr id="12" name="Graphic 11">
            <a:extLst>
              <a:ext uri="{FF2B5EF4-FFF2-40B4-BE49-F238E27FC236}">
                <a16:creationId xmlns:a16="http://schemas.microsoft.com/office/drawing/2014/main" id="{E4E290F4-14DE-4641-BDD3-C12CA75309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15340" y="3355355"/>
            <a:ext cx="654512" cy="654512"/>
          </a:xfrm>
          <a:prstGeom prst="rect">
            <a:avLst/>
          </a:prstGeom>
        </p:spPr>
      </p:pic>
      <p:pic>
        <p:nvPicPr>
          <p:cNvPr id="13" name="Graphic 12">
            <a:extLst>
              <a:ext uri="{FF2B5EF4-FFF2-40B4-BE49-F238E27FC236}">
                <a16:creationId xmlns:a16="http://schemas.microsoft.com/office/drawing/2014/main" id="{F5C21893-6A1C-F84E-BF98-BD6A1EA52D4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5340" y="4906008"/>
            <a:ext cx="654512" cy="654512"/>
          </a:xfrm>
          <a:prstGeom prst="rect">
            <a:avLst/>
          </a:prstGeom>
        </p:spPr>
      </p:pic>
      <p:pic>
        <p:nvPicPr>
          <p:cNvPr id="14" name="Graphic 13">
            <a:extLst>
              <a:ext uri="{FF2B5EF4-FFF2-40B4-BE49-F238E27FC236}">
                <a16:creationId xmlns:a16="http://schemas.microsoft.com/office/drawing/2014/main" id="{91F4F648-0C5C-0C45-902F-80457E0ED59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5340" y="1864762"/>
            <a:ext cx="654512" cy="654512"/>
          </a:xfrm>
          <a:prstGeom prst="rect">
            <a:avLst/>
          </a:prstGeom>
        </p:spPr>
      </p:pic>
      <p:pic>
        <p:nvPicPr>
          <p:cNvPr id="15" name="Graphic 14">
            <a:extLst>
              <a:ext uri="{FF2B5EF4-FFF2-40B4-BE49-F238E27FC236}">
                <a16:creationId xmlns:a16="http://schemas.microsoft.com/office/drawing/2014/main" id="{CF1844F0-6F3D-F446-B9C2-A818E2828E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90924" y="1151785"/>
            <a:ext cx="654512" cy="654512"/>
          </a:xfrm>
          <a:prstGeom prst="rect">
            <a:avLst/>
          </a:prstGeom>
        </p:spPr>
      </p:pic>
      <p:pic>
        <p:nvPicPr>
          <p:cNvPr id="16" name="Graphic 15">
            <a:extLst>
              <a:ext uri="{FF2B5EF4-FFF2-40B4-BE49-F238E27FC236}">
                <a16:creationId xmlns:a16="http://schemas.microsoft.com/office/drawing/2014/main" id="{7C6CB42E-5FC0-054B-BF51-7DCCC87B035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990924" y="2593665"/>
            <a:ext cx="654512" cy="654512"/>
          </a:xfrm>
          <a:prstGeom prst="rect">
            <a:avLst/>
          </a:prstGeom>
        </p:spPr>
      </p:pic>
      <p:pic>
        <p:nvPicPr>
          <p:cNvPr id="10" name="Picture 9">
            <a:extLst>
              <a:ext uri="{FF2B5EF4-FFF2-40B4-BE49-F238E27FC236}">
                <a16:creationId xmlns:a16="http://schemas.microsoft.com/office/drawing/2014/main" id="{D923BE42-9C6B-6A12-2FD4-949ABB3DFC6A}"/>
              </a:ext>
            </a:extLst>
          </p:cNvPr>
          <p:cNvPicPr>
            <a:picLocks noChangeAspect="1"/>
          </p:cNvPicPr>
          <p:nvPr/>
        </p:nvPicPr>
        <p:blipFill>
          <a:blip r:embed="rId12"/>
          <a:stretch>
            <a:fillRect/>
          </a:stretch>
        </p:blipFill>
        <p:spPr>
          <a:xfrm>
            <a:off x="5949551" y="4035545"/>
            <a:ext cx="695885" cy="695885"/>
          </a:xfrm>
          <a:prstGeom prst="rect">
            <a:avLst/>
          </a:prstGeom>
        </p:spPr>
      </p:pic>
      <p:pic>
        <p:nvPicPr>
          <p:cNvPr id="17" name="Picture 16">
            <a:extLst>
              <a:ext uri="{FF2B5EF4-FFF2-40B4-BE49-F238E27FC236}">
                <a16:creationId xmlns:a16="http://schemas.microsoft.com/office/drawing/2014/main" id="{DB27AB11-500A-9809-AC8D-F7CB3CBBAF0F}"/>
              </a:ext>
            </a:extLst>
          </p:cNvPr>
          <p:cNvPicPr>
            <a:picLocks noChangeAspect="1"/>
          </p:cNvPicPr>
          <p:nvPr/>
        </p:nvPicPr>
        <p:blipFill>
          <a:blip r:embed="rId13"/>
          <a:stretch>
            <a:fillRect/>
          </a:stretch>
        </p:blipFill>
        <p:spPr>
          <a:xfrm>
            <a:off x="5990924" y="5440528"/>
            <a:ext cx="654512" cy="654512"/>
          </a:xfrm>
          <a:prstGeom prst="rect">
            <a:avLst/>
          </a:prstGeom>
        </p:spPr>
      </p:pic>
      <p:sp>
        <p:nvSpPr>
          <p:cNvPr id="5" name="Footer Placeholder 6">
            <a:extLst>
              <a:ext uri="{FF2B5EF4-FFF2-40B4-BE49-F238E27FC236}">
                <a16:creationId xmlns:a16="http://schemas.microsoft.com/office/drawing/2014/main" id="{874B4B04-FF12-627E-4694-1E70BB418F26}"/>
              </a:ext>
            </a:extLst>
          </p:cNvPr>
          <p:cNvSpPr txBox="1">
            <a:spLocks/>
          </p:cNvSpPr>
          <p:nvPr/>
        </p:nvSpPr>
        <p:spPr>
          <a:xfrm>
            <a:off x="181655" y="6433297"/>
            <a:ext cx="2763478" cy="247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IBM HR | 2024</a:t>
            </a:r>
          </a:p>
        </p:txBody>
      </p:sp>
    </p:spTree>
    <p:extLst>
      <p:ext uri="{BB962C8B-B14F-4D97-AF65-F5344CB8AC3E}">
        <p14:creationId xmlns:p14="http://schemas.microsoft.com/office/powerpoint/2010/main" val="9543081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Rectangle 185">
            <a:extLst>
              <a:ext uri="{FF2B5EF4-FFF2-40B4-BE49-F238E27FC236}">
                <a16:creationId xmlns:a16="http://schemas.microsoft.com/office/drawing/2014/main" id="{CCE0338D-8BFB-7A2A-F31B-C86F449FA4B6}"/>
              </a:ext>
            </a:extLst>
          </p:cNvPr>
          <p:cNvSpPr>
            <a:spLocks noGrp="1" noRot="1" noMove="1" noResize="1" noEditPoints="1" noAdjustHandles="1" noChangeArrowheads="1" noChangeShapeType="1"/>
          </p:cNvSpPr>
          <p:nvPr/>
        </p:nvSpPr>
        <p:spPr bwMode="auto">
          <a:xfrm>
            <a:off x="5528025" y="738235"/>
            <a:ext cx="3912873" cy="5381519"/>
          </a:xfrm>
          <a:prstGeom prst="rect">
            <a:avLst/>
          </a:prstGeom>
          <a:solidFill>
            <a:schemeClr val="accent2">
              <a:lumMod val="20000"/>
              <a:lumOff val="80000"/>
              <a:alpha val="7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CR" sz="7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7" name="Rectangle 26">
            <a:extLst>
              <a:ext uri="{FF2B5EF4-FFF2-40B4-BE49-F238E27FC236}">
                <a16:creationId xmlns:a16="http://schemas.microsoft.com/office/drawing/2014/main" id="{5F275149-B67D-43A3-2EDB-2BE8FE0974BF}"/>
              </a:ext>
            </a:extLst>
          </p:cNvPr>
          <p:cNvSpPr>
            <a:spLocks/>
          </p:cNvSpPr>
          <p:nvPr/>
        </p:nvSpPr>
        <p:spPr bwMode="auto">
          <a:xfrm>
            <a:off x="1632564" y="738235"/>
            <a:ext cx="1293408" cy="5381519"/>
          </a:xfrm>
          <a:prstGeom prst="rect">
            <a:avLst/>
          </a:prstGeom>
          <a:solidFill>
            <a:schemeClr val="accent2">
              <a:lumMod val="20000"/>
              <a:lumOff val="80000"/>
              <a:alpha val="7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CR" sz="7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8" name="Title 1">
            <a:extLst>
              <a:ext uri="{FF2B5EF4-FFF2-40B4-BE49-F238E27FC236}">
                <a16:creationId xmlns:a16="http://schemas.microsoft.com/office/drawing/2014/main" id="{5042E580-7A45-A7AF-3173-B62DD66CC12F}"/>
              </a:ext>
            </a:extLst>
          </p:cNvPr>
          <p:cNvSpPr txBox="1">
            <a:spLocks/>
          </p:cNvSpPr>
          <p:nvPr/>
        </p:nvSpPr>
        <p:spPr>
          <a:xfrm>
            <a:off x="261535" y="226415"/>
            <a:ext cx="11597549" cy="31983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Tx/>
              <a:buSzTx/>
              <a:buFontTx/>
              <a:buNone/>
              <a:tabLst/>
              <a:defRPr sz="86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en-US" altLang="ko-KR" sz="2200" b="0" i="0" u="none" strike="noStrike" kern="0" cap="none" spc="0" normalizeH="0" baseline="0" noProof="0" dirty="0">
                <a:ln>
                  <a:noFill/>
                </a:ln>
                <a:solidFill>
                  <a:srgbClr val="000000"/>
                </a:solidFill>
                <a:effectLst/>
                <a:uLnTx/>
                <a:uFillTx/>
                <a:latin typeface="IBM Plex Sans ExtLt" panose="020B0303050203000203" pitchFamily="34" charset="0"/>
                <a:ea typeface="+mj-ea"/>
                <a:cs typeface="+mj-cs"/>
                <a:sym typeface="IBM Plex Sans Light"/>
              </a:rPr>
              <a:t>Digital Labor Roadmap</a:t>
            </a:r>
            <a:endParaRPr kumimoji="0" lang="en-US" sz="2200" b="0" i="0" u="none" strike="noStrike" kern="0" cap="none" spc="0" normalizeH="0" baseline="0" noProof="0" dirty="0">
              <a:ln>
                <a:noFill/>
              </a:ln>
              <a:solidFill>
                <a:srgbClr val="000000"/>
              </a:solidFill>
              <a:effectLst/>
              <a:uLnTx/>
              <a:uFillTx/>
              <a:latin typeface="IBM Plex Sans ExtLt" panose="020B0303050203000203" pitchFamily="34" charset="0"/>
              <a:ea typeface="+mj-ea"/>
              <a:cs typeface="+mj-cs"/>
              <a:sym typeface="IBM Plex Sans Light"/>
            </a:endParaRPr>
          </a:p>
        </p:txBody>
      </p:sp>
      <p:sp>
        <p:nvSpPr>
          <p:cNvPr id="10" name="TextBox 9">
            <a:extLst>
              <a:ext uri="{FF2B5EF4-FFF2-40B4-BE49-F238E27FC236}">
                <a16:creationId xmlns:a16="http://schemas.microsoft.com/office/drawing/2014/main" id="{58F45F3D-16C5-5B28-5E2E-D912445A2BAC}"/>
              </a:ext>
            </a:extLst>
          </p:cNvPr>
          <p:cNvSpPr txBox="1"/>
          <p:nvPr/>
        </p:nvSpPr>
        <p:spPr>
          <a:xfrm>
            <a:off x="2920773" y="1202170"/>
            <a:ext cx="2605110" cy="2154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defPPr>
              <a:defRPr lang="en-US"/>
            </a:defPPr>
            <a:lvl1pPr defTabSz="2438400">
              <a:spcBef>
                <a:spcPts val="2900"/>
              </a:spcBef>
              <a:buSzPct val="100000"/>
              <a:defRPr sz="2400" kern="0">
                <a:solidFill>
                  <a:schemeClr val="accent2"/>
                </a:solidFill>
                <a:latin typeface="IBM Plex Sans" panose="020B0503050203000203" pitchFamily="34" charset="0"/>
                <a:ea typeface="+mj-ea"/>
                <a:cs typeface="+mj-cs"/>
              </a:defRPr>
            </a:lvl1p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US" sz="1400" b="0" i="0" u="none" strike="noStrike" kern="0" cap="none" spc="0" normalizeH="0" baseline="0" noProof="0" dirty="0">
                <a:ln>
                  <a:noFill/>
                </a:ln>
                <a:solidFill>
                  <a:srgbClr val="A56EFF"/>
                </a:solidFill>
                <a:effectLst/>
                <a:uLnTx/>
                <a:uFillTx/>
                <a:latin typeface="IBM Plex Sans" panose="020B0503050203000203" pitchFamily="34" charset="0"/>
                <a:ea typeface="+mj-ea"/>
                <a:cs typeface="+mj-cs"/>
                <a:sym typeface="IBM Plex Sans Light"/>
              </a:rPr>
              <a:t>Attract</a:t>
            </a:r>
          </a:p>
        </p:txBody>
      </p:sp>
      <p:sp>
        <p:nvSpPr>
          <p:cNvPr id="11" name="TextBox 10">
            <a:extLst>
              <a:ext uri="{FF2B5EF4-FFF2-40B4-BE49-F238E27FC236}">
                <a16:creationId xmlns:a16="http://schemas.microsoft.com/office/drawing/2014/main" id="{234971B9-AC68-6767-B9CA-EC541191CDFB}"/>
              </a:ext>
            </a:extLst>
          </p:cNvPr>
          <p:cNvSpPr txBox="1"/>
          <p:nvPr/>
        </p:nvSpPr>
        <p:spPr>
          <a:xfrm>
            <a:off x="9440895" y="1202170"/>
            <a:ext cx="2554238" cy="2154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defPPr>
              <a:defRPr lang="en-US"/>
            </a:defPPr>
            <a:lvl1pPr defTabSz="2438400">
              <a:spcBef>
                <a:spcPts val="2900"/>
              </a:spcBef>
              <a:buSzPct val="100000"/>
              <a:defRPr sz="2400" kern="0">
                <a:solidFill>
                  <a:schemeClr val="accent2"/>
                </a:solidFill>
                <a:latin typeface="IBM Plex Sans" panose="020B0503050203000203" pitchFamily="34" charset="0"/>
                <a:ea typeface="+mj-ea"/>
                <a:cs typeface="+mj-cs"/>
              </a:defRPr>
            </a:lvl1p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US" sz="1400" b="0" i="0" u="none" strike="noStrike" kern="0" cap="none" spc="0" normalizeH="0" baseline="0" noProof="0" dirty="0">
                <a:ln>
                  <a:noFill/>
                </a:ln>
                <a:solidFill>
                  <a:srgbClr val="A56EFF"/>
                </a:solidFill>
                <a:effectLst/>
                <a:uLnTx/>
                <a:uFillTx/>
                <a:latin typeface="IBM Plex Sans" panose="020B0503050203000203" pitchFamily="34" charset="0"/>
                <a:ea typeface="+mj-ea"/>
                <a:cs typeface="+mj-cs"/>
                <a:sym typeface="IBM Plex Sans Light"/>
              </a:rPr>
              <a:t>Engage</a:t>
            </a:r>
          </a:p>
        </p:txBody>
      </p:sp>
      <p:sp>
        <p:nvSpPr>
          <p:cNvPr id="13" name="TextBox 12">
            <a:extLst>
              <a:ext uri="{FF2B5EF4-FFF2-40B4-BE49-F238E27FC236}">
                <a16:creationId xmlns:a16="http://schemas.microsoft.com/office/drawing/2014/main" id="{7212D243-93FA-158B-BE3D-3EC49FCCE760}"/>
              </a:ext>
            </a:extLst>
          </p:cNvPr>
          <p:cNvSpPr txBox="1"/>
          <p:nvPr/>
        </p:nvSpPr>
        <p:spPr>
          <a:xfrm>
            <a:off x="5529679" y="1202170"/>
            <a:ext cx="3911215" cy="2154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defPPr>
              <a:defRPr lang="en-US"/>
            </a:defPPr>
            <a:lvl1pPr defTabSz="2438400">
              <a:spcBef>
                <a:spcPts val="2900"/>
              </a:spcBef>
              <a:buSzPct val="100000"/>
              <a:defRPr sz="2400" kern="0">
                <a:solidFill>
                  <a:schemeClr val="accent2"/>
                </a:solidFill>
                <a:latin typeface="IBM Plex Sans" panose="020B0503050203000203" pitchFamily="34" charset="0"/>
                <a:ea typeface="+mj-ea"/>
                <a:cs typeface="+mj-cs"/>
              </a:defRPr>
            </a:lvl1p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US" sz="1400" b="0" i="0" u="none" strike="noStrike" kern="0" cap="none" spc="0" normalizeH="0" baseline="0" noProof="0" dirty="0">
                <a:ln>
                  <a:noFill/>
                </a:ln>
                <a:solidFill>
                  <a:srgbClr val="A56EFF"/>
                </a:solidFill>
                <a:effectLst/>
                <a:uLnTx/>
                <a:uFillTx/>
                <a:latin typeface="IBM Plex Sans" panose="020B0503050203000203" pitchFamily="34" charset="0"/>
                <a:ea typeface="+mj-ea"/>
                <a:cs typeface="+mj-cs"/>
                <a:sym typeface="IBM Plex Sans Light"/>
              </a:rPr>
              <a:t>Develop</a:t>
            </a:r>
          </a:p>
        </p:txBody>
      </p:sp>
      <p:sp>
        <p:nvSpPr>
          <p:cNvPr id="21" name="TextBox 20">
            <a:extLst>
              <a:ext uri="{FF2B5EF4-FFF2-40B4-BE49-F238E27FC236}">
                <a16:creationId xmlns:a16="http://schemas.microsoft.com/office/drawing/2014/main" id="{491DDD3C-137D-23BD-013C-F7E056F04881}"/>
              </a:ext>
            </a:extLst>
          </p:cNvPr>
          <p:cNvSpPr txBox="1"/>
          <p:nvPr/>
        </p:nvSpPr>
        <p:spPr>
          <a:xfrm>
            <a:off x="10141544" y="530680"/>
            <a:ext cx="2795532" cy="4571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1218956" rtl="0" eaLnBrk="1" fontAlgn="auto" latinLnBrk="0" hangingPunct="1">
              <a:lnSpc>
                <a:spcPct val="100000"/>
              </a:lnSpc>
              <a:spcBef>
                <a:spcPts val="1450"/>
              </a:spcBef>
              <a:spcAft>
                <a:spcPts val="0"/>
              </a:spcAft>
              <a:buClrTx/>
              <a:buSzPct val="100000"/>
              <a:buFontTx/>
              <a:buNone/>
              <a:tabLst/>
              <a:defRPr/>
            </a:pPr>
            <a:endParaRPr kumimoji="0" lang="en-GB" sz="18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25" name="TextBox 24">
            <a:extLst>
              <a:ext uri="{FF2B5EF4-FFF2-40B4-BE49-F238E27FC236}">
                <a16:creationId xmlns:a16="http://schemas.microsoft.com/office/drawing/2014/main" id="{66CE4A21-57C7-27D0-AC0B-2573D9009502}"/>
              </a:ext>
            </a:extLst>
          </p:cNvPr>
          <p:cNvSpPr txBox="1"/>
          <p:nvPr/>
        </p:nvSpPr>
        <p:spPr>
          <a:xfrm>
            <a:off x="-360493" y="629771"/>
            <a:ext cx="457140" cy="4571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1218956" rtl="0" eaLnBrk="1" fontAlgn="auto" latinLnBrk="0" hangingPunct="1">
              <a:lnSpc>
                <a:spcPct val="100000"/>
              </a:lnSpc>
              <a:spcBef>
                <a:spcPts val="1450"/>
              </a:spcBef>
              <a:spcAft>
                <a:spcPts val="0"/>
              </a:spcAft>
              <a:buClrTx/>
              <a:buSzPct val="100000"/>
              <a:buFontTx/>
              <a:buNone/>
              <a:tabLst/>
              <a:defRPr/>
            </a:pPr>
            <a:endParaRPr kumimoji="0" lang="en-GB" sz="18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cxnSp>
        <p:nvCxnSpPr>
          <p:cNvPr id="130" name="Straight Connector 129">
            <a:extLst>
              <a:ext uri="{FF2B5EF4-FFF2-40B4-BE49-F238E27FC236}">
                <a16:creationId xmlns:a16="http://schemas.microsoft.com/office/drawing/2014/main" id="{EEB798A3-BAF6-B828-E108-D6A7E44A91D4}"/>
              </a:ext>
            </a:extLst>
          </p:cNvPr>
          <p:cNvCxnSpPr>
            <a:cxnSpLocks/>
          </p:cNvCxnSpPr>
          <p:nvPr/>
        </p:nvCxnSpPr>
        <p:spPr bwMode="auto">
          <a:xfrm>
            <a:off x="261535" y="2203027"/>
            <a:ext cx="11733599" cy="0"/>
          </a:xfrm>
          <a:prstGeom prst="line">
            <a:avLst/>
          </a:prstGeom>
          <a:ln w="285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7" name="TextBox 136">
            <a:extLst>
              <a:ext uri="{FF2B5EF4-FFF2-40B4-BE49-F238E27FC236}">
                <a16:creationId xmlns:a16="http://schemas.microsoft.com/office/drawing/2014/main" id="{DEBDC917-CDDA-3C18-E9A0-22987A09A3D2}"/>
              </a:ext>
            </a:extLst>
          </p:cNvPr>
          <p:cNvSpPr txBox="1"/>
          <p:nvPr/>
        </p:nvSpPr>
        <p:spPr>
          <a:xfrm>
            <a:off x="4382517" y="1632926"/>
            <a:ext cx="989871"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defPPr>
              <a:defRPr lang="en-US"/>
            </a:defPPr>
            <a:lvl1pPr defTabSz="2438400">
              <a:spcBef>
                <a:spcPts val="2900"/>
              </a:spcBef>
              <a:buSzPct val="100000"/>
              <a:defRPr sz="2000" kern="0">
                <a:latin typeface="IBM Plex Sans" panose="020B0503050203000203" pitchFamily="34" charset="0"/>
                <a:ea typeface="+mj-ea"/>
                <a:cs typeface="+mj-cs"/>
              </a:defRPr>
            </a:lvl1pPr>
          </a:lstStyle>
          <a:p>
            <a:pPr marL="0" marR="0" lvl="0" indent="0" algn="l" defTabSz="1218956" rtl="0" eaLnBrk="1" fontAlgn="auto" latinLnBrk="0" hangingPunct="1">
              <a:lnSpc>
                <a:spcPct val="100000"/>
              </a:lnSpc>
              <a:spcBef>
                <a:spcPts val="145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rPr>
              <a:t>HR admin and shared services</a:t>
            </a:r>
          </a:p>
        </p:txBody>
      </p:sp>
      <p:sp>
        <p:nvSpPr>
          <p:cNvPr id="139" name="TextBox 138">
            <a:extLst>
              <a:ext uri="{FF2B5EF4-FFF2-40B4-BE49-F238E27FC236}">
                <a16:creationId xmlns:a16="http://schemas.microsoft.com/office/drawing/2014/main" id="{C5277B47-D88E-B3FE-BD05-5C3A4765C379}"/>
              </a:ext>
            </a:extLst>
          </p:cNvPr>
          <p:cNvSpPr txBox="1"/>
          <p:nvPr/>
        </p:nvSpPr>
        <p:spPr>
          <a:xfrm>
            <a:off x="5686970" y="1632926"/>
            <a:ext cx="989871"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defPPr>
              <a:defRPr lang="en-US"/>
            </a:defPPr>
            <a:lvl1pPr defTabSz="2438400">
              <a:spcBef>
                <a:spcPts val="2900"/>
              </a:spcBef>
              <a:buSzPct val="100000"/>
              <a:defRPr sz="2000" kern="0">
                <a:latin typeface="IBM Plex Sans" panose="020B0503050203000203" pitchFamily="34" charset="0"/>
                <a:ea typeface="+mj-ea"/>
                <a:cs typeface="+mj-cs"/>
              </a:defRPr>
            </a:lvl1pPr>
          </a:lstStyle>
          <a:p>
            <a:pPr marL="0" marR="0" lvl="0" indent="0" algn="l" defTabSz="1218956" rtl="0" eaLnBrk="1" fontAlgn="auto" latinLnBrk="0" hangingPunct="1">
              <a:lnSpc>
                <a:spcPct val="100000"/>
              </a:lnSpc>
              <a:spcBef>
                <a:spcPts val="145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rPr>
              <a:t>Compensation and benefits</a:t>
            </a:r>
          </a:p>
        </p:txBody>
      </p:sp>
      <p:sp>
        <p:nvSpPr>
          <p:cNvPr id="140" name="TextBox 139">
            <a:extLst>
              <a:ext uri="{FF2B5EF4-FFF2-40B4-BE49-F238E27FC236}">
                <a16:creationId xmlns:a16="http://schemas.microsoft.com/office/drawing/2014/main" id="{E09946FE-5B39-D399-9E56-5401A1D946AA}"/>
              </a:ext>
            </a:extLst>
          </p:cNvPr>
          <p:cNvSpPr txBox="1"/>
          <p:nvPr/>
        </p:nvSpPr>
        <p:spPr>
          <a:xfrm>
            <a:off x="6991423" y="1632926"/>
            <a:ext cx="989871"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defPPr>
              <a:defRPr lang="en-US"/>
            </a:defPPr>
            <a:lvl1pPr defTabSz="2438400">
              <a:spcBef>
                <a:spcPts val="2900"/>
              </a:spcBef>
              <a:buSzPct val="100000"/>
              <a:defRPr sz="2000" kern="0">
                <a:latin typeface="IBM Plex Sans" panose="020B0503050203000203" pitchFamily="34" charset="0"/>
                <a:ea typeface="+mj-ea"/>
                <a:cs typeface="+mj-cs"/>
              </a:defRPr>
            </a:lvl1pPr>
          </a:lstStyle>
          <a:p>
            <a:pPr marL="0" marR="0" lvl="0" indent="0" algn="l" defTabSz="1218956" rtl="0" eaLnBrk="1" fontAlgn="auto" latinLnBrk="0" hangingPunct="1">
              <a:lnSpc>
                <a:spcPct val="100000"/>
              </a:lnSpc>
              <a:spcBef>
                <a:spcPts val="145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rPr>
              <a:t>Learning and development</a:t>
            </a:r>
          </a:p>
        </p:txBody>
      </p:sp>
      <p:sp>
        <p:nvSpPr>
          <p:cNvPr id="141" name="TextBox 140">
            <a:extLst>
              <a:ext uri="{FF2B5EF4-FFF2-40B4-BE49-F238E27FC236}">
                <a16:creationId xmlns:a16="http://schemas.microsoft.com/office/drawing/2014/main" id="{20AFA1B6-06E3-05F2-0033-E134CD822761}"/>
              </a:ext>
            </a:extLst>
          </p:cNvPr>
          <p:cNvSpPr txBox="1"/>
          <p:nvPr/>
        </p:nvSpPr>
        <p:spPr>
          <a:xfrm>
            <a:off x="8295877" y="1632926"/>
            <a:ext cx="989871" cy="4616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defPPr>
              <a:defRPr lang="en-US"/>
            </a:defPPr>
            <a:lvl1pPr defTabSz="2438400">
              <a:spcBef>
                <a:spcPts val="2900"/>
              </a:spcBef>
              <a:buSzPct val="100000"/>
              <a:defRPr sz="2000" kern="0">
                <a:latin typeface="IBM Plex Sans" panose="020B0503050203000203" pitchFamily="34" charset="0"/>
                <a:ea typeface="+mj-ea"/>
                <a:cs typeface="+mj-cs"/>
              </a:defRPr>
            </a:lvl1pPr>
          </a:lstStyle>
          <a:p>
            <a:pPr marL="0" marR="0" lvl="0" indent="0" algn="l" defTabSz="1218956" rtl="0" eaLnBrk="1" fontAlgn="auto" latinLnBrk="0" hangingPunct="1">
              <a:lnSpc>
                <a:spcPct val="100000"/>
              </a:lnSpc>
              <a:spcBef>
                <a:spcPts val="145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rPr>
              <a:t>Performance </a:t>
            </a:r>
            <a:br>
              <a:rPr kumimoji="0" lang="en-US" sz="10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rPr>
            </a:br>
            <a:r>
              <a:rPr kumimoji="0" lang="en-US" sz="10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rPr>
              <a:t>and career management</a:t>
            </a:r>
          </a:p>
        </p:txBody>
      </p:sp>
      <p:sp>
        <p:nvSpPr>
          <p:cNvPr id="142" name="TextBox 141">
            <a:extLst>
              <a:ext uri="{FF2B5EF4-FFF2-40B4-BE49-F238E27FC236}">
                <a16:creationId xmlns:a16="http://schemas.microsoft.com/office/drawing/2014/main" id="{728E85C7-D2C6-D884-97AC-61534B8551AD}"/>
              </a:ext>
            </a:extLst>
          </p:cNvPr>
          <p:cNvSpPr txBox="1"/>
          <p:nvPr/>
        </p:nvSpPr>
        <p:spPr>
          <a:xfrm>
            <a:off x="9600330" y="1632926"/>
            <a:ext cx="989871"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defPPr>
              <a:defRPr lang="en-US"/>
            </a:defPPr>
            <a:lvl1pPr defTabSz="2438400">
              <a:spcBef>
                <a:spcPts val="2900"/>
              </a:spcBef>
              <a:buSzPct val="100000"/>
              <a:defRPr sz="2000" kern="0">
                <a:latin typeface="IBM Plex Sans" panose="020B0503050203000203" pitchFamily="34" charset="0"/>
                <a:ea typeface="+mj-ea"/>
                <a:cs typeface="+mj-cs"/>
              </a:defRPr>
            </a:lvl1pPr>
          </a:lstStyle>
          <a:p>
            <a:pPr marL="0" marR="0" lvl="0" indent="0" algn="l" defTabSz="1218956" rtl="0" eaLnBrk="1" fontAlgn="auto" latinLnBrk="0" hangingPunct="1">
              <a:lnSpc>
                <a:spcPct val="100000"/>
              </a:lnSpc>
              <a:spcBef>
                <a:spcPts val="145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rPr>
              <a:t>Employee engagement</a:t>
            </a:r>
          </a:p>
        </p:txBody>
      </p:sp>
      <p:sp>
        <p:nvSpPr>
          <p:cNvPr id="143" name="TextBox 142">
            <a:extLst>
              <a:ext uri="{FF2B5EF4-FFF2-40B4-BE49-F238E27FC236}">
                <a16:creationId xmlns:a16="http://schemas.microsoft.com/office/drawing/2014/main" id="{3CA0A8B3-DF79-ADCD-37B3-BE572E78AB45}"/>
              </a:ext>
            </a:extLst>
          </p:cNvPr>
          <p:cNvSpPr txBox="1"/>
          <p:nvPr/>
        </p:nvSpPr>
        <p:spPr>
          <a:xfrm>
            <a:off x="10904780" y="1632926"/>
            <a:ext cx="989871"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defPPr>
              <a:defRPr lang="en-US"/>
            </a:defPPr>
            <a:lvl1pPr defTabSz="2438400">
              <a:spcBef>
                <a:spcPts val="2900"/>
              </a:spcBef>
              <a:buSzPct val="100000"/>
              <a:defRPr sz="2000" kern="0">
                <a:latin typeface="IBM Plex Sans" panose="020B0503050203000203" pitchFamily="34" charset="0"/>
                <a:ea typeface="+mj-ea"/>
                <a:cs typeface="+mj-cs"/>
              </a:defRPr>
            </a:lvl1pPr>
          </a:lstStyle>
          <a:p>
            <a:pPr marL="0" marR="0" lvl="0" indent="0" algn="l" defTabSz="1218956" rtl="0" eaLnBrk="1" fontAlgn="auto" latinLnBrk="0" hangingPunct="1">
              <a:lnSpc>
                <a:spcPct val="100000"/>
              </a:lnSpc>
              <a:spcBef>
                <a:spcPts val="145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rPr>
              <a:t>Employee relations</a:t>
            </a:r>
          </a:p>
        </p:txBody>
      </p:sp>
      <p:sp>
        <p:nvSpPr>
          <p:cNvPr id="150" name="TextBox 149">
            <a:extLst>
              <a:ext uri="{FF2B5EF4-FFF2-40B4-BE49-F238E27FC236}">
                <a16:creationId xmlns:a16="http://schemas.microsoft.com/office/drawing/2014/main" id="{AA514493-5356-6FAA-549B-08C54FADF40B}"/>
              </a:ext>
            </a:extLst>
          </p:cNvPr>
          <p:cNvSpPr txBox="1"/>
          <p:nvPr/>
        </p:nvSpPr>
        <p:spPr>
          <a:xfrm>
            <a:off x="261536" y="1632926"/>
            <a:ext cx="1141851"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marL="0" marR="0" lvl="0" indent="0" algn="l" defTabSz="1218956" rtl="0" eaLnBrk="1" fontAlgn="auto" latinLnBrk="0" hangingPunct="1">
              <a:lnSpc>
                <a:spcPct val="100000"/>
              </a:lnSpc>
              <a:spcBef>
                <a:spcPts val="1450"/>
              </a:spcBef>
              <a:spcAft>
                <a:spcPts val="0"/>
              </a:spcAft>
              <a:buClrTx/>
              <a:buSzPct val="100000"/>
              <a:buFontTx/>
              <a:buNone/>
              <a:tabLst/>
              <a:defRPr/>
            </a:pPr>
            <a:r>
              <a:rPr kumimoji="0" lang="en-US" sz="1200" b="0" i="0" u="none" strike="noStrike" kern="0" cap="none" spc="0" normalizeH="0" baseline="0" noProof="0" dirty="0">
                <a:ln>
                  <a:noFill/>
                </a:ln>
                <a:solidFill>
                  <a:srgbClr val="A56EFF"/>
                </a:solidFill>
                <a:effectLst/>
                <a:uLnTx/>
                <a:uFillTx/>
                <a:latin typeface="IBM Plex Sans" panose="020B0503050203000203" pitchFamily="34" charset="0"/>
                <a:ea typeface="+mn-ea"/>
                <a:cs typeface="+mn-cs"/>
                <a:sym typeface="IBM Plex Sans Light"/>
              </a:rPr>
              <a:t>HR function areas</a:t>
            </a:r>
          </a:p>
        </p:txBody>
      </p:sp>
      <p:sp>
        <p:nvSpPr>
          <p:cNvPr id="154" name="TextBox 153">
            <a:extLst>
              <a:ext uri="{FF2B5EF4-FFF2-40B4-BE49-F238E27FC236}">
                <a16:creationId xmlns:a16="http://schemas.microsoft.com/office/drawing/2014/main" id="{09DE93DD-2B36-0284-9FDB-08E3176CB25D}"/>
              </a:ext>
            </a:extLst>
          </p:cNvPr>
          <p:cNvSpPr txBox="1"/>
          <p:nvPr/>
        </p:nvSpPr>
        <p:spPr>
          <a:xfrm>
            <a:off x="261535" y="2554741"/>
            <a:ext cx="1125607" cy="5539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marL="0" marR="0" lvl="0" indent="0" algn="l" defTabSz="1218956" rtl="0" eaLnBrk="1" fontAlgn="auto" latinLnBrk="0" hangingPunct="1">
              <a:lnSpc>
                <a:spcPct val="100000"/>
              </a:lnSpc>
              <a:spcBef>
                <a:spcPts val="1450"/>
              </a:spcBef>
              <a:spcAft>
                <a:spcPts val="0"/>
              </a:spcAft>
              <a:buClrTx/>
              <a:buSzPct val="100000"/>
              <a:buFontTx/>
              <a:buNone/>
              <a:tabLst/>
              <a:defRPr/>
            </a:pPr>
            <a:r>
              <a:rPr kumimoji="0" lang="en-US" sz="1200" b="0" i="0" u="none" strike="noStrike" kern="0" cap="none" spc="0" normalizeH="0" baseline="0" noProof="0" dirty="0">
                <a:ln>
                  <a:noFill/>
                </a:ln>
                <a:solidFill>
                  <a:srgbClr val="A56EFF"/>
                </a:solidFill>
                <a:effectLst/>
                <a:uLnTx/>
                <a:uFillTx/>
                <a:latin typeface="IBM Plex Sans" panose="020B0503050203000203" pitchFamily="34" charset="0"/>
                <a:ea typeface="+mn-ea"/>
                <a:cs typeface="+mn-cs"/>
                <a:sym typeface="IBM Plex Sans Light"/>
              </a:rPr>
              <a:t>Examples of the application of Generative AI</a:t>
            </a:r>
          </a:p>
        </p:txBody>
      </p:sp>
      <p:sp>
        <p:nvSpPr>
          <p:cNvPr id="153" name="TextBox 152">
            <a:extLst>
              <a:ext uri="{FF2B5EF4-FFF2-40B4-BE49-F238E27FC236}">
                <a16:creationId xmlns:a16="http://schemas.microsoft.com/office/drawing/2014/main" id="{3FBA3640-36AE-BE15-4B9D-C36913A6ECA1}"/>
              </a:ext>
            </a:extLst>
          </p:cNvPr>
          <p:cNvSpPr txBox="1"/>
          <p:nvPr/>
        </p:nvSpPr>
        <p:spPr>
          <a:xfrm>
            <a:off x="927343" y="3711962"/>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0" marR="0" lvl="0" indent="0" algn="l" defTabSz="1218956" rtl="0" eaLnBrk="1" fontAlgn="auto" latinLnBrk="0" hangingPunct="1">
              <a:lnSpc>
                <a:spcPct val="100000"/>
              </a:lnSpc>
              <a:spcBef>
                <a:spcPts val="1450"/>
              </a:spcBef>
              <a:spcAft>
                <a:spcPts val="0"/>
              </a:spcAft>
              <a:buClrTx/>
              <a:buSzPct val="100000"/>
              <a:buFontTx/>
              <a:buNone/>
              <a:tabLst/>
              <a:defRPr/>
            </a:pPr>
            <a:endParaRPr kumimoji="0" lang="en-US" sz="18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pic>
        <p:nvPicPr>
          <p:cNvPr id="193" name="Graphic 192">
            <a:extLst>
              <a:ext uri="{FF2B5EF4-FFF2-40B4-BE49-F238E27FC236}">
                <a16:creationId xmlns:a16="http://schemas.microsoft.com/office/drawing/2014/main" id="{FBA8131A-2A64-CC26-E4E7-9336E92A6E9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25954" y="837194"/>
            <a:ext cx="318664" cy="318664"/>
          </a:xfrm>
          <a:prstGeom prst="rect">
            <a:avLst/>
          </a:prstGeom>
        </p:spPr>
      </p:pic>
      <p:pic>
        <p:nvPicPr>
          <p:cNvPr id="194" name="Graphic 193">
            <a:extLst>
              <a:ext uri="{FF2B5EF4-FFF2-40B4-BE49-F238E27FC236}">
                <a16:creationId xmlns:a16="http://schemas.microsoft.com/office/drawing/2014/main" id="{BF3F0FD0-B917-8979-CAB7-22D48B44DC1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8682" y="837194"/>
            <a:ext cx="318664" cy="318664"/>
          </a:xfrm>
          <a:prstGeom prst="rect">
            <a:avLst/>
          </a:prstGeom>
        </p:spPr>
      </p:pic>
      <p:pic>
        <p:nvPicPr>
          <p:cNvPr id="195" name="Graphic 194">
            <a:extLst>
              <a:ext uri="{FF2B5EF4-FFF2-40B4-BE49-F238E27FC236}">
                <a16:creationId xmlns:a16="http://schemas.microsoft.com/office/drawing/2014/main" id="{BF5F9603-CB59-94EB-1635-017A8954620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062893" y="837305"/>
            <a:ext cx="320870" cy="320870"/>
          </a:xfrm>
          <a:prstGeom prst="rect">
            <a:avLst/>
          </a:prstGeom>
        </p:spPr>
      </p:pic>
      <p:sp>
        <p:nvSpPr>
          <p:cNvPr id="3" name="TextBox 2">
            <a:extLst>
              <a:ext uri="{FF2B5EF4-FFF2-40B4-BE49-F238E27FC236}">
                <a16:creationId xmlns:a16="http://schemas.microsoft.com/office/drawing/2014/main" id="{B2595CD6-1FC7-F1C1-E0D4-E3F7612B2234}"/>
              </a:ext>
            </a:extLst>
          </p:cNvPr>
          <p:cNvSpPr txBox="1"/>
          <p:nvPr/>
        </p:nvSpPr>
        <p:spPr>
          <a:xfrm>
            <a:off x="1773611" y="1632926"/>
            <a:ext cx="989871"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defPPr>
              <a:defRPr lang="en-US"/>
            </a:defPPr>
            <a:lvl1pPr defTabSz="2438400">
              <a:spcBef>
                <a:spcPts val="2900"/>
              </a:spcBef>
              <a:buSzPct val="100000"/>
              <a:defRPr sz="2000" kern="0">
                <a:latin typeface="IBM Plex Sans" panose="020B0503050203000203" pitchFamily="34" charset="0"/>
                <a:ea typeface="+mj-ea"/>
                <a:cs typeface="+mj-cs"/>
              </a:defRPr>
            </a:lvl1pPr>
          </a:lstStyle>
          <a:p>
            <a:pPr marL="0" marR="0" lvl="0" indent="0" algn="l" defTabSz="1218956" rtl="0" eaLnBrk="1" fontAlgn="auto" latinLnBrk="0" hangingPunct="1">
              <a:lnSpc>
                <a:spcPct val="100000"/>
              </a:lnSpc>
              <a:spcBef>
                <a:spcPts val="145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rPr>
              <a:t>HR strategy </a:t>
            </a:r>
            <a:br>
              <a:rPr kumimoji="0" lang="en-US" sz="10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rPr>
            </a:br>
            <a:r>
              <a:rPr kumimoji="0" lang="en-US" sz="10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rPr>
              <a:t>and planning</a:t>
            </a:r>
          </a:p>
        </p:txBody>
      </p:sp>
      <p:sp>
        <p:nvSpPr>
          <p:cNvPr id="4" name="TextBox 3">
            <a:extLst>
              <a:ext uri="{FF2B5EF4-FFF2-40B4-BE49-F238E27FC236}">
                <a16:creationId xmlns:a16="http://schemas.microsoft.com/office/drawing/2014/main" id="{5048C04C-61B9-D66E-B6FE-B200F7B3A34E}"/>
              </a:ext>
            </a:extLst>
          </p:cNvPr>
          <p:cNvSpPr txBox="1"/>
          <p:nvPr/>
        </p:nvSpPr>
        <p:spPr>
          <a:xfrm>
            <a:off x="3078064" y="1632926"/>
            <a:ext cx="989871"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defPPr>
              <a:defRPr lang="en-US"/>
            </a:defPPr>
            <a:lvl1pPr defTabSz="2438400">
              <a:spcBef>
                <a:spcPts val="2900"/>
              </a:spcBef>
              <a:buSzPct val="100000"/>
              <a:defRPr sz="2000" kern="0">
                <a:latin typeface="IBM Plex Sans" panose="020B0503050203000203" pitchFamily="34" charset="0"/>
                <a:ea typeface="+mj-ea"/>
                <a:cs typeface="+mj-cs"/>
              </a:defRPr>
            </a:lvl1pPr>
          </a:lstStyle>
          <a:p>
            <a:pPr marL="0" marR="0" lvl="0" indent="0" algn="l" defTabSz="1218956" rtl="0" eaLnBrk="1" fontAlgn="auto" latinLnBrk="0" hangingPunct="1">
              <a:lnSpc>
                <a:spcPct val="100000"/>
              </a:lnSpc>
              <a:spcBef>
                <a:spcPts val="145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rPr>
              <a:t>Recruiting and resourcing</a:t>
            </a:r>
          </a:p>
        </p:txBody>
      </p:sp>
      <p:cxnSp>
        <p:nvCxnSpPr>
          <p:cNvPr id="5" name="Straight Connector 4">
            <a:extLst>
              <a:ext uri="{FF2B5EF4-FFF2-40B4-BE49-F238E27FC236}">
                <a16:creationId xmlns:a16="http://schemas.microsoft.com/office/drawing/2014/main" id="{C97E6CED-C58F-A437-15D7-BBE799D51A51}"/>
              </a:ext>
            </a:extLst>
          </p:cNvPr>
          <p:cNvCxnSpPr>
            <a:cxnSpLocks/>
          </p:cNvCxnSpPr>
          <p:nvPr/>
        </p:nvCxnSpPr>
        <p:spPr bwMode="auto">
          <a:xfrm>
            <a:off x="9443039" y="1484097"/>
            <a:ext cx="0" cy="4635657"/>
          </a:xfrm>
          <a:prstGeom prst="line">
            <a:avLst/>
          </a:prstGeom>
          <a:ln w="12700">
            <a:solidFill>
              <a:schemeClr val="bg1">
                <a:lumMod val="50000"/>
              </a:schemeClr>
            </a:solidFill>
            <a:prstDash val="lgDash"/>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79C0B8FA-B4E6-E497-640A-22F81AA9886B}"/>
              </a:ext>
            </a:extLst>
          </p:cNvPr>
          <p:cNvCxnSpPr>
            <a:cxnSpLocks/>
          </p:cNvCxnSpPr>
          <p:nvPr/>
        </p:nvCxnSpPr>
        <p:spPr bwMode="auto">
          <a:xfrm>
            <a:off x="2920773" y="1484097"/>
            <a:ext cx="0" cy="4635657"/>
          </a:xfrm>
          <a:prstGeom prst="line">
            <a:avLst/>
          </a:prstGeom>
          <a:ln w="12700">
            <a:solidFill>
              <a:schemeClr val="bg1">
                <a:lumMod val="50000"/>
              </a:schemeClr>
            </a:solidFill>
            <a:prstDash val="lgDash"/>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3DFF7FE5-E05C-676E-FB52-41603413D8AD}"/>
              </a:ext>
            </a:extLst>
          </p:cNvPr>
          <p:cNvCxnSpPr>
            <a:cxnSpLocks/>
          </p:cNvCxnSpPr>
          <p:nvPr/>
        </p:nvCxnSpPr>
        <p:spPr bwMode="auto">
          <a:xfrm>
            <a:off x="1616320" y="1484097"/>
            <a:ext cx="0" cy="4635657"/>
          </a:xfrm>
          <a:prstGeom prst="line">
            <a:avLst/>
          </a:prstGeom>
          <a:ln w="1270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5D486544-EDD0-9162-3353-2452810D895A}"/>
              </a:ext>
            </a:extLst>
          </p:cNvPr>
          <p:cNvCxnSpPr>
            <a:cxnSpLocks/>
          </p:cNvCxnSpPr>
          <p:nvPr/>
        </p:nvCxnSpPr>
        <p:spPr bwMode="auto">
          <a:xfrm>
            <a:off x="6834132" y="1484097"/>
            <a:ext cx="0" cy="4635657"/>
          </a:xfrm>
          <a:prstGeom prst="line">
            <a:avLst/>
          </a:prstGeom>
          <a:ln w="1270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C105F3B7-B39C-C841-4311-551E60D1A1D8}"/>
              </a:ext>
            </a:extLst>
          </p:cNvPr>
          <p:cNvCxnSpPr>
            <a:cxnSpLocks/>
          </p:cNvCxnSpPr>
          <p:nvPr/>
        </p:nvCxnSpPr>
        <p:spPr bwMode="auto">
          <a:xfrm>
            <a:off x="8138586" y="1484097"/>
            <a:ext cx="0" cy="4635657"/>
          </a:xfrm>
          <a:prstGeom prst="line">
            <a:avLst/>
          </a:prstGeom>
          <a:ln w="1270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DE1031DA-E552-4133-1A45-088553003698}"/>
              </a:ext>
            </a:extLst>
          </p:cNvPr>
          <p:cNvCxnSpPr>
            <a:cxnSpLocks/>
          </p:cNvCxnSpPr>
          <p:nvPr/>
        </p:nvCxnSpPr>
        <p:spPr bwMode="auto">
          <a:xfrm>
            <a:off x="10747492" y="1484097"/>
            <a:ext cx="0" cy="4635657"/>
          </a:xfrm>
          <a:prstGeom prst="line">
            <a:avLst/>
          </a:prstGeom>
          <a:ln w="1270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744E0B63-693A-CF56-B5B3-9B2A0195DFB8}"/>
              </a:ext>
            </a:extLst>
          </p:cNvPr>
          <p:cNvCxnSpPr>
            <a:cxnSpLocks/>
          </p:cNvCxnSpPr>
          <p:nvPr/>
        </p:nvCxnSpPr>
        <p:spPr bwMode="auto">
          <a:xfrm>
            <a:off x="4225226" y="1484097"/>
            <a:ext cx="0" cy="4635657"/>
          </a:xfrm>
          <a:prstGeom prst="line">
            <a:avLst/>
          </a:prstGeom>
          <a:ln w="1270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BB8508D7-4EE7-1EC6-1B25-F9A59D3108FF}"/>
              </a:ext>
            </a:extLst>
          </p:cNvPr>
          <p:cNvCxnSpPr>
            <a:cxnSpLocks/>
          </p:cNvCxnSpPr>
          <p:nvPr/>
        </p:nvCxnSpPr>
        <p:spPr bwMode="auto">
          <a:xfrm>
            <a:off x="5529679" y="1484097"/>
            <a:ext cx="0" cy="4635657"/>
          </a:xfrm>
          <a:prstGeom prst="line">
            <a:avLst/>
          </a:prstGeom>
          <a:ln w="12700">
            <a:solidFill>
              <a:schemeClr val="bg1">
                <a:lumMod val="50000"/>
              </a:schemeClr>
            </a:solidFill>
            <a:prstDash val="lg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 name="TextBox 27">
            <a:extLst>
              <a:ext uri="{FF2B5EF4-FFF2-40B4-BE49-F238E27FC236}">
                <a16:creationId xmlns:a16="http://schemas.microsoft.com/office/drawing/2014/main" id="{766126A4-3BA2-440C-C07C-2F6694F88660}"/>
              </a:ext>
            </a:extLst>
          </p:cNvPr>
          <p:cNvSpPr txBox="1"/>
          <p:nvPr/>
        </p:nvSpPr>
        <p:spPr>
          <a:xfrm>
            <a:off x="1630426" y="1202170"/>
            <a:ext cx="1288205" cy="2154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defPPr>
              <a:defRPr lang="en-US"/>
            </a:defPPr>
            <a:lvl1pPr defTabSz="2438400">
              <a:spcBef>
                <a:spcPts val="2900"/>
              </a:spcBef>
              <a:buSzPct val="100000"/>
              <a:defRPr sz="2400" kern="0">
                <a:solidFill>
                  <a:schemeClr val="accent2"/>
                </a:solidFill>
                <a:latin typeface="IBM Plex Sans" panose="020B0503050203000203" pitchFamily="34" charset="0"/>
                <a:ea typeface="+mj-ea"/>
                <a:cs typeface="+mj-cs"/>
              </a:defRPr>
            </a:lvl1p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US" sz="1400" b="0" i="0" u="none" strike="noStrike" kern="0" cap="none" spc="0" normalizeH="0" baseline="0" noProof="0" dirty="0">
                <a:ln>
                  <a:noFill/>
                </a:ln>
                <a:solidFill>
                  <a:srgbClr val="A56EFF"/>
                </a:solidFill>
                <a:effectLst/>
                <a:uLnTx/>
                <a:uFillTx/>
                <a:latin typeface="IBM Plex Sans" panose="020B0503050203000203" pitchFamily="34" charset="0"/>
                <a:ea typeface="+mj-ea"/>
                <a:cs typeface="+mj-cs"/>
                <a:sym typeface="IBM Plex Sans Light"/>
              </a:rPr>
              <a:t>Anticipate</a:t>
            </a:r>
          </a:p>
        </p:txBody>
      </p:sp>
      <p:grpSp>
        <p:nvGrpSpPr>
          <p:cNvPr id="253" name="Group 252">
            <a:extLst>
              <a:ext uri="{FF2B5EF4-FFF2-40B4-BE49-F238E27FC236}">
                <a16:creationId xmlns:a16="http://schemas.microsoft.com/office/drawing/2014/main" id="{BE24506F-A5A0-0D84-A3B4-15F919716067}"/>
              </a:ext>
            </a:extLst>
          </p:cNvPr>
          <p:cNvGrpSpPr/>
          <p:nvPr/>
        </p:nvGrpSpPr>
        <p:grpSpPr>
          <a:xfrm>
            <a:off x="3078063" y="2364680"/>
            <a:ext cx="6290898" cy="1560376"/>
            <a:chOff x="6156927" y="4729081"/>
            <a:chExt cx="12583435" cy="3121160"/>
          </a:xfrm>
        </p:grpSpPr>
        <p:sp>
          <p:nvSpPr>
            <p:cNvPr id="70" name="TextBox 69">
              <a:extLst>
                <a:ext uri="{FF2B5EF4-FFF2-40B4-BE49-F238E27FC236}">
                  <a16:creationId xmlns:a16="http://schemas.microsoft.com/office/drawing/2014/main" id="{43A5D2A7-762F-CC2B-7009-9E9F0FBA994B}"/>
                </a:ext>
              </a:extLst>
            </p:cNvPr>
            <p:cNvSpPr txBox="1"/>
            <p:nvPr/>
          </p:nvSpPr>
          <p:spPr>
            <a:xfrm>
              <a:off x="16593908" y="5109255"/>
              <a:ext cx="2146454" cy="64641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a:spAutoFit/>
            </a:bodyPr>
            <a:lstStyle>
              <a:defPPr>
                <a:defRPr lang="en-US"/>
              </a:defPPr>
              <a:lvl1pPr marR="0" lvl="0" indent="0" defTabSz="1829287" fontAlgn="auto">
                <a:lnSpc>
                  <a:spcPct val="100000"/>
                </a:lnSpc>
                <a:spcBef>
                  <a:spcPts val="0"/>
                </a:spcBef>
                <a:spcAft>
                  <a:spcPts val="0"/>
                </a:spcAft>
                <a:buClrTx/>
                <a:buSzTx/>
                <a:buFontTx/>
                <a:buNone/>
                <a:tabLst/>
                <a:defRPr sz="1800" kern="0">
                  <a:solidFill>
                    <a:srgbClr val="000000"/>
                  </a:solidFill>
                  <a:latin typeface="IBM Plex Sans Light"/>
                </a:defRPr>
              </a:lvl1pPr>
            </a:lstStyle>
            <a:p>
              <a:pPr marL="0" marR="0" lvl="0" indent="0" algn="l" defTabSz="91446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a:rPr>
                <a:t>Promotions Cycle (</a:t>
              </a:r>
              <a:r>
                <a:rPr kumimoji="0" lang="en-US" sz="900" b="0" i="0" u="none" strike="noStrike" kern="0" cap="none" spc="0" normalizeH="0" baseline="0" noProof="0" dirty="0" err="1">
                  <a:ln>
                    <a:noFill/>
                  </a:ln>
                  <a:solidFill>
                    <a:srgbClr val="000000"/>
                  </a:solidFill>
                  <a:effectLst/>
                  <a:uLnTx/>
                  <a:uFillTx/>
                  <a:latin typeface="IBM Plex Sans Light"/>
                  <a:ea typeface="+mn-ea"/>
                  <a:cs typeface="+mn-cs"/>
                  <a:sym typeface="IBM Plex Sans"/>
                </a:rPr>
                <a:t>HiRo</a:t>
              </a: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a:rPr>
                <a:t>)</a:t>
              </a:r>
            </a:p>
          </p:txBody>
        </p:sp>
        <p:sp>
          <p:nvSpPr>
            <p:cNvPr id="73" name="Rectangle 72">
              <a:extLst>
                <a:ext uri="{FF2B5EF4-FFF2-40B4-BE49-F238E27FC236}">
                  <a16:creationId xmlns:a16="http://schemas.microsoft.com/office/drawing/2014/main" id="{01009635-2D32-F342-B12A-EA34F2CC8599}"/>
                </a:ext>
              </a:extLst>
            </p:cNvPr>
            <p:cNvSpPr/>
            <p:nvPr/>
          </p:nvSpPr>
          <p:spPr bwMode="auto">
            <a:xfrm>
              <a:off x="16593908" y="4729081"/>
              <a:ext cx="237600" cy="237600"/>
            </a:xfrm>
            <a:prstGeom prst="rect">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85" name="TextBox 84">
              <a:extLst>
                <a:ext uri="{FF2B5EF4-FFF2-40B4-BE49-F238E27FC236}">
                  <a16:creationId xmlns:a16="http://schemas.microsoft.com/office/drawing/2014/main" id="{BC9BD43E-4F95-A760-5F2B-5829C4453DE7}"/>
                </a:ext>
              </a:extLst>
            </p:cNvPr>
            <p:cNvSpPr txBox="1"/>
            <p:nvPr/>
          </p:nvSpPr>
          <p:spPr>
            <a:xfrm>
              <a:off x="13984663" y="5109255"/>
              <a:ext cx="2146454" cy="92345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a:spAutoFit/>
            </a:body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sym typeface="IBM Plex Sans"/>
                </a:rPr>
                <a:t>Learning Management</a:t>
              </a:r>
            </a:p>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sym typeface="IBM Plex Sans"/>
                </a:rPr>
                <a:t>(</a:t>
              </a:r>
              <a:r>
                <a:rPr kumimoji="0" lang="en-US" sz="900" b="0" i="0" u="none" strike="noStrike" kern="1200" cap="none" spc="0" normalizeH="0" baseline="0" noProof="0" dirty="0" err="1">
                  <a:ln>
                    <a:noFill/>
                  </a:ln>
                  <a:solidFill>
                    <a:srgbClr val="000000"/>
                  </a:solidFill>
                  <a:effectLst/>
                  <a:uLnTx/>
                  <a:uFillTx/>
                  <a:latin typeface="IBM Plex Sans Light"/>
                  <a:ea typeface="+mn-ea"/>
                  <a:cs typeface="+mn-cs"/>
                  <a:sym typeface="IBM Plex Sans"/>
                </a:rPr>
                <a:t>cHaRlie</a:t>
              </a:r>
              <a:r>
                <a:rPr kumimoji="0" lang="en-US" sz="900" b="0" i="0" u="none" strike="noStrike" kern="1200" cap="none" spc="0" normalizeH="0" baseline="0" noProof="0" dirty="0">
                  <a:ln>
                    <a:noFill/>
                  </a:ln>
                  <a:solidFill>
                    <a:srgbClr val="000000"/>
                  </a:solidFill>
                  <a:effectLst/>
                  <a:uLnTx/>
                  <a:uFillTx/>
                  <a:latin typeface="IBM Plex Sans Light"/>
                  <a:ea typeface="+mn-ea"/>
                  <a:cs typeface="+mn-cs"/>
                  <a:sym typeface="IBM Plex Sans"/>
                </a:rPr>
                <a:t>)</a:t>
              </a:r>
            </a:p>
          </p:txBody>
        </p:sp>
        <p:sp>
          <p:nvSpPr>
            <p:cNvPr id="87" name="Rectangle 86">
              <a:extLst>
                <a:ext uri="{FF2B5EF4-FFF2-40B4-BE49-F238E27FC236}">
                  <a16:creationId xmlns:a16="http://schemas.microsoft.com/office/drawing/2014/main" id="{D4647D41-E5BC-ED24-54A1-1111CA4251E3}"/>
                </a:ext>
              </a:extLst>
            </p:cNvPr>
            <p:cNvSpPr/>
            <p:nvPr/>
          </p:nvSpPr>
          <p:spPr bwMode="auto">
            <a:xfrm>
              <a:off x="13984663" y="4729081"/>
              <a:ext cx="237600" cy="237600"/>
            </a:xfrm>
            <a:prstGeom prst="rect">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161" name="TextBox 160">
              <a:extLst>
                <a:ext uri="{FF2B5EF4-FFF2-40B4-BE49-F238E27FC236}">
                  <a16:creationId xmlns:a16="http://schemas.microsoft.com/office/drawing/2014/main" id="{BFE5C289-67F8-D044-D6B5-E8E1537F7060}"/>
                </a:ext>
              </a:extLst>
            </p:cNvPr>
            <p:cNvSpPr txBox="1"/>
            <p:nvPr/>
          </p:nvSpPr>
          <p:spPr>
            <a:xfrm>
              <a:off x="8766173" y="5109255"/>
              <a:ext cx="2146454" cy="64641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a:spAutoFit/>
            </a:body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sym typeface="IBM Plex Sans"/>
                </a:rPr>
                <a:t>Travel Audit</a:t>
              </a:r>
            </a:p>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sym typeface="IBM Plex Sans"/>
                </a:rPr>
                <a:t>(</a:t>
              </a:r>
              <a:r>
                <a:rPr kumimoji="0" lang="en-US" sz="900" b="0" i="0" u="none" strike="noStrike" kern="1200" cap="none" spc="0" normalizeH="0" baseline="0" noProof="0" dirty="0" err="1">
                  <a:ln>
                    <a:noFill/>
                  </a:ln>
                  <a:solidFill>
                    <a:srgbClr val="000000"/>
                  </a:solidFill>
                  <a:effectLst/>
                  <a:uLnTx/>
                  <a:uFillTx/>
                  <a:latin typeface="IBM Plex Sans Light"/>
                  <a:ea typeface="+mn-ea"/>
                  <a:cs typeface="+mn-cs"/>
                  <a:sym typeface="IBM Plex Sans"/>
                </a:rPr>
                <a:t>sHeRlock</a:t>
              </a:r>
              <a:r>
                <a:rPr kumimoji="0" lang="en-US" sz="900" b="0" i="0" u="none" strike="noStrike" kern="1200" cap="none" spc="0" normalizeH="0" baseline="0" noProof="0" dirty="0">
                  <a:ln>
                    <a:noFill/>
                  </a:ln>
                  <a:solidFill>
                    <a:srgbClr val="000000"/>
                  </a:solidFill>
                  <a:effectLst/>
                  <a:uLnTx/>
                  <a:uFillTx/>
                  <a:latin typeface="IBM Plex Sans Light"/>
                  <a:ea typeface="+mn-ea"/>
                  <a:cs typeface="+mn-cs"/>
                  <a:sym typeface="IBM Plex Sans"/>
                </a:rPr>
                <a:t>)</a:t>
              </a:r>
            </a:p>
          </p:txBody>
        </p:sp>
        <p:sp>
          <p:nvSpPr>
            <p:cNvPr id="162" name="Rectangle 161">
              <a:extLst>
                <a:ext uri="{FF2B5EF4-FFF2-40B4-BE49-F238E27FC236}">
                  <a16:creationId xmlns:a16="http://schemas.microsoft.com/office/drawing/2014/main" id="{BCD98ACE-CEC1-01A2-50BA-6B5F024BF474}"/>
                </a:ext>
              </a:extLst>
            </p:cNvPr>
            <p:cNvSpPr/>
            <p:nvPr/>
          </p:nvSpPr>
          <p:spPr bwMode="auto">
            <a:xfrm>
              <a:off x="8766173" y="4729081"/>
              <a:ext cx="237600" cy="237600"/>
            </a:xfrm>
            <a:prstGeom prst="rect">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175" name="TextBox 174">
              <a:extLst>
                <a:ext uri="{FF2B5EF4-FFF2-40B4-BE49-F238E27FC236}">
                  <a16:creationId xmlns:a16="http://schemas.microsoft.com/office/drawing/2014/main" id="{4D10219D-B3EC-4D8F-E121-DAE9E572FDDA}"/>
                </a:ext>
              </a:extLst>
            </p:cNvPr>
            <p:cNvSpPr txBox="1"/>
            <p:nvPr/>
          </p:nvSpPr>
          <p:spPr>
            <a:xfrm>
              <a:off x="6156927" y="5109255"/>
              <a:ext cx="2146454" cy="92345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a:spAutoFit/>
            </a:body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sym typeface="IBM Plex Sans"/>
                </a:rPr>
                <a:t>Job Requisition &amp; Posting (</a:t>
              </a:r>
              <a:r>
                <a:rPr kumimoji="0" lang="en-US" sz="900" b="0" i="0" u="none" strike="noStrike" kern="1200" cap="none" spc="0" normalizeH="0" baseline="0" noProof="0" dirty="0" err="1">
                  <a:ln>
                    <a:noFill/>
                  </a:ln>
                  <a:solidFill>
                    <a:srgbClr val="000000"/>
                  </a:solidFill>
                  <a:effectLst/>
                  <a:uLnTx/>
                  <a:uFillTx/>
                  <a:latin typeface="IBM Plex Sans Light"/>
                  <a:ea typeface="+mn-ea"/>
                  <a:cs typeface="+mn-cs"/>
                  <a:sym typeface="IBM Plex Sans"/>
                </a:rPr>
                <a:t>HeRmione</a:t>
              </a:r>
              <a:r>
                <a:rPr kumimoji="0" lang="en-US" sz="900" b="0" i="0" u="none" strike="noStrike" kern="1200" cap="none" spc="0" normalizeH="0" baseline="0" noProof="0" dirty="0">
                  <a:ln>
                    <a:noFill/>
                  </a:ln>
                  <a:solidFill>
                    <a:srgbClr val="000000"/>
                  </a:solidFill>
                  <a:effectLst/>
                  <a:uLnTx/>
                  <a:uFillTx/>
                  <a:latin typeface="IBM Plex Sans Light"/>
                  <a:ea typeface="+mn-ea"/>
                  <a:cs typeface="+mn-cs"/>
                  <a:sym typeface="IBM Plex Sans"/>
                </a:rPr>
                <a:t>)</a:t>
              </a:r>
            </a:p>
          </p:txBody>
        </p:sp>
        <p:sp>
          <p:nvSpPr>
            <p:cNvPr id="176" name="Rectangle 175">
              <a:extLst>
                <a:ext uri="{FF2B5EF4-FFF2-40B4-BE49-F238E27FC236}">
                  <a16:creationId xmlns:a16="http://schemas.microsoft.com/office/drawing/2014/main" id="{8FE6FB6E-5F4C-C473-547E-143A931AF8F1}"/>
                </a:ext>
              </a:extLst>
            </p:cNvPr>
            <p:cNvSpPr/>
            <p:nvPr/>
          </p:nvSpPr>
          <p:spPr bwMode="auto">
            <a:xfrm>
              <a:off x="6156928" y="4729081"/>
              <a:ext cx="237600" cy="237600"/>
            </a:xfrm>
            <a:prstGeom prst="rect">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177" name="TextBox 176">
              <a:extLst>
                <a:ext uri="{FF2B5EF4-FFF2-40B4-BE49-F238E27FC236}">
                  <a16:creationId xmlns:a16="http://schemas.microsoft.com/office/drawing/2014/main" id="{B1E562F3-C991-3B1D-C740-D06F85394038}"/>
                </a:ext>
              </a:extLst>
            </p:cNvPr>
            <p:cNvSpPr txBox="1"/>
            <p:nvPr/>
          </p:nvSpPr>
          <p:spPr>
            <a:xfrm>
              <a:off x="6156927" y="6649756"/>
              <a:ext cx="2146452" cy="120048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a:spAutoFit/>
            </a:bodyPr>
            <a:lstStyle>
              <a:defPPr>
                <a:defRPr lang="en-US"/>
              </a:defPPr>
              <a:lvl1pPr marR="0" lvl="0" indent="0" defTabSz="1829287" fontAlgn="auto">
                <a:lnSpc>
                  <a:spcPct val="100000"/>
                </a:lnSpc>
                <a:spcBef>
                  <a:spcPts val="0"/>
                </a:spcBef>
                <a:spcAft>
                  <a:spcPts val="0"/>
                </a:spcAft>
                <a:buClrTx/>
                <a:buSzTx/>
                <a:buFontTx/>
                <a:buNone/>
                <a:tabLst/>
                <a:defRPr sz="1800" kern="0">
                  <a:solidFill>
                    <a:srgbClr val="000000"/>
                  </a:solidFill>
                  <a:latin typeface="IBM Plex Sans Light"/>
                </a:defRPr>
              </a:lvl1pPr>
            </a:lstStyle>
            <a:p>
              <a:pPr marL="0" marR="0" lvl="0" indent="0" algn="l" defTabSz="91446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a:rPr>
                <a:t>Recruitment Tracking - Colorado </a:t>
              </a:r>
            </a:p>
            <a:p>
              <a:pPr marL="0" marR="0" lvl="0" indent="0" algn="l" defTabSz="91446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a:rPr>
                <a:t>(</a:t>
              </a:r>
              <a:r>
                <a:rPr kumimoji="0" lang="en-US" sz="900" b="0" i="0" u="none" strike="noStrike" kern="0" cap="none" spc="0" normalizeH="0" baseline="0" noProof="0" dirty="0" err="1">
                  <a:ln>
                    <a:noFill/>
                  </a:ln>
                  <a:solidFill>
                    <a:srgbClr val="000000"/>
                  </a:solidFill>
                  <a:effectLst/>
                  <a:uLnTx/>
                  <a:uFillTx/>
                  <a:latin typeface="IBM Plex Sans Light"/>
                  <a:ea typeface="+mn-ea"/>
                  <a:cs typeface="+mn-cs"/>
                  <a:sym typeface="IBM Plex Sans"/>
                </a:rPr>
                <a:t>HaRper</a:t>
              </a: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a:rPr>
                <a:t>)</a:t>
              </a:r>
            </a:p>
          </p:txBody>
        </p:sp>
        <p:sp>
          <p:nvSpPr>
            <p:cNvPr id="178" name="Rectangle 177">
              <a:extLst>
                <a:ext uri="{FF2B5EF4-FFF2-40B4-BE49-F238E27FC236}">
                  <a16:creationId xmlns:a16="http://schemas.microsoft.com/office/drawing/2014/main" id="{C375730E-143D-7307-54A3-189BDE61C680}"/>
                </a:ext>
              </a:extLst>
            </p:cNvPr>
            <p:cNvSpPr/>
            <p:nvPr/>
          </p:nvSpPr>
          <p:spPr bwMode="auto">
            <a:xfrm>
              <a:off x="6156928" y="6299289"/>
              <a:ext cx="237600" cy="237600"/>
            </a:xfrm>
            <a:prstGeom prst="rect">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IBM Plex Sans Light"/>
                <a:ea typeface="+mn-ea"/>
                <a:cs typeface="+mn-cs"/>
              </a:endParaRPr>
            </a:p>
          </p:txBody>
        </p:sp>
      </p:grpSp>
      <p:grpSp>
        <p:nvGrpSpPr>
          <p:cNvPr id="251" name="Group 250">
            <a:extLst>
              <a:ext uri="{FF2B5EF4-FFF2-40B4-BE49-F238E27FC236}">
                <a16:creationId xmlns:a16="http://schemas.microsoft.com/office/drawing/2014/main" id="{0AC19046-E74F-AAF7-4FE1-54194D0603DE}"/>
              </a:ext>
            </a:extLst>
          </p:cNvPr>
          <p:cNvGrpSpPr/>
          <p:nvPr/>
        </p:nvGrpSpPr>
        <p:grpSpPr>
          <a:xfrm>
            <a:off x="1773611" y="2364679"/>
            <a:ext cx="7509237" cy="2823677"/>
            <a:chOff x="3547683" y="4729081"/>
            <a:chExt cx="15020429" cy="5648089"/>
          </a:xfrm>
        </p:grpSpPr>
        <p:sp>
          <p:nvSpPr>
            <p:cNvPr id="180" name="TextBox 179">
              <a:extLst>
                <a:ext uri="{FF2B5EF4-FFF2-40B4-BE49-F238E27FC236}">
                  <a16:creationId xmlns:a16="http://schemas.microsoft.com/office/drawing/2014/main" id="{5E8D224D-B681-AA88-623B-8DF708A094BE}"/>
                </a:ext>
              </a:extLst>
            </p:cNvPr>
            <p:cNvSpPr txBox="1"/>
            <p:nvPr/>
          </p:nvSpPr>
          <p:spPr>
            <a:xfrm>
              <a:off x="3547683" y="5109254"/>
              <a:ext cx="2146453" cy="92345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a:spAutoFit/>
            </a:body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sym typeface="IBM Plex Sans"/>
                </a:rPr>
                <a:t>Mergers &amp; Acquisitions</a:t>
              </a:r>
            </a:p>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sym typeface="IBM Plex Sans"/>
                </a:rPr>
                <a:t>(</a:t>
              </a:r>
              <a:r>
                <a:rPr kumimoji="0" lang="en-US" sz="900" b="0" i="0" u="none" strike="noStrike" kern="1200" cap="none" spc="0" normalizeH="0" baseline="0" noProof="0" dirty="0" err="1">
                  <a:ln>
                    <a:noFill/>
                  </a:ln>
                  <a:solidFill>
                    <a:srgbClr val="000000"/>
                  </a:solidFill>
                  <a:effectLst/>
                  <a:uLnTx/>
                  <a:uFillTx/>
                  <a:latin typeface="IBM Plex Sans Light"/>
                  <a:ea typeface="+mn-ea"/>
                  <a:cs typeface="+mn-cs"/>
                  <a:sym typeface="IBM Plex Sans"/>
                </a:rPr>
                <a:t>HaRmony</a:t>
              </a:r>
              <a:r>
                <a:rPr kumimoji="0" lang="en-US" sz="900" b="0" i="0" u="none" strike="noStrike" kern="1200" cap="none" spc="0" normalizeH="0" baseline="0" noProof="0" dirty="0">
                  <a:ln>
                    <a:noFill/>
                  </a:ln>
                  <a:solidFill>
                    <a:srgbClr val="000000"/>
                  </a:solidFill>
                  <a:effectLst/>
                  <a:uLnTx/>
                  <a:uFillTx/>
                  <a:latin typeface="IBM Plex Sans Light"/>
                  <a:ea typeface="+mn-ea"/>
                  <a:cs typeface="+mn-cs"/>
                  <a:sym typeface="IBM Plex Sans"/>
                </a:rPr>
                <a:t>)</a:t>
              </a:r>
            </a:p>
          </p:txBody>
        </p:sp>
        <p:sp>
          <p:nvSpPr>
            <p:cNvPr id="181" name="Rectangle 180">
              <a:extLst>
                <a:ext uri="{FF2B5EF4-FFF2-40B4-BE49-F238E27FC236}">
                  <a16:creationId xmlns:a16="http://schemas.microsoft.com/office/drawing/2014/main" id="{D7073D64-CE34-CF60-FEB8-3BA3B380F712}"/>
                </a:ext>
              </a:extLst>
            </p:cNvPr>
            <p:cNvSpPr/>
            <p:nvPr/>
          </p:nvSpPr>
          <p:spPr bwMode="auto">
            <a:xfrm>
              <a:off x="3547683" y="4729081"/>
              <a:ext cx="237600" cy="237600"/>
            </a:xfrm>
            <a:prstGeom prst="rect">
              <a:avLst/>
            </a:prstGeom>
            <a:solidFill>
              <a:schemeClr val="accent1">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77" name="TextBox 76">
              <a:extLst>
                <a:ext uri="{FF2B5EF4-FFF2-40B4-BE49-F238E27FC236}">
                  <a16:creationId xmlns:a16="http://schemas.microsoft.com/office/drawing/2014/main" id="{FF80C1F3-1E1A-A5F5-FD03-284B63DB813E}"/>
                </a:ext>
              </a:extLst>
            </p:cNvPr>
            <p:cNvSpPr txBox="1"/>
            <p:nvPr/>
          </p:nvSpPr>
          <p:spPr>
            <a:xfrm>
              <a:off x="16593907" y="6649755"/>
              <a:ext cx="1974205" cy="64641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a:spAutoFit/>
            </a:bodyPr>
            <a:lstStyle>
              <a:defPPr>
                <a:defRPr lang="en-US"/>
              </a:defPPr>
              <a:lvl1pPr marR="0" lvl="0" indent="0" defTabSz="1829287" fontAlgn="auto">
                <a:lnSpc>
                  <a:spcPct val="100000"/>
                </a:lnSpc>
                <a:spcBef>
                  <a:spcPts val="0"/>
                </a:spcBef>
                <a:spcAft>
                  <a:spcPts val="0"/>
                </a:spcAft>
                <a:buClrTx/>
                <a:buSzTx/>
                <a:buFontTx/>
                <a:buNone/>
                <a:tabLst/>
                <a:defRPr sz="1800" kern="0">
                  <a:solidFill>
                    <a:srgbClr val="000000"/>
                  </a:solidFill>
                  <a:latin typeface="IBM Plex Sans Light"/>
                </a:defRPr>
              </a:lvl1pPr>
            </a:lstStyle>
            <a:p>
              <a:pPr marL="0" marR="0" lvl="0" indent="0" algn="l" defTabSz="91446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a:rPr>
                <a:t>Skills Taxonomy</a:t>
              </a:r>
            </a:p>
            <a:p>
              <a:pPr marL="0" marR="0" lvl="0" indent="0" algn="l" defTabSz="91446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a:rPr>
                <a:t>(</a:t>
              </a:r>
              <a:r>
                <a:rPr kumimoji="0" lang="en-US" sz="900" b="0" i="0" u="none" strike="noStrike" kern="0" cap="none" spc="0" normalizeH="0" baseline="0" noProof="0" dirty="0" err="1">
                  <a:ln>
                    <a:noFill/>
                  </a:ln>
                  <a:solidFill>
                    <a:srgbClr val="000000"/>
                  </a:solidFill>
                  <a:effectLst/>
                  <a:uLnTx/>
                  <a:uFillTx/>
                  <a:latin typeface="IBM Plex Sans Light"/>
                  <a:ea typeface="+mn-ea"/>
                  <a:cs typeface="+mn-cs"/>
                  <a:sym typeface="IBM Plex Sans"/>
                </a:rPr>
                <a:t>HaRry</a:t>
              </a: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a:rPr>
                <a:t>)</a:t>
              </a:r>
            </a:p>
          </p:txBody>
        </p:sp>
        <p:sp>
          <p:nvSpPr>
            <p:cNvPr id="79" name="Rectangle 78">
              <a:extLst>
                <a:ext uri="{FF2B5EF4-FFF2-40B4-BE49-F238E27FC236}">
                  <a16:creationId xmlns:a16="http://schemas.microsoft.com/office/drawing/2014/main" id="{B82D2E0D-E4B4-C4E5-6EE9-0935C2231083}"/>
                </a:ext>
              </a:extLst>
            </p:cNvPr>
            <p:cNvSpPr/>
            <p:nvPr/>
          </p:nvSpPr>
          <p:spPr bwMode="auto">
            <a:xfrm>
              <a:off x="16593908" y="6299289"/>
              <a:ext cx="237600" cy="237600"/>
            </a:xfrm>
            <a:prstGeom prst="rect">
              <a:avLst/>
            </a:prstGeom>
            <a:solidFill>
              <a:schemeClr val="accent1">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218" name="TextBox 217">
              <a:extLst>
                <a:ext uri="{FF2B5EF4-FFF2-40B4-BE49-F238E27FC236}">
                  <a16:creationId xmlns:a16="http://schemas.microsoft.com/office/drawing/2014/main" id="{3D03F759-2380-EF8B-376A-5CB329C7FAAF}"/>
                </a:ext>
              </a:extLst>
            </p:cNvPr>
            <p:cNvSpPr txBox="1"/>
            <p:nvPr/>
          </p:nvSpPr>
          <p:spPr>
            <a:xfrm>
              <a:off x="16593907" y="8190255"/>
              <a:ext cx="1974205" cy="92345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a:spAutoFit/>
            </a:bodyPr>
            <a:lstStyle>
              <a:defPPr>
                <a:defRPr lang="en-US"/>
              </a:defPPr>
              <a:lvl1pPr marR="0" lvl="0" indent="0" defTabSz="1829287" fontAlgn="auto">
                <a:lnSpc>
                  <a:spcPct val="100000"/>
                </a:lnSpc>
                <a:spcBef>
                  <a:spcPts val="0"/>
                </a:spcBef>
                <a:spcAft>
                  <a:spcPts val="0"/>
                </a:spcAft>
                <a:buClrTx/>
                <a:buSzTx/>
                <a:buFontTx/>
                <a:buNone/>
                <a:tabLst/>
                <a:defRPr sz="1800" kern="0">
                  <a:solidFill>
                    <a:srgbClr val="000000"/>
                  </a:solidFill>
                  <a:latin typeface="IBM Plex Sans Light"/>
                </a:defRPr>
              </a:lvl1pPr>
            </a:lstStyle>
            <a:p>
              <a:pPr marL="0" marR="0" lvl="0" indent="0" algn="l" defTabSz="91446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a:rPr>
                <a:t>Low Performer Management</a:t>
              </a:r>
            </a:p>
            <a:p>
              <a:pPr marL="0" marR="0" lvl="0" indent="0" algn="l" defTabSz="91446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IBM Plex Sans Light"/>
                  <a:ea typeface="+mn-ea"/>
                  <a:cs typeface="+mn-cs"/>
                  <a:sym typeface="IBM Plex Sans"/>
                </a:rPr>
                <a:t>(HeRcules)</a:t>
              </a:r>
              <a:endPar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a:endParaRPr>
            </a:p>
          </p:txBody>
        </p:sp>
        <p:sp>
          <p:nvSpPr>
            <p:cNvPr id="219" name="Rectangle 218">
              <a:extLst>
                <a:ext uri="{FF2B5EF4-FFF2-40B4-BE49-F238E27FC236}">
                  <a16:creationId xmlns:a16="http://schemas.microsoft.com/office/drawing/2014/main" id="{E021ABF8-2A42-E9D1-B948-2FDFFEA4A1F3}"/>
                </a:ext>
              </a:extLst>
            </p:cNvPr>
            <p:cNvSpPr/>
            <p:nvPr/>
          </p:nvSpPr>
          <p:spPr bwMode="auto">
            <a:xfrm>
              <a:off x="16593908" y="7839789"/>
              <a:ext cx="237600" cy="237600"/>
            </a:xfrm>
            <a:prstGeom prst="rect">
              <a:avLst/>
            </a:prstGeom>
            <a:solidFill>
              <a:schemeClr val="accent1">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232" name="TextBox 231">
              <a:extLst>
                <a:ext uri="{FF2B5EF4-FFF2-40B4-BE49-F238E27FC236}">
                  <a16:creationId xmlns:a16="http://schemas.microsoft.com/office/drawing/2014/main" id="{CBFDDE2D-0AA5-729A-0759-C40F01B6FCBF}"/>
                </a:ext>
              </a:extLst>
            </p:cNvPr>
            <p:cNvSpPr txBox="1"/>
            <p:nvPr/>
          </p:nvSpPr>
          <p:spPr>
            <a:xfrm>
              <a:off x="16593907" y="9730756"/>
              <a:ext cx="1974205" cy="64641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a:spAutoFit/>
            </a:bodyPr>
            <a:lstStyle>
              <a:defPPr>
                <a:defRPr lang="en-US"/>
              </a:defPPr>
              <a:lvl1pPr marR="0" lvl="0" indent="0" defTabSz="1829287" fontAlgn="auto">
                <a:lnSpc>
                  <a:spcPct val="100000"/>
                </a:lnSpc>
                <a:spcBef>
                  <a:spcPts val="0"/>
                </a:spcBef>
                <a:spcAft>
                  <a:spcPts val="0"/>
                </a:spcAft>
                <a:buClrTx/>
                <a:buSzTx/>
                <a:buFontTx/>
                <a:buNone/>
                <a:tabLst/>
                <a:defRPr sz="1800" kern="0">
                  <a:solidFill>
                    <a:srgbClr val="000000"/>
                  </a:solidFill>
                  <a:latin typeface="IBM Plex Sans Light"/>
                </a:defRPr>
              </a:lvl1pPr>
            </a:lstStyle>
            <a:p>
              <a:pPr marL="0" marR="0" lvl="0" indent="0" algn="l" defTabSz="91446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a:rPr>
                <a:t>Talent Review</a:t>
              </a:r>
            </a:p>
            <a:p>
              <a:pPr marL="0" marR="0" lvl="0" indent="0" algn="l" defTabSz="91446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IBM Plex Sans Light"/>
                  <a:ea typeface="+mn-ea"/>
                  <a:cs typeface="+mn-cs"/>
                  <a:sym typeface="IBM Plex Sans"/>
                </a:rPr>
                <a:t>(HactoR)</a:t>
              </a:r>
              <a:endPar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a:endParaRPr>
            </a:p>
          </p:txBody>
        </p:sp>
        <p:sp>
          <p:nvSpPr>
            <p:cNvPr id="233" name="Rectangle 232">
              <a:extLst>
                <a:ext uri="{FF2B5EF4-FFF2-40B4-BE49-F238E27FC236}">
                  <a16:creationId xmlns:a16="http://schemas.microsoft.com/office/drawing/2014/main" id="{7CC69F4A-2A13-AB7C-6871-9AC67259B5DB}"/>
                </a:ext>
              </a:extLst>
            </p:cNvPr>
            <p:cNvSpPr/>
            <p:nvPr/>
          </p:nvSpPr>
          <p:spPr bwMode="auto">
            <a:xfrm>
              <a:off x="16593908" y="9380289"/>
              <a:ext cx="237600" cy="237600"/>
            </a:xfrm>
            <a:prstGeom prst="rect">
              <a:avLst/>
            </a:prstGeom>
            <a:solidFill>
              <a:schemeClr val="accent1">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IBM Plex Sans Light"/>
                <a:ea typeface="+mn-ea"/>
                <a:cs typeface="+mn-cs"/>
              </a:endParaRPr>
            </a:p>
          </p:txBody>
        </p:sp>
      </p:grpSp>
      <p:grpSp>
        <p:nvGrpSpPr>
          <p:cNvPr id="252" name="Group 251">
            <a:extLst>
              <a:ext uri="{FF2B5EF4-FFF2-40B4-BE49-F238E27FC236}">
                <a16:creationId xmlns:a16="http://schemas.microsoft.com/office/drawing/2014/main" id="{563B60E0-E9F2-51BB-1F9A-99D484432B60}"/>
              </a:ext>
            </a:extLst>
          </p:cNvPr>
          <p:cNvGrpSpPr/>
          <p:nvPr/>
        </p:nvGrpSpPr>
        <p:grpSpPr>
          <a:xfrm>
            <a:off x="1773610" y="3149681"/>
            <a:ext cx="7509237" cy="2808824"/>
            <a:chOff x="3547682" y="6299289"/>
            <a:chExt cx="15020430" cy="5618379"/>
          </a:xfrm>
        </p:grpSpPr>
        <p:sp>
          <p:nvSpPr>
            <p:cNvPr id="172" name="TextBox 171">
              <a:extLst>
                <a:ext uri="{FF2B5EF4-FFF2-40B4-BE49-F238E27FC236}">
                  <a16:creationId xmlns:a16="http://schemas.microsoft.com/office/drawing/2014/main" id="{01B35AB8-5D93-0FF9-7C19-5B04D5A6912B}"/>
                </a:ext>
              </a:extLst>
            </p:cNvPr>
            <p:cNvSpPr txBox="1"/>
            <p:nvPr/>
          </p:nvSpPr>
          <p:spPr>
            <a:xfrm>
              <a:off x="8766172" y="6649755"/>
              <a:ext cx="1974205" cy="36938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a:spAutoFit/>
            </a:bodyPr>
            <a:lstStyle>
              <a:defPPr>
                <a:defRPr lang="en-US"/>
              </a:defPPr>
              <a:lvl1pPr marR="0" lvl="0" indent="0" defTabSz="1829287" fontAlgn="auto">
                <a:lnSpc>
                  <a:spcPct val="100000"/>
                </a:lnSpc>
                <a:spcBef>
                  <a:spcPts val="0"/>
                </a:spcBef>
                <a:spcAft>
                  <a:spcPts val="0"/>
                </a:spcAft>
                <a:buClrTx/>
                <a:buSzTx/>
                <a:buFontTx/>
                <a:buNone/>
                <a:tabLst/>
                <a:defRPr sz="1800" kern="0">
                  <a:solidFill>
                    <a:srgbClr val="000000"/>
                  </a:solidFill>
                  <a:latin typeface="IBM Plex Sans Light"/>
                </a:defRPr>
              </a:lvl1pPr>
            </a:lstStyle>
            <a:p>
              <a:pPr marL="0" marR="0" lvl="0" indent="0" algn="l" defTabSz="91446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a:rPr>
                <a:t>Payroll Alerts</a:t>
              </a:r>
            </a:p>
          </p:txBody>
        </p:sp>
        <p:sp>
          <p:nvSpPr>
            <p:cNvPr id="173" name="Rectangle 172">
              <a:extLst>
                <a:ext uri="{FF2B5EF4-FFF2-40B4-BE49-F238E27FC236}">
                  <a16:creationId xmlns:a16="http://schemas.microsoft.com/office/drawing/2014/main" id="{493558B9-4FDF-F1C8-26E5-3A878AC1D86C}"/>
                </a:ext>
              </a:extLst>
            </p:cNvPr>
            <p:cNvSpPr/>
            <p:nvPr/>
          </p:nvSpPr>
          <p:spPr bwMode="auto">
            <a:xfrm>
              <a:off x="8766173" y="6299289"/>
              <a:ext cx="237600" cy="237600"/>
            </a:xfrm>
            <a:prstGeom prst="rect">
              <a:avLst/>
            </a:prstGeom>
            <a:solidFill>
              <a:schemeClr val="bg1"/>
            </a:solidFill>
            <a:ln w="19050">
              <a:solidFill>
                <a:srgbClr val="0070C0"/>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182" name="TextBox 181">
              <a:extLst>
                <a:ext uri="{FF2B5EF4-FFF2-40B4-BE49-F238E27FC236}">
                  <a16:creationId xmlns:a16="http://schemas.microsoft.com/office/drawing/2014/main" id="{C922A8FC-7A84-02FF-07F1-849F1D4ABA58}"/>
                </a:ext>
              </a:extLst>
            </p:cNvPr>
            <p:cNvSpPr txBox="1"/>
            <p:nvPr/>
          </p:nvSpPr>
          <p:spPr>
            <a:xfrm>
              <a:off x="3547682" y="6649755"/>
              <a:ext cx="1974205" cy="120048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a:spAutoFit/>
            </a:bodyPr>
            <a:lstStyle>
              <a:defPPr>
                <a:defRPr lang="en-US"/>
              </a:defPPr>
              <a:lvl1pPr marR="0" lvl="0" indent="0" defTabSz="1829287" fontAlgn="auto">
                <a:lnSpc>
                  <a:spcPct val="100000"/>
                </a:lnSpc>
                <a:spcBef>
                  <a:spcPts val="0"/>
                </a:spcBef>
                <a:spcAft>
                  <a:spcPts val="0"/>
                </a:spcAft>
                <a:buClrTx/>
                <a:buSzTx/>
                <a:buFontTx/>
                <a:buNone/>
                <a:tabLst/>
                <a:defRPr sz="1800" kern="0">
                  <a:solidFill>
                    <a:srgbClr val="000000"/>
                  </a:solidFill>
                  <a:latin typeface="IBM Plex Sans Light"/>
                </a:defRPr>
              </a:lvl1pPr>
            </a:lstStyle>
            <a:p>
              <a:pPr marL="0" marR="0" lvl="0" indent="0" algn="l" defTabSz="91446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a:rPr>
                <a:t>Workforce Planning/ Internal Career Mobility</a:t>
              </a:r>
            </a:p>
          </p:txBody>
        </p:sp>
        <p:sp>
          <p:nvSpPr>
            <p:cNvPr id="183" name="Rectangle 182">
              <a:extLst>
                <a:ext uri="{FF2B5EF4-FFF2-40B4-BE49-F238E27FC236}">
                  <a16:creationId xmlns:a16="http://schemas.microsoft.com/office/drawing/2014/main" id="{BF0DB625-9087-DF3D-E55A-A908D5D99A2B}"/>
                </a:ext>
              </a:extLst>
            </p:cNvPr>
            <p:cNvSpPr/>
            <p:nvPr/>
          </p:nvSpPr>
          <p:spPr bwMode="auto">
            <a:xfrm>
              <a:off x="3547683" y="6299289"/>
              <a:ext cx="237600" cy="237600"/>
            </a:xfrm>
            <a:prstGeom prst="rect">
              <a:avLst/>
            </a:prstGeom>
            <a:solidFill>
              <a:schemeClr val="bg1"/>
            </a:solidFill>
            <a:ln w="19050">
              <a:solidFill>
                <a:srgbClr val="0070C0"/>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235" name="TextBox 234">
              <a:extLst>
                <a:ext uri="{FF2B5EF4-FFF2-40B4-BE49-F238E27FC236}">
                  <a16:creationId xmlns:a16="http://schemas.microsoft.com/office/drawing/2014/main" id="{87BD97E5-F93C-E91E-E372-F43F02B82755}"/>
                </a:ext>
              </a:extLst>
            </p:cNvPr>
            <p:cNvSpPr txBox="1"/>
            <p:nvPr/>
          </p:nvSpPr>
          <p:spPr>
            <a:xfrm>
              <a:off x="16593907" y="11271254"/>
              <a:ext cx="1974205" cy="64641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a:spAutoFit/>
            </a:bodyPr>
            <a:lstStyle>
              <a:defPPr>
                <a:defRPr lang="en-US"/>
              </a:defPPr>
              <a:lvl1pPr marR="0" lvl="0" indent="0" defTabSz="1829287" fontAlgn="auto">
                <a:lnSpc>
                  <a:spcPct val="100000"/>
                </a:lnSpc>
                <a:spcBef>
                  <a:spcPts val="0"/>
                </a:spcBef>
                <a:spcAft>
                  <a:spcPts val="0"/>
                </a:spcAft>
                <a:buClrTx/>
                <a:buSzTx/>
                <a:buFontTx/>
                <a:buNone/>
                <a:tabLst/>
                <a:defRPr sz="1800" kern="0">
                  <a:solidFill>
                    <a:srgbClr val="000000"/>
                  </a:solidFill>
                  <a:latin typeface="IBM Plex Sans Light"/>
                </a:defRPr>
              </a:lvl1pPr>
            </a:lstStyle>
            <a:p>
              <a:pPr marL="0" marR="0" lvl="0" indent="0" algn="l" defTabSz="91446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IBM Plex Sans Light"/>
                  <a:ea typeface="+mn-ea"/>
                  <a:cs typeface="+mn-cs"/>
                  <a:sym typeface="IBM Plex Sans"/>
                </a:rPr>
                <a:t>Executive Promotions</a:t>
              </a:r>
              <a:endPar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a:endParaRPr>
            </a:p>
          </p:txBody>
        </p:sp>
        <p:sp>
          <p:nvSpPr>
            <p:cNvPr id="236" name="Rectangle 235">
              <a:extLst>
                <a:ext uri="{FF2B5EF4-FFF2-40B4-BE49-F238E27FC236}">
                  <a16:creationId xmlns:a16="http://schemas.microsoft.com/office/drawing/2014/main" id="{3BD7600D-4257-A7F4-84B5-516A90549FC2}"/>
                </a:ext>
              </a:extLst>
            </p:cNvPr>
            <p:cNvSpPr/>
            <p:nvPr/>
          </p:nvSpPr>
          <p:spPr bwMode="auto">
            <a:xfrm>
              <a:off x="16593908" y="10920788"/>
              <a:ext cx="237600" cy="237600"/>
            </a:xfrm>
            <a:prstGeom prst="rect">
              <a:avLst/>
            </a:prstGeom>
            <a:solidFill>
              <a:schemeClr val="bg1"/>
            </a:solidFill>
            <a:ln w="19050">
              <a:solidFill>
                <a:srgbClr val="0070C0"/>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IBM Plex Sans Light"/>
                <a:ea typeface="+mn-ea"/>
                <a:cs typeface="+mn-cs"/>
              </a:endParaRPr>
            </a:p>
          </p:txBody>
        </p:sp>
      </p:grpSp>
      <p:pic>
        <p:nvPicPr>
          <p:cNvPr id="254" name="Graphic 253">
            <a:extLst>
              <a:ext uri="{FF2B5EF4-FFF2-40B4-BE49-F238E27FC236}">
                <a16:creationId xmlns:a16="http://schemas.microsoft.com/office/drawing/2014/main" id="{E471C426-9E19-F37B-6CF3-2797F531EB7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128679" y="853086"/>
            <a:ext cx="291700" cy="291700"/>
          </a:xfrm>
          <a:prstGeom prst="rect">
            <a:avLst/>
          </a:prstGeom>
        </p:spPr>
      </p:pic>
      <p:sp>
        <p:nvSpPr>
          <p:cNvPr id="2" name="Footer Placeholder 3">
            <a:extLst>
              <a:ext uri="{FF2B5EF4-FFF2-40B4-BE49-F238E27FC236}">
                <a16:creationId xmlns:a16="http://schemas.microsoft.com/office/drawing/2014/main" id="{31128656-F465-12E5-075F-2476EF6C6984}"/>
              </a:ext>
            </a:extLst>
          </p:cNvPr>
          <p:cNvSpPr txBox="1">
            <a:spLocks/>
          </p:cNvSpPr>
          <p:nvPr/>
        </p:nvSpPr>
        <p:spPr>
          <a:xfrm>
            <a:off x="304889" y="6400801"/>
            <a:ext cx="5486313" cy="22224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IBM HR</a:t>
            </a:r>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Tree>
    <p:extLst>
      <p:ext uri="{BB962C8B-B14F-4D97-AF65-F5344CB8AC3E}">
        <p14:creationId xmlns:p14="http://schemas.microsoft.com/office/powerpoint/2010/main" val="3582705820"/>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042E580-7A45-A7AF-3173-B62DD66CC12F}"/>
              </a:ext>
            </a:extLst>
          </p:cNvPr>
          <p:cNvSpPr txBox="1">
            <a:spLocks/>
          </p:cNvSpPr>
          <p:nvPr/>
        </p:nvSpPr>
        <p:spPr>
          <a:xfrm>
            <a:off x="261535" y="226415"/>
            <a:ext cx="11597549" cy="31983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Tx/>
              <a:buSzTx/>
              <a:buFontTx/>
              <a:buNone/>
              <a:tabLst/>
              <a:defRPr sz="86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en-US" altLang="ko-KR" sz="2200" b="0" i="0" u="none" strike="noStrike" kern="0" cap="none" spc="0" normalizeH="0" baseline="0" noProof="0" dirty="0">
                <a:ln>
                  <a:noFill/>
                </a:ln>
                <a:solidFill>
                  <a:srgbClr val="000000"/>
                </a:solidFill>
                <a:effectLst/>
                <a:uLnTx/>
                <a:uFillTx/>
                <a:latin typeface="IBM Plex Sans ExtLt" panose="020B0303050203000203" pitchFamily="34" charset="0"/>
                <a:ea typeface="+mj-ea"/>
                <a:cs typeface="+mj-cs"/>
                <a:sym typeface="IBM Plex Sans Light"/>
              </a:rPr>
              <a:t>Creating Value:</a:t>
            </a:r>
            <a:br>
              <a:rPr kumimoji="0" lang="en-US" altLang="ko-KR" sz="2200" b="0" i="0" u="none" strike="noStrike" kern="0" cap="none" spc="0" normalizeH="0" baseline="0" noProof="0" dirty="0">
                <a:ln>
                  <a:noFill/>
                </a:ln>
                <a:solidFill>
                  <a:srgbClr val="000000"/>
                </a:solidFill>
                <a:effectLst/>
                <a:uLnTx/>
                <a:uFillTx/>
                <a:latin typeface="IBM Plex Sans ExtLt" panose="020B0303050203000203" pitchFamily="34" charset="0"/>
                <a:ea typeface="+mj-ea"/>
                <a:cs typeface="+mj-cs"/>
                <a:sym typeface="IBM Plex Sans Light"/>
              </a:rPr>
            </a:br>
            <a:r>
              <a:rPr kumimoji="0" lang="en-US" altLang="ko-KR" sz="2200" b="0" i="0" u="none" strike="noStrike" kern="0" cap="none" spc="0" normalizeH="0" baseline="0" noProof="0" dirty="0">
                <a:ln>
                  <a:noFill/>
                </a:ln>
                <a:solidFill>
                  <a:srgbClr val="000000"/>
                </a:solidFill>
                <a:effectLst/>
                <a:uLnTx/>
                <a:uFillTx/>
                <a:latin typeface="IBM Plex Sans ExtLt" panose="020B0303050203000203" pitchFamily="34" charset="0"/>
                <a:ea typeface="+mj-ea"/>
                <a:cs typeface="+mj-cs"/>
                <a:sym typeface="IBM Plex Sans Light"/>
              </a:rPr>
              <a:t>Digitization moves Employees to Higher Value Work</a:t>
            </a:r>
            <a:endParaRPr kumimoji="0" lang="en-US" sz="2200" b="0" i="0" u="none" strike="noStrike" kern="0" cap="none" spc="0" normalizeH="0" baseline="0" noProof="0" dirty="0">
              <a:ln>
                <a:noFill/>
              </a:ln>
              <a:solidFill>
                <a:srgbClr val="000000"/>
              </a:solidFill>
              <a:effectLst/>
              <a:uLnTx/>
              <a:uFillTx/>
              <a:latin typeface="IBM Plex Sans ExtLt" panose="020B0303050203000203" pitchFamily="34" charset="0"/>
              <a:ea typeface="+mj-ea"/>
              <a:cs typeface="+mj-cs"/>
              <a:sym typeface="IBM Plex Sans Light"/>
            </a:endParaRPr>
          </a:p>
        </p:txBody>
      </p:sp>
      <p:sp>
        <p:nvSpPr>
          <p:cNvPr id="10" name="TextBox 9">
            <a:extLst>
              <a:ext uri="{FF2B5EF4-FFF2-40B4-BE49-F238E27FC236}">
                <a16:creationId xmlns:a16="http://schemas.microsoft.com/office/drawing/2014/main" id="{58F45F3D-16C5-5B28-5E2E-D912445A2BAC}"/>
              </a:ext>
            </a:extLst>
          </p:cNvPr>
          <p:cNvSpPr txBox="1"/>
          <p:nvPr/>
        </p:nvSpPr>
        <p:spPr>
          <a:xfrm>
            <a:off x="4954966" y="1631716"/>
            <a:ext cx="2346719" cy="2154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defPPr>
              <a:defRPr lang="en-US"/>
            </a:defPPr>
            <a:lvl1pPr defTabSz="2438400">
              <a:spcBef>
                <a:spcPts val="2900"/>
              </a:spcBef>
              <a:buSzPct val="100000"/>
              <a:defRPr sz="2400" kern="0">
                <a:solidFill>
                  <a:schemeClr val="accent2"/>
                </a:solidFill>
                <a:latin typeface="IBM Plex Sans" panose="020B0503050203000203" pitchFamily="34" charset="0"/>
                <a:ea typeface="+mj-ea"/>
                <a:cs typeface="+mj-cs"/>
              </a:defRPr>
            </a:lvl1p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US" sz="1400" b="1" i="0" u="none" strike="noStrike" kern="0" cap="none" spc="0" normalizeH="0" baseline="0" noProof="0" dirty="0">
                <a:ln>
                  <a:noFill/>
                </a:ln>
                <a:solidFill>
                  <a:srgbClr val="A56EFF"/>
                </a:solidFill>
                <a:effectLst/>
                <a:uLnTx/>
                <a:uFillTx/>
                <a:latin typeface="IBM Plex Sans" panose="020B0503050203000203" pitchFamily="34" charset="0"/>
                <a:ea typeface="+mj-ea"/>
                <a:cs typeface="+mj-cs"/>
                <a:sym typeface="IBM Plex Sans Light"/>
              </a:rPr>
              <a:t>2016</a:t>
            </a:r>
          </a:p>
        </p:txBody>
      </p:sp>
      <p:sp>
        <p:nvSpPr>
          <p:cNvPr id="11" name="TextBox 10">
            <a:extLst>
              <a:ext uri="{FF2B5EF4-FFF2-40B4-BE49-F238E27FC236}">
                <a16:creationId xmlns:a16="http://schemas.microsoft.com/office/drawing/2014/main" id="{234971B9-AC68-6767-B9CA-EC541191CDFB}"/>
              </a:ext>
            </a:extLst>
          </p:cNvPr>
          <p:cNvSpPr txBox="1"/>
          <p:nvPr/>
        </p:nvSpPr>
        <p:spPr>
          <a:xfrm>
            <a:off x="9648413" y="1631716"/>
            <a:ext cx="2346720" cy="2154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defPPr>
              <a:defRPr lang="en-US"/>
            </a:defPPr>
            <a:lvl1pPr defTabSz="2438400">
              <a:spcBef>
                <a:spcPts val="2900"/>
              </a:spcBef>
              <a:buSzPct val="100000"/>
              <a:defRPr sz="2400" kern="0">
                <a:solidFill>
                  <a:schemeClr val="accent2"/>
                </a:solidFill>
                <a:latin typeface="IBM Plex Sans" panose="020B0503050203000203" pitchFamily="34" charset="0"/>
                <a:ea typeface="+mj-ea"/>
                <a:cs typeface="+mj-cs"/>
              </a:defRPr>
            </a:lvl1p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US" sz="1400" b="1" i="0" u="none" strike="noStrike" kern="0" cap="none" spc="0" normalizeH="0" baseline="0" noProof="0" dirty="0">
                <a:ln>
                  <a:noFill/>
                </a:ln>
                <a:solidFill>
                  <a:srgbClr val="A56EFF"/>
                </a:solidFill>
                <a:effectLst/>
                <a:uLnTx/>
                <a:uFillTx/>
                <a:latin typeface="IBM Plex Sans" panose="020B0503050203000203" pitchFamily="34" charset="0"/>
                <a:ea typeface="+mj-ea"/>
                <a:cs typeface="+mj-cs"/>
                <a:sym typeface="IBM Plex Sans Light"/>
              </a:rPr>
              <a:t>Ave. Increase</a:t>
            </a:r>
          </a:p>
        </p:txBody>
      </p:sp>
      <p:sp>
        <p:nvSpPr>
          <p:cNvPr id="13" name="TextBox 12">
            <a:extLst>
              <a:ext uri="{FF2B5EF4-FFF2-40B4-BE49-F238E27FC236}">
                <a16:creationId xmlns:a16="http://schemas.microsoft.com/office/drawing/2014/main" id="{7212D243-93FA-158B-BE3D-3EC49FCCE760}"/>
              </a:ext>
            </a:extLst>
          </p:cNvPr>
          <p:cNvSpPr txBox="1"/>
          <p:nvPr/>
        </p:nvSpPr>
        <p:spPr>
          <a:xfrm>
            <a:off x="7301694" y="1631716"/>
            <a:ext cx="2346719" cy="2154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defPPr>
              <a:defRPr lang="en-US"/>
            </a:defPPr>
            <a:lvl1pPr defTabSz="2438400">
              <a:spcBef>
                <a:spcPts val="2900"/>
              </a:spcBef>
              <a:buSzPct val="100000"/>
              <a:defRPr sz="2400" kern="0">
                <a:solidFill>
                  <a:schemeClr val="accent2"/>
                </a:solidFill>
                <a:latin typeface="IBM Plex Sans" panose="020B0503050203000203" pitchFamily="34" charset="0"/>
                <a:ea typeface="+mj-ea"/>
                <a:cs typeface="+mj-cs"/>
              </a:defRPr>
            </a:lvl1p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US" sz="1400" b="1" i="0" u="none" strike="noStrike" kern="0" cap="none" spc="0" normalizeH="0" baseline="0" noProof="0" dirty="0">
                <a:ln>
                  <a:noFill/>
                </a:ln>
                <a:solidFill>
                  <a:srgbClr val="A56EFF"/>
                </a:solidFill>
                <a:effectLst/>
                <a:uLnTx/>
                <a:uFillTx/>
                <a:latin typeface="IBM Plex Sans" panose="020B0503050203000203" pitchFamily="34" charset="0"/>
                <a:ea typeface="+mj-ea"/>
                <a:cs typeface="+mj-cs"/>
                <a:sym typeface="IBM Plex Sans Light"/>
              </a:rPr>
              <a:t>2023</a:t>
            </a:r>
          </a:p>
        </p:txBody>
      </p:sp>
      <p:sp>
        <p:nvSpPr>
          <p:cNvPr id="28" name="TextBox 27">
            <a:extLst>
              <a:ext uri="{FF2B5EF4-FFF2-40B4-BE49-F238E27FC236}">
                <a16:creationId xmlns:a16="http://schemas.microsoft.com/office/drawing/2014/main" id="{766126A4-3BA2-440C-C07C-2F6694F88660}"/>
              </a:ext>
            </a:extLst>
          </p:cNvPr>
          <p:cNvSpPr txBox="1"/>
          <p:nvPr/>
        </p:nvSpPr>
        <p:spPr>
          <a:xfrm>
            <a:off x="261526" y="1631716"/>
            <a:ext cx="4693428" cy="2154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defPPr>
              <a:defRPr lang="en-US"/>
            </a:defPPr>
            <a:lvl1pPr defTabSz="2438400">
              <a:spcBef>
                <a:spcPts val="2900"/>
              </a:spcBef>
              <a:buSzPct val="100000"/>
              <a:defRPr sz="2400" kern="0">
                <a:solidFill>
                  <a:schemeClr val="accent2"/>
                </a:solidFill>
                <a:latin typeface="IBM Plex Sans" panose="020B0503050203000203" pitchFamily="34" charset="0"/>
                <a:ea typeface="+mj-ea"/>
                <a:cs typeface="+mj-cs"/>
              </a:defRPr>
            </a:lvl1p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US" sz="1400" b="0" i="0" u="none" strike="noStrike" kern="0" cap="none" spc="0" normalizeH="0" baseline="0" noProof="0" dirty="0">
                <a:ln>
                  <a:noFill/>
                </a:ln>
                <a:solidFill>
                  <a:srgbClr val="A56EFF"/>
                </a:solidFill>
                <a:effectLst/>
                <a:uLnTx/>
                <a:uFillTx/>
                <a:latin typeface="IBM Plex Sans" panose="020B0503050203000203" pitchFamily="34" charset="0"/>
                <a:ea typeface="+mj-ea"/>
                <a:cs typeface="+mj-cs"/>
                <a:sym typeface="IBM Plex Sans Light"/>
              </a:rPr>
              <a:t>IBM HR Job Hierarchy</a:t>
            </a:r>
          </a:p>
        </p:txBody>
      </p:sp>
      <p:sp>
        <p:nvSpPr>
          <p:cNvPr id="70" name="TextBox 69">
            <a:extLst>
              <a:ext uri="{FF2B5EF4-FFF2-40B4-BE49-F238E27FC236}">
                <a16:creationId xmlns:a16="http://schemas.microsoft.com/office/drawing/2014/main" id="{43A5D2A7-762F-CC2B-7009-9E9F0FBA994B}"/>
              </a:ext>
            </a:extLst>
          </p:cNvPr>
          <p:cNvSpPr txBox="1"/>
          <p:nvPr/>
        </p:nvSpPr>
        <p:spPr>
          <a:xfrm>
            <a:off x="21395313" y="3423308"/>
            <a:ext cx="1073087" cy="32316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a:spAutoFit/>
          </a:bodyPr>
          <a:lstStyle>
            <a:defPPr>
              <a:defRPr lang="en-US"/>
            </a:defPPr>
            <a:lvl1pPr marR="0" lvl="0" indent="0" defTabSz="1829287" fontAlgn="auto">
              <a:lnSpc>
                <a:spcPct val="100000"/>
              </a:lnSpc>
              <a:spcBef>
                <a:spcPts val="0"/>
              </a:spcBef>
              <a:spcAft>
                <a:spcPts val="0"/>
              </a:spcAft>
              <a:buClrTx/>
              <a:buSzTx/>
              <a:buFontTx/>
              <a:buNone/>
              <a:tabLst/>
              <a:defRPr sz="1800" kern="0">
                <a:solidFill>
                  <a:srgbClr val="000000"/>
                </a:solidFill>
                <a:latin typeface="IBM Plex Sans Light"/>
              </a:defRPr>
            </a:lvl1pPr>
          </a:lstStyle>
          <a:p>
            <a:pPr marL="0" marR="0" lvl="0" indent="0" algn="l" defTabSz="91446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a:rPr>
              <a:t>Promotions cycle (</a:t>
            </a:r>
            <a:r>
              <a:rPr kumimoji="0" lang="en-US" sz="900" b="0" i="0" u="none" strike="noStrike" kern="0" cap="none" spc="0" normalizeH="0" baseline="0" noProof="0" dirty="0" err="1">
                <a:ln>
                  <a:noFill/>
                </a:ln>
                <a:solidFill>
                  <a:srgbClr val="000000"/>
                </a:solidFill>
                <a:effectLst/>
                <a:uLnTx/>
                <a:uFillTx/>
                <a:latin typeface="IBM Plex Sans Light"/>
                <a:ea typeface="+mn-ea"/>
                <a:cs typeface="+mn-cs"/>
                <a:sym typeface="IBM Plex Sans"/>
              </a:rPr>
              <a:t>HiRo</a:t>
            </a: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a:rPr>
              <a:t>)</a:t>
            </a:r>
          </a:p>
        </p:txBody>
      </p:sp>
      <p:sp>
        <p:nvSpPr>
          <p:cNvPr id="73" name="Rectangle 72">
            <a:extLst>
              <a:ext uri="{FF2B5EF4-FFF2-40B4-BE49-F238E27FC236}">
                <a16:creationId xmlns:a16="http://schemas.microsoft.com/office/drawing/2014/main" id="{01009635-2D32-F342-B12A-EA34F2CC8599}"/>
              </a:ext>
            </a:extLst>
          </p:cNvPr>
          <p:cNvSpPr/>
          <p:nvPr/>
        </p:nvSpPr>
        <p:spPr bwMode="auto">
          <a:xfrm>
            <a:off x="21395313" y="3233246"/>
            <a:ext cx="118785" cy="118785"/>
          </a:xfrm>
          <a:prstGeom prst="rect">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77" name="TextBox 76">
            <a:extLst>
              <a:ext uri="{FF2B5EF4-FFF2-40B4-BE49-F238E27FC236}">
                <a16:creationId xmlns:a16="http://schemas.microsoft.com/office/drawing/2014/main" id="{FF80C1F3-1E1A-A5F5-FD03-284B63DB813E}"/>
              </a:ext>
            </a:extLst>
          </p:cNvPr>
          <p:cNvSpPr txBox="1"/>
          <p:nvPr/>
        </p:nvSpPr>
        <p:spPr>
          <a:xfrm>
            <a:off x="21395313" y="4193458"/>
            <a:ext cx="986974" cy="32316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a:spAutoFit/>
          </a:bodyPr>
          <a:lstStyle>
            <a:defPPr>
              <a:defRPr lang="en-US"/>
            </a:defPPr>
            <a:lvl1pPr marR="0" lvl="0" indent="0" defTabSz="1829287" fontAlgn="auto">
              <a:lnSpc>
                <a:spcPct val="100000"/>
              </a:lnSpc>
              <a:spcBef>
                <a:spcPts val="0"/>
              </a:spcBef>
              <a:spcAft>
                <a:spcPts val="0"/>
              </a:spcAft>
              <a:buClrTx/>
              <a:buSzTx/>
              <a:buFontTx/>
              <a:buNone/>
              <a:tabLst/>
              <a:defRPr sz="1800" kern="0">
                <a:solidFill>
                  <a:srgbClr val="000000"/>
                </a:solidFill>
                <a:latin typeface="IBM Plex Sans Light"/>
              </a:defRPr>
            </a:lvl1pPr>
          </a:lstStyle>
          <a:p>
            <a:pPr marL="0" marR="0" lvl="0" indent="0" algn="l" defTabSz="91446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a:rPr>
              <a:t>Skills Taxonomy</a:t>
            </a:r>
          </a:p>
          <a:p>
            <a:pPr marL="0" marR="0" lvl="0" indent="0" algn="l" defTabSz="914461"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a:rPr>
              <a:t>(</a:t>
            </a:r>
            <a:r>
              <a:rPr kumimoji="0" lang="en-US" sz="900" b="0" i="0" u="none" strike="noStrike" kern="0" cap="none" spc="0" normalizeH="0" baseline="0" noProof="0" dirty="0" err="1">
                <a:ln>
                  <a:noFill/>
                </a:ln>
                <a:solidFill>
                  <a:srgbClr val="000000"/>
                </a:solidFill>
                <a:effectLst/>
                <a:uLnTx/>
                <a:uFillTx/>
                <a:latin typeface="IBM Plex Sans Light"/>
                <a:ea typeface="+mn-ea"/>
                <a:cs typeface="+mn-cs"/>
                <a:sym typeface="IBM Plex Sans"/>
              </a:rPr>
              <a:t>HaRry</a:t>
            </a: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a:rPr>
              <a:t>)</a:t>
            </a:r>
          </a:p>
        </p:txBody>
      </p:sp>
      <p:sp>
        <p:nvSpPr>
          <p:cNvPr id="79" name="Rectangle 78">
            <a:extLst>
              <a:ext uri="{FF2B5EF4-FFF2-40B4-BE49-F238E27FC236}">
                <a16:creationId xmlns:a16="http://schemas.microsoft.com/office/drawing/2014/main" id="{B82D2E0D-E4B4-C4E5-6EE9-0935C2231083}"/>
              </a:ext>
            </a:extLst>
          </p:cNvPr>
          <p:cNvSpPr/>
          <p:nvPr/>
        </p:nvSpPr>
        <p:spPr bwMode="auto">
          <a:xfrm>
            <a:off x="21395313" y="4018248"/>
            <a:ext cx="118785" cy="118785"/>
          </a:xfrm>
          <a:prstGeom prst="rect">
            <a:avLst/>
          </a:prstGeom>
          <a:solidFill>
            <a:schemeClr val="accent1">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IBM Plex Sans Light"/>
              <a:ea typeface="+mn-ea"/>
              <a:cs typeface="+mn-cs"/>
            </a:endParaRPr>
          </a:p>
        </p:txBody>
      </p:sp>
      <p:cxnSp>
        <p:nvCxnSpPr>
          <p:cNvPr id="7" name="Straight Connector 6">
            <a:extLst>
              <a:ext uri="{FF2B5EF4-FFF2-40B4-BE49-F238E27FC236}">
                <a16:creationId xmlns:a16="http://schemas.microsoft.com/office/drawing/2014/main" id="{79C0B8FA-B4E6-E497-640A-22F81AA9886B}"/>
              </a:ext>
            </a:extLst>
          </p:cNvPr>
          <p:cNvCxnSpPr>
            <a:cxnSpLocks/>
          </p:cNvCxnSpPr>
          <p:nvPr/>
        </p:nvCxnSpPr>
        <p:spPr bwMode="auto">
          <a:xfrm>
            <a:off x="4954975" y="2070737"/>
            <a:ext cx="0" cy="3649826"/>
          </a:xfrm>
          <a:prstGeom prst="line">
            <a:avLst/>
          </a:prstGeom>
          <a:ln w="1270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744E0B63-693A-CF56-B5B3-9B2A0195DFB8}"/>
              </a:ext>
            </a:extLst>
          </p:cNvPr>
          <p:cNvCxnSpPr>
            <a:cxnSpLocks/>
          </p:cNvCxnSpPr>
          <p:nvPr/>
        </p:nvCxnSpPr>
        <p:spPr bwMode="auto">
          <a:xfrm>
            <a:off x="7301695" y="2070737"/>
            <a:ext cx="0" cy="3649826"/>
          </a:xfrm>
          <a:prstGeom prst="line">
            <a:avLst/>
          </a:prstGeom>
          <a:ln w="1270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BB8508D7-4EE7-1EC6-1B25-F9A59D3108FF}"/>
              </a:ext>
            </a:extLst>
          </p:cNvPr>
          <p:cNvCxnSpPr>
            <a:cxnSpLocks/>
          </p:cNvCxnSpPr>
          <p:nvPr/>
        </p:nvCxnSpPr>
        <p:spPr bwMode="auto">
          <a:xfrm>
            <a:off x="9648415" y="2070737"/>
            <a:ext cx="0" cy="3649826"/>
          </a:xfrm>
          <a:prstGeom prst="line">
            <a:avLst/>
          </a:prstGeom>
          <a:ln w="1270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0C14899C-0034-646A-C500-E8451BD20609}"/>
              </a:ext>
            </a:extLst>
          </p:cNvPr>
          <p:cNvCxnSpPr>
            <a:cxnSpLocks/>
          </p:cNvCxnSpPr>
          <p:nvPr/>
        </p:nvCxnSpPr>
        <p:spPr bwMode="auto">
          <a:xfrm>
            <a:off x="261535" y="3285861"/>
            <a:ext cx="11733599" cy="0"/>
          </a:xfrm>
          <a:prstGeom prst="line">
            <a:avLst/>
          </a:prstGeom>
          <a:ln w="12700">
            <a:solidFill>
              <a:schemeClr val="bg1">
                <a:lumMod val="50000"/>
              </a:schemeClr>
            </a:solidFill>
            <a:prstDash val="lgDash"/>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F6DAE40D-8539-1C8F-274C-500A376355F5}"/>
              </a:ext>
            </a:extLst>
          </p:cNvPr>
          <p:cNvCxnSpPr>
            <a:cxnSpLocks/>
          </p:cNvCxnSpPr>
          <p:nvPr/>
        </p:nvCxnSpPr>
        <p:spPr bwMode="auto">
          <a:xfrm>
            <a:off x="261535" y="4496369"/>
            <a:ext cx="11733599" cy="0"/>
          </a:xfrm>
          <a:prstGeom prst="line">
            <a:avLst/>
          </a:prstGeom>
          <a:ln w="12700">
            <a:solidFill>
              <a:schemeClr val="bg1">
                <a:lumMod val="50000"/>
              </a:schemeClr>
            </a:solidFill>
            <a:prstDash val="lg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Rectangle 21">
            <a:extLst>
              <a:ext uri="{FF2B5EF4-FFF2-40B4-BE49-F238E27FC236}">
                <a16:creationId xmlns:a16="http://schemas.microsoft.com/office/drawing/2014/main" id="{8C33A9CE-3A9E-58E9-5AE2-A8312D057CFD}"/>
              </a:ext>
            </a:extLst>
          </p:cNvPr>
          <p:cNvSpPr/>
          <p:nvPr/>
        </p:nvSpPr>
        <p:spPr bwMode="auto">
          <a:xfrm>
            <a:off x="5221951" y="2787242"/>
            <a:ext cx="1775815" cy="280691"/>
          </a:xfrm>
          <a:prstGeom prst="rect">
            <a:avLst/>
          </a:prstGeom>
          <a:no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CR" sz="1200" b="0" i="0" u="none" strike="noStrike" kern="1200" cap="none" spc="0" normalizeH="0" baseline="0" noProof="0" dirty="0">
                <a:ln>
                  <a:noFill/>
                </a:ln>
                <a:solidFill>
                  <a:srgbClr val="A56EFF"/>
                </a:solidFill>
                <a:effectLst/>
                <a:uLnTx/>
                <a:uFillTx/>
                <a:latin typeface="IBM Plex Sans Light"/>
                <a:ea typeface="+mn-ea"/>
                <a:cs typeface="+mn-cs"/>
              </a:rPr>
              <a:t>HR Partners</a:t>
            </a:r>
          </a:p>
        </p:txBody>
      </p:sp>
      <p:sp>
        <p:nvSpPr>
          <p:cNvPr id="24" name="Rectangle 23">
            <a:extLst>
              <a:ext uri="{FF2B5EF4-FFF2-40B4-BE49-F238E27FC236}">
                <a16:creationId xmlns:a16="http://schemas.microsoft.com/office/drawing/2014/main" id="{49C5392C-96F8-1CB8-F78C-3917D071DB87}"/>
              </a:ext>
            </a:extLst>
          </p:cNvPr>
          <p:cNvSpPr/>
          <p:nvPr/>
        </p:nvSpPr>
        <p:spPr bwMode="auto">
          <a:xfrm>
            <a:off x="5221951" y="3468080"/>
            <a:ext cx="1775815" cy="280691"/>
          </a:xfrm>
          <a:prstGeom prst="rect">
            <a:avLst/>
          </a:prstGeom>
          <a:no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CR" sz="1200" b="0" i="0" u="none" strike="noStrike" kern="1200" cap="none" spc="0" normalizeH="0" baseline="0" noProof="0" dirty="0">
                <a:ln>
                  <a:noFill/>
                </a:ln>
                <a:solidFill>
                  <a:srgbClr val="A56EFF"/>
                </a:solidFill>
                <a:effectLst/>
                <a:uLnTx/>
                <a:uFillTx/>
                <a:latin typeface="IBM Plex Sans Light"/>
                <a:ea typeface="+mn-ea"/>
                <a:cs typeface="+mn-cs"/>
              </a:rPr>
              <a:t>Compensation</a:t>
            </a:r>
          </a:p>
        </p:txBody>
      </p:sp>
      <p:sp>
        <p:nvSpPr>
          <p:cNvPr id="32" name="Rectangle 31">
            <a:extLst>
              <a:ext uri="{FF2B5EF4-FFF2-40B4-BE49-F238E27FC236}">
                <a16:creationId xmlns:a16="http://schemas.microsoft.com/office/drawing/2014/main" id="{67DE0463-DAF4-B5FA-685A-60A6897640E3}"/>
              </a:ext>
            </a:extLst>
          </p:cNvPr>
          <p:cNvSpPr/>
          <p:nvPr/>
        </p:nvSpPr>
        <p:spPr bwMode="auto">
          <a:xfrm>
            <a:off x="5221951" y="4721874"/>
            <a:ext cx="1775815" cy="280691"/>
          </a:xfrm>
          <a:prstGeom prst="rect">
            <a:avLst/>
          </a:prstGeom>
          <a:no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CR" sz="1200" b="0" i="0" u="none" strike="noStrike" kern="1200" cap="none" spc="0" normalizeH="0" baseline="0" noProof="0" dirty="0">
                <a:ln>
                  <a:noFill/>
                </a:ln>
                <a:solidFill>
                  <a:srgbClr val="A56EFF"/>
                </a:solidFill>
                <a:effectLst/>
                <a:uLnTx/>
                <a:uFillTx/>
                <a:latin typeface="IBM Plex Sans Light"/>
                <a:ea typeface="+mn-ea"/>
                <a:cs typeface="+mn-cs"/>
              </a:rPr>
              <a:t>Payroll</a:t>
            </a:r>
          </a:p>
        </p:txBody>
      </p:sp>
      <p:sp>
        <p:nvSpPr>
          <p:cNvPr id="33" name="Rectangle 32">
            <a:extLst>
              <a:ext uri="{FF2B5EF4-FFF2-40B4-BE49-F238E27FC236}">
                <a16:creationId xmlns:a16="http://schemas.microsoft.com/office/drawing/2014/main" id="{AF56C871-27B8-0EDF-27EB-D72E1FA60100}"/>
              </a:ext>
            </a:extLst>
          </p:cNvPr>
          <p:cNvSpPr/>
          <p:nvPr/>
        </p:nvSpPr>
        <p:spPr bwMode="auto">
          <a:xfrm>
            <a:off x="5221951" y="5203074"/>
            <a:ext cx="1775815" cy="280691"/>
          </a:xfrm>
          <a:prstGeom prst="rect">
            <a:avLst/>
          </a:prstGeom>
          <a:no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CR" sz="1200" b="0" i="0" u="none" strike="noStrike" kern="1200" cap="none" spc="0" normalizeH="0" baseline="0" noProof="0" dirty="0">
                <a:ln>
                  <a:noFill/>
                </a:ln>
                <a:solidFill>
                  <a:srgbClr val="A56EFF"/>
                </a:solidFill>
                <a:effectLst/>
                <a:uLnTx/>
                <a:uFillTx/>
                <a:latin typeface="IBM Plex Sans Light"/>
                <a:ea typeface="+mn-ea"/>
                <a:cs typeface="+mn-cs"/>
              </a:rPr>
              <a:t>HR Support</a:t>
            </a:r>
          </a:p>
        </p:txBody>
      </p:sp>
      <p:sp>
        <p:nvSpPr>
          <p:cNvPr id="34" name="Rectangle 33">
            <a:extLst>
              <a:ext uri="{FF2B5EF4-FFF2-40B4-BE49-F238E27FC236}">
                <a16:creationId xmlns:a16="http://schemas.microsoft.com/office/drawing/2014/main" id="{BCFAFF4B-6E13-FBB1-2C59-5775C62D6B54}"/>
              </a:ext>
            </a:extLst>
          </p:cNvPr>
          <p:cNvSpPr/>
          <p:nvPr/>
        </p:nvSpPr>
        <p:spPr bwMode="auto">
          <a:xfrm>
            <a:off x="7567804" y="2787242"/>
            <a:ext cx="1775815" cy="280691"/>
          </a:xfrm>
          <a:prstGeom prst="rect">
            <a:avLst/>
          </a:prstGeom>
          <a:no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CR" sz="1200" b="0" i="0" u="none" strike="noStrike" kern="1200" cap="none" spc="0" normalizeH="0" baseline="0" noProof="0" dirty="0">
                <a:ln>
                  <a:noFill/>
                </a:ln>
                <a:solidFill>
                  <a:srgbClr val="A56EFF"/>
                </a:solidFill>
                <a:effectLst/>
                <a:uLnTx/>
                <a:uFillTx/>
                <a:latin typeface="IBM Plex Sans Light"/>
                <a:ea typeface="+mn-ea"/>
                <a:cs typeface="+mn-cs"/>
              </a:rPr>
              <a:t>Compensation</a:t>
            </a:r>
          </a:p>
        </p:txBody>
      </p:sp>
      <p:sp>
        <p:nvSpPr>
          <p:cNvPr id="35" name="Rectangle 34">
            <a:extLst>
              <a:ext uri="{FF2B5EF4-FFF2-40B4-BE49-F238E27FC236}">
                <a16:creationId xmlns:a16="http://schemas.microsoft.com/office/drawing/2014/main" id="{BC377B7C-458A-865A-B677-2239530530CC}"/>
              </a:ext>
            </a:extLst>
          </p:cNvPr>
          <p:cNvSpPr/>
          <p:nvPr/>
        </p:nvSpPr>
        <p:spPr bwMode="auto">
          <a:xfrm>
            <a:off x="7567804" y="2366192"/>
            <a:ext cx="1775815" cy="280691"/>
          </a:xfrm>
          <a:prstGeom prst="rect">
            <a:avLst/>
          </a:prstGeom>
          <a:no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CR" sz="1200" b="0" i="0" u="none" strike="noStrike" kern="1200" cap="none" spc="0" normalizeH="0" baseline="0" noProof="0" dirty="0">
                <a:ln>
                  <a:noFill/>
                </a:ln>
                <a:solidFill>
                  <a:srgbClr val="A56EFF"/>
                </a:solidFill>
                <a:effectLst/>
                <a:uLnTx/>
                <a:uFillTx/>
                <a:latin typeface="IBM Plex Sans Light"/>
                <a:ea typeface="+mn-ea"/>
                <a:cs typeface="+mn-cs"/>
              </a:rPr>
              <a:t>HR Partners</a:t>
            </a:r>
          </a:p>
        </p:txBody>
      </p:sp>
      <p:sp>
        <p:nvSpPr>
          <p:cNvPr id="36" name="Rectangle 35">
            <a:extLst>
              <a:ext uri="{FF2B5EF4-FFF2-40B4-BE49-F238E27FC236}">
                <a16:creationId xmlns:a16="http://schemas.microsoft.com/office/drawing/2014/main" id="{8366EF26-89D4-8928-5EF8-FD4680492198}"/>
              </a:ext>
            </a:extLst>
          </p:cNvPr>
          <p:cNvSpPr/>
          <p:nvPr/>
        </p:nvSpPr>
        <p:spPr bwMode="auto">
          <a:xfrm>
            <a:off x="7567803" y="3520802"/>
            <a:ext cx="1775815" cy="280691"/>
          </a:xfrm>
          <a:prstGeom prst="rect">
            <a:avLst/>
          </a:prstGeom>
          <a:no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CR" sz="1200" b="0" i="0" u="none" strike="noStrike" kern="1200" cap="none" spc="0" normalizeH="0" baseline="0" noProof="0" dirty="0">
                <a:ln>
                  <a:noFill/>
                </a:ln>
                <a:solidFill>
                  <a:srgbClr val="A56EFF"/>
                </a:solidFill>
                <a:effectLst/>
                <a:uLnTx/>
                <a:uFillTx/>
                <a:latin typeface="IBM Plex Sans Light"/>
                <a:ea typeface="+mn-ea"/>
                <a:cs typeface="+mn-cs"/>
              </a:rPr>
              <a:t>Payroll</a:t>
            </a:r>
          </a:p>
        </p:txBody>
      </p:sp>
      <p:sp>
        <p:nvSpPr>
          <p:cNvPr id="37" name="Rectangle 36">
            <a:extLst>
              <a:ext uri="{FF2B5EF4-FFF2-40B4-BE49-F238E27FC236}">
                <a16:creationId xmlns:a16="http://schemas.microsoft.com/office/drawing/2014/main" id="{8CF8410E-F78A-D974-3AC1-7EF8DD0C7D2A}"/>
              </a:ext>
            </a:extLst>
          </p:cNvPr>
          <p:cNvSpPr/>
          <p:nvPr/>
        </p:nvSpPr>
        <p:spPr bwMode="auto">
          <a:xfrm>
            <a:off x="7567803" y="4002002"/>
            <a:ext cx="1775815" cy="280691"/>
          </a:xfrm>
          <a:prstGeom prst="rect">
            <a:avLst/>
          </a:prstGeom>
          <a:no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CR" sz="1200" b="0" i="0" u="none" strike="noStrike" kern="1200" cap="none" spc="0" normalizeH="0" baseline="0" noProof="0" dirty="0">
                <a:ln>
                  <a:noFill/>
                </a:ln>
                <a:solidFill>
                  <a:srgbClr val="A56EFF"/>
                </a:solidFill>
                <a:effectLst/>
                <a:uLnTx/>
                <a:uFillTx/>
                <a:latin typeface="IBM Plex Sans Light"/>
                <a:ea typeface="+mn-ea"/>
                <a:cs typeface="+mn-cs"/>
              </a:rPr>
              <a:t>HR Support</a:t>
            </a:r>
          </a:p>
        </p:txBody>
      </p:sp>
      <p:sp>
        <p:nvSpPr>
          <p:cNvPr id="38" name="TextBox 37">
            <a:extLst>
              <a:ext uri="{FF2B5EF4-FFF2-40B4-BE49-F238E27FC236}">
                <a16:creationId xmlns:a16="http://schemas.microsoft.com/office/drawing/2014/main" id="{732E3849-5134-8840-592F-A36DB8A2B444}"/>
              </a:ext>
            </a:extLst>
          </p:cNvPr>
          <p:cNvSpPr txBox="1"/>
          <p:nvPr/>
        </p:nvSpPr>
        <p:spPr>
          <a:xfrm>
            <a:off x="9648413" y="2375733"/>
            <a:ext cx="2346718" cy="2616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anchor="ctr">
            <a:spAutoFit/>
          </a:bodyPr>
          <a:lstStyle/>
          <a:p>
            <a:pPr marL="0" marR="0" lvl="0" indent="0" algn="ctr" defTabSz="91450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Light"/>
                <a:ea typeface="+mn-ea"/>
                <a:cs typeface="+mn-cs"/>
                <a:sym typeface="IBM Plex Sans"/>
              </a:rPr>
              <a:t>0.7</a:t>
            </a:r>
          </a:p>
        </p:txBody>
      </p:sp>
      <p:sp>
        <p:nvSpPr>
          <p:cNvPr id="39" name="TextBox 38">
            <a:extLst>
              <a:ext uri="{FF2B5EF4-FFF2-40B4-BE49-F238E27FC236}">
                <a16:creationId xmlns:a16="http://schemas.microsoft.com/office/drawing/2014/main" id="{739CD880-3FC8-C3CB-FED6-4125A96657E3}"/>
              </a:ext>
            </a:extLst>
          </p:cNvPr>
          <p:cNvSpPr txBox="1"/>
          <p:nvPr/>
        </p:nvSpPr>
        <p:spPr>
          <a:xfrm>
            <a:off x="9648413" y="2784753"/>
            <a:ext cx="2346718" cy="2616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anchor="ctr">
            <a:spAutoFit/>
          </a:bodyPr>
          <a:lstStyle/>
          <a:p>
            <a:pPr marL="0" marR="0" lvl="0" indent="0" algn="ctr" defTabSz="91450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Light"/>
                <a:ea typeface="+mn-ea"/>
                <a:cs typeface="+mn-cs"/>
                <a:sym typeface="IBM Plex Sans"/>
              </a:rPr>
              <a:t>1.0</a:t>
            </a:r>
          </a:p>
        </p:txBody>
      </p:sp>
      <p:sp>
        <p:nvSpPr>
          <p:cNvPr id="40" name="TextBox 39">
            <a:extLst>
              <a:ext uri="{FF2B5EF4-FFF2-40B4-BE49-F238E27FC236}">
                <a16:creationId xmlns:a16="http://schemas.microsoft.com/office/drawing/2014/main" id="{DCE1EB64-0E24-1F92-46DC-85F0EDACE7A8}"/>
              </a:ext>
            </a:extLst>
          </p:cNvPr>
          <p:cNvSpPr txBox="1"/>
          <p:nvPr/>
        </p:nvSpPr>
        <p:spPr>
          <a:xfrm>
            <a:off x="9648413" y="3530614"/>
            <a:ext cx="2346718" cy="2616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anchor="ctr">
            <a:spAutoFit/>
          </a:bodyPr>
          <a:lstStyle/>
          <a:p>
            <a:pPr marL="0" marR="0" lvl="0" indent="0" algn="ctr" defTabSz="91450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Light"/>
                <a:ea typeface="+mn-ea"/>
                <a:cs typeface="+mn-cs"/>
                <a:sym typeface="IBM Plex Sans"/>
              </a:rPr>
              <a:t>0.9</a:t>
            </a:r>
          </a:p>
        </p:txBody>
      </p:sp>
      <p:sp>
        <p:nvSpPr>
          <p:cNvPr id="41" name="TextBox 40">
            <a:extLst>
              <a:ext uri="{FF2B5EF4-FFF2-40B4-BE49-F238E27FC236}">
                <a16:creationId xmlns:a16="http://schemas.microsoft.com/office/drawing/2014/main" id="{C4F218DF-A9F8-D8AD-ADDD-744208C04F1D}"/>
              </a:ext>
            </a:extLst>
          </p:cNvPr>
          <p:cNvSpPr txBox="1"/>
          <p:nvPr/>
        </p:nvSpPr>
        <p:spPr>
          <a:xfrm>
            <a:off x="9648413" y="3999785"/>
            <a:ext cx="2346718" cy="2616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anchor="ctr">
            <a:spAutoFit/>
          </a:bodyPr>
          <a:lstStyle/>
          <a:p>
            <a:pPr marL="0" marR="0" lvl="0" indent="0" algn="ctr" defTabSz="91450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Light"/>
                <a:ea typeface="+mn-ea"/>
                <a:cs typeface="+mn-cs"/>
                <a:sym typeface="IBM Plex Sans"/>
              </a:rPr>
              <a:t>1.8</a:t>
            </a:r>
          </a:p>
        </p:txBody>
      </p:sp>
      <p:sp>
        <p:nvSpPr>
          <p:cNvPr id="45" name="Right Arrow 44">
            <a:extLst>
              <a:ext uri="{FF2B5EF4-FFF2-40B4-BE49-F238E27FC236}">
                <a16:creationId xmlns:a16="http://schemas.microsoft.com/office/drawing/2014/main" id="{6692F16A-E5C2-73DC-EE28-A0E50F33A728}"/>
              </a:ext>
            </a:extLst>
          </p:cNvPr>
          <p:cNvSpPr/>
          <p:nvPr/>
        </p:nvSpPr>
        <p:spPr bwMode="auto">
          <a:xfrm>
            <a:off x="2353748" y="2426429"/>
            <a:ext cx="1889144" cy="573689"/>
          </a:xfrm>
          <a:prstGeom prst="rightArrow">
            <a:avLst>
              <a:gd name="adj1" fmla="val 74262"/>
              <a:gd name="adj2" fmla="val 50000"/>
            </a:avLst>
          </a:prstGeom>
          <a:no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CR" sz="1200" b="0" i="0" u="none" strike="noStrike" kern="1200" cap="none" spc="0" normalizeH="0" baseline="0" noProof="0" dirty="0">
                <a:ln>
                  <a:noFill/>
                </a:ln>
                <a:solidFill>
                  <a:srgbClr val="A56EFF"/>
                </a:solidFill>
                <a:effectLst/>
                <a:uLnTx/>
                <a:uFillTx/>
                <a:latin typeface="IBM Plex Sans Light"/>
                <a:ea typeface="+mn-ea"/>
                <a:cs typeface="+mn-cs"/>
              </a:rPr>
              <a:t>Band 8-9</a:t>
            </a:r>
          </a:p>
        </p:txBody>
      </p:sp>
      <p:sp>
        <p:nvSpPr>
          <p:cNvPr id="42" name="Right Arrow 41">
            <a:extLst>
              <a:ext uri="{FF2B5EF4-FFF2-40B4-BE49-F238E27FC236}">
                <a16:creationId xmlns:a16="http://schemas.microsoft.com/office/drawing/2014/main" id="{9F6E1D0F-20EE-2080-24E7-3A72D515C0FA}"/>
              </a:ext>
            </a:extLst>
          </p:cNvPr>
          <p:cNvSpPr/>
          <p:nvPr/>
        </p:nvSpPr>
        <p:spPr bwMode="auto">
          <a:xfrm>
            <a:off x="806935" y="2366192"/>
            <a:ext cx="1775815" cy="694164"/>
          </a:xfrm>
          <a:prstGeom prst="rightArrow">
            <a:avLst>
              <a:gd name="adj1" fmla="val 74262"/>
              <a:gd name="adj2" fmla="val 50000"/>
            </a:avLst>
          </a:prstGeom>
          <a:solidFill>
            <a:schemeClr val="accent2">
              <a:lumMod val="40000"/>
              <a:lumOff val="60000"/>
            </a:schemeClr>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CR" sz="1200" b="1" i="0" u="none" strike="noStrike" kern="1200" cap="none" spc="0" normalizeH="0" baseline="0" noProof="0" dirty="0">
                <a:ln>
                  <a:noFill/>
                </a:ln>
                <a:solidFill>
                  <a:srgbClr val="A56EFF">
                    <a:lumMod val="75000"/>
                  </a:srgbClr>
                </a:solidFill>
                <a:effectLst/>
                <a:uLnTx/>
                <a:uFillTx/>
                <a:latin typeface="IBM Plex Sans Light"/>
                <a:ea typeface="+mn-ea"/>
                <a:cs typeface="+mn-cs"/>
              </a:rPr>
              <a:t>HR Leader</a:t>
            </a:r>
          </a:p>
        </p:txBody>
      </p:sp>
      <p:sp>
        <p:nvSpPr>
          <p:cNvPr id="46" name="Right Arrow 45">
            <a:extLst>
              <a:ext uri="{FF2B5EF4-FFF2-40B4-BE49-F238E27FC236}">
                <a16:creationId xmlns:a16="http://schemas.microsoft.com/office/drawing/2014/main" id="{522CD587-EFE4-02BB-C260-01AEA21DC6E7}"/>
              </a:ext>
            </a:extLst>
          </p:cNvPr>
          <p:cNvSpPr/>
          <p:nvPr/>
        </p:nvSpPr>
        <p:spPr bwMode="auto">
          <a:xfrm>
            <a:off x="2353748" y="3629431"/>
            <a:ext cx="1889144" cy="573689"/>
          </a:xfrm>
          <a:prstGeom prst="rightArrow">
            <a:avLst>
              <a:gd name="adj1" fmla="val 74262"/>
              <a:gd name="adj2" fmla="val 50000"/>
            </a:avLst>
          </a:prstGeom>
          <a:no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CR" sz="1200" b="0" i="0" u="none" strike="noStrike" kern="1200" cap="none" spc="0" normalizeH="0" baseline="0" noProof="0" dirty="0">
                <a:ln>
                  <a:noFill/>
                </a:ln>
                <a:solidFill>
                  <a:srgbClr val="A56EFF"/>
                </a:solidFill>
                <a:effectLst/>
                <a:uLnTx/>
                <a:uFillTx/>
                <a:latin typeface="IBM Plex Sans Light"/>
                <a:ea typeface="+mn-ea"/>
                <a:cs typeface="+mn-cs"/>
              </a:rPr>
              <a:t>Band 6-7</a:t>
            </a:r>
          </a:p>
        </p:txBody>
      </p:sp>
      <p:sp>
        <p:nvSpPr>
          <p:cNvPr id="47" name="Right Arrow 46">
            <a:extLst>
              <a:ext uri="{FF2B5EF4-FFF2-40B4-BE49-F238E27FC236}">
                <a16:creationId xmlns:a16="http://schemas.microsoft.com/office/drawing/2014/main" id="{67ADBFEA-7923-5B89-C44D-74E6FC0A71B8}"/>
              </a:ext>
            </a:extLst>
          </p:cNvPr>
          <p:cNvSpPr/>
          <p:nvPr/>
        </p:nvSpPr>
        <p:spPr bwMode="auto">
          <a:xfrm>
            <a:off x="806935" y="3569194"/>
            <a:ext cx="1775815" cy="694164"/>
          </a:xfrm>
          <a:prstGeom prst="rightArrow">
            <a:avLst>
              <a:gd name="adj1" fmla="val 74262"/>
              <a:gd name="adj2" fmla="val 50000"/>
            </a:avLst>
          </a:prstGeom>
          <a:solidFill>
            <a:schemeClr val="accent2">
              <a:lumMod val="40000"/>
              <a:lumOff val="60000"/>
            </a:schemeClr>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CR" sz="1200" b="1" i="0" u="none" strike="noStrike" kern="1200" cap="none" spc="0" normalizeH="0" baseline="0" noProof="0" dirty="0">
                <a:ln>
                  <a:noFill/>
                </a:ln>
                <a:solidFill>
                  <a:srgbClr val="A56EFF">
                    <a:lumMod val="75000"/>
                  </a:srgbClr>
                </a:solidFill>
                <a:effectLst/>
                <a:uLnTx/>
                <a:uFillTx/>
                <a:latin typeface="IBM Plex Sans Light"/>
                <a:ea typeface="+mn-ea"/>
                <a:cs typeface="+mn-cs"/>
              </a:rPr>
              <a:t>HR Professional</a:t>
            </a:r>
          </a:p>
        </p:txBody>
      </p:sp>
      <p:sp>
        <p:nvSpPr>
          <p:cNvPr id="48" name="Right Arrow 47">
            <a:extLst>
              <a:ext uri="{FF2B5EF4-FFF2-40B4-BE49-F238E27FC236}">
                <a16:creationId xmlns:a16="http://schemas.microsoft.com/office/drawing/2014/main" id="{1216624C-155E-0212-7155-C0C36183EEA0}"/>
              </a:ext>
            </a:extLst>
          </p:cNvPr>
          <p:cNvSpPr/>
          <p:nvPr/>
        </p:nvSpPr>
        <p:spPr bwMode="auto">
          <a:xfrm>
            <a:off x="2353748" y="4832432"/>
            <a:ext cx="1889144" cy="573689"/>
          </a:xfrm>
          <a:prstGeom prst="rightArrow">
            <a:avLst>
              <a:gd name="adj1" fmla="val 74262"/>
              <a:gd name="adj2" fmla="val 50000"/>
            </a:avLst>
          </a:prstGeom>
          <a:no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CR" sz="1200" b="0" i="0" u="none" strike="noStrike" kern="1200" cap="none" spc="0" normalizeH="0" baseline="0" noProof="0" dirty="0">
                <a:ln>
                  <a:noFill/>
                </a:ln>
                <a:solidFill>
                  <a:srgbClr val="A56EFF"/>
                </a:solidFill>
                <a:effectLst/>
                <a:uLnTx/>
                <a:uFillTx/>
                <a:latin typeface="IBM Plex Sans Light"/>
                <a:ea typeface="+mn-ea"/>
                <a:cs typeface="+mn-cs"/>
              </a:rPr>
              <a:t>Band 3-5</a:t>
            </a:r>
          </a:p>
        </p:txBody>
      </p:sp>
      <p:sp>
        <p:nvSpPr>
          <p:cNvPr id="49" name="Right Arrow 48">
            <a:extLst>
              <a:ext uri="{FF2B5EF4-FFF2-40B4-BE49-F238E27FC236}">
                <a16:creationId xmlns:a16="http://schemas.microsoft.com/office/drawing/2014/main" id="{96FB7DF0-BA67-4909-A83D-9695358EAA35}"/>
              </a:ext>
            </a:extLst>
          </p:cNvPr>
          <p:cNvSpPr/>
          <p:nvPr/>
        </p:nvSpPr>
        <p:spPr bwMode="auto">
          <a:xfrm>
            <a:off x="806935" y="4772195"/>
            <a:ext cx="1775815" cy="694164"/>
          </a:xfrm>
          <a:prstGeom prst="rightArrow">
            <a:avLst>
              <a:gd name="adj1" fmla="val 74262"/>
              <a:gd name="adj2" fmla="val 50000"/>
            </a:avLst>
          </a:prstGeom>
          <a:solidFill>
            <a:schemeClr val="accent2">
              <a:lumMod val="40000"/>
              <a:lumOff val="60000"/>
            </a:schemeClr>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CR" sz="1200" b="1" i="0" u="none" strike="noStrike" kern="1200" cap="none" spc="0" normalizeH="0" baseline="0" noProof="0" dirty="0">
                <a:ln>
                  <a:noFill/>
                </a:ln>
                <a:solidFill>
                  <a:srgbClr val="A56EFF">
                    <a:lumMod val="75000"/>
                  </a:srgbClr>
                </a:solidFill>
                <a:effectLst/>
                <a:uLnTx/>
                <a:uFillTx/>
                <a:latin typeface="IBM Plex Sans Light"/>
                <a:ea typeface="+mn-ea"/>
                <a:cs typeface="+mn-cs"/>
              </a:rPr>
              <a:t>HR Administrator</a:t>
            </a:r>
          </a:p>
        </p:txBody>
      </p:sp>
      <p:pic>
        <p:nvPicPr>
          <p:cNvPr id="2" name="Picture 4">
            <a:extLst>
              <a:ext uri="{FF2B5EF4-FFF2-40B4-BE49-F238E27FC236}">
                <a16:creationId xmlns:a16="http://schemas.microsoft.com/office/drawing/2014/main" id="{729DA5BE-1011-5399-F28E-0A6D44F8162B}"/>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873752" y="1872752"/>
            <a:ext cx="444496" cy="166686"/>
          </a:xfrm>
          <a:prstGeom prst="rect">
            <a:avLst/>
          </a:prstGeom>
        </p:spPr>
      </p:pic>
      <p:pic>
        <p:nvPicPr>
          <p:cNvPr id="3" name="Picture 4">
            <a:extLst>
              <a:ext uri="{FF2B5EF4-FFF2-40B4-BE49-F238E27FC236}">
                <a16:creationId xmlns:a16="http://schemas.microsoft.com/office/drawing/2014/main" id="{90DFAC83-8D44-F414-2325-31F87014E416}"/>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233463" y="1895724"/>
            <a:ext cx="444496" cy="166686"/>
          </a:xfrm>
          <a:prstGeom prst="rect">
            <a:avLst/>
          </a:prstGeom>
        </p:spPr>
      </p:pic>
      <p:pic>
        <p:nvPicPr>
          <p:cNvPr id="4" name="Picture 4">
            <a:extLst>
              <a:ext uri="{FF2B5EF4-FFF2-40B4-BE49-F238E27FC236}">
                <a16:creationId xmlns:a16="http://schemas.microsoft.com/office/drawing/2014/main" id="{18DB0CA1-48EC-0958-61C2-37A07B39B55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0560225" y="1905454"/>
            <a:ext cx="444496" cy="166686"/>
          </a:xfrm>
          <a:prstGeom prst="rect">
            <a:avLst/>
          </a:prstGeom>
        </p:spPr>
      </p:pic>
      <p:pic>
        <p:nvPicPr>
          <p:cNvPr id="5" name="Picture 4">
            <a:extLst>
              <a:ext uri="{FF2B5EF4-FFF2-40B4-BE49-F238E27FC236}">
                <a16:creationId xmlns:a16="http://schemas.microsoft.com/office/drawing/2014/main" id="{9E55AB0E-206F-128F-E2D3-3BF291132F2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324572" y="2646883"/>
            <a:ext cx="444496" cy="166686"/>
          </a:xfrm>
          <a:prstGeom prst="rect">
            <a:avLst/>
          </a:prstGeom>
        </p:spPr>
      </p:pic>
      <p:pic>
        <p:nvPicPr>
          <p:cNvPr id="6" name="Picture 4">
            <a:extLst>
              <a:ext uri="{FF2B5EF4-FFF2-40B4-BE49-F238E27FC236}">
                <a16:creationId xmlns:a16="http://schemas.microsoft.com/office/drawing/2014/main" id="{0DDC3E46-7365-2FBD-814F-3339D8159AB3}"/>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288230" y="3825351"/>
            <a:ext cx="444496" cy="166686"/>
          </a:xfrm>
          <a:prstGeom prst="rect">
            <a:avLst/>
          </a:prstGeom>
        </p:spPr>
      </p:pic>
      <p:pic>
        <p:nvPicPr>
          <p:cNvPr id="9" name="Picture 4">
            <a:extLst>
              <a:ext uri="{FF2B5EF4-FFF2-40B4-BE49-F238E27FC236}">
                <a16:creationId xmlns:a16="http://schemas.microsoft.com/office/drawing/2014/main" id="{86A30DFB-F347-F153-C609-E05BBF6A8539}"/>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288230" y="5020253"/>
            <a:ext cx="444496" cy="166686"/>
          </a:xfrm>
          <a:prstGeom prst="rect">
            <a:avLst/>
          </a:prstGeom>
        </p:spPr>
      </p:pic>
      <p:cxnSp>
        <p:nvCxnSpPr>
          <p:cNvPr id="14" name="Straight Arrow Connector 13">
            <a:extLst>
              <a:ext uri="{FF2B5EF4-FFF2-40B4-BE49-F238E27FC236}">
                <a16:creationId xmlns:a16="http://schemas.microsoft.com/office/drawing/2014/main" id="{E411AC88-47FE-ECD9-E210-8A96FF261FF8}"/>
              </a:ext>
            </a:extLst>
          </p:cNvPr>
          <p:cNvCxnSpPr>
            <a:stCxn id="32" idx="3"/>
          </p:cNvCxnSpPr>
          <p:nvPr/>
        </p:nvCxnSpPr>
        <p:spPr bwMode="auto">
          <a:xfrm flipV="1">
            <a:off x="6997766" y="3629431"/>
            <a:ext cx="570037" cy="1232789"/>
          </a:xfrm>
          <a:prstGeom prst="straightConnector1">
            <a:avLst/>
          </a:prstGeom>
          <a:ln w="12700">
            <a:solidFill>
              <a:schemeClr val="accent2"/>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5" name="Straight Arrow Connector 14">
            <a:extLst>
              <a:ext uri="{FF2B5EF4-FFF2-40B4-BE49-F238E27FC236}">
                <a16:creationId xmlns:a16="http://schemas.microsoft.com/office/drawing/2014/main" id="{A02E8A30-D46A-FB48-F0F8-667372D1D33D}"/>
              </a:ext>
            </a:extLst>
          </p:cNvPr>
          <p:cNvCxnSpPr>
            <a:cxnSpLocks/>
            <a:endCxn id="37" idx="1"/>
          </p:cNvCxnSpPr>
          <p:nvPr/>
        </p:nvCxnSpPr>
        <p:spPr bwMode="auto">
          <a:xfrm flipV="1">
            <a:off x="7016666" y="4142348"/>
            <a:ext cx="551138" cy="1242729"/>
          </a:xfrm>
          <a:prstGeom prst="straightConnector1">
            <a:avLst/>
          </a:prstGeom>
          <a:ln w="12700">
            <a:solidFill>
              <a:schemeClr val="accent2"/>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5220FFC1-42AE-8DDC-CAE8-4EAA9B717D22}"/>
              </a:ext>
            </a:extLst>
          </p:cNvPr>
          <p:cNvCxnSpPr>
            <a:cxnSpLocks/>
          </p:cNvCxnSpPr>
          <p:nvPr/>
        </p:nvCxnSpPr>
        <p:spPr bwMode="auto">
          <a:xfrm flipV="1">
            <a:off x="6991171" y="2443673"/>
            <a:ext cx="595532" cy="514084"/>
          </a:xfrm>
          <a:prstGeom prst="straightConnector1">
            <a:avLst/>
          </a:prstGeom>
          <a:ln w="12700">
            <a:solidFill>
              <a:schemeClr val="accent2"/>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21" name="Straight Arrow Connector 20">
            <a:extLst>
              <a:ext uri="{FF2B5EF4-FFF2-40B4-BE49-F238E27FC236}">
                <a16:creationId xmlns:a16="http://schemas.microsoft.com/office/drawing/2014/main" id="{7C709D83-6888-5A9B-46F8-4B782B8049A1}"/>
              </a:ext>
            </a:extLst>
          </p:cNvPr>
          <p:cNvCxnSpPr>
            <a:cxnSpLocks/>
            <a:stCxn id="24" idx="3"/>
            <a:endCxn id="34" idx="1"/>
          </p:cNvCxnSpPr>
          <p:nvPr/>
        </p:nvCxnSpPr>
        <p:spPr bwMode="auto">
          <a:xfrm flipV="1">
            <a:off x="6997766" y="2927588"/>
            <a:ext cx="570038" cy="680837"/>
          </a:xfrm>
          <a:prstGeom prst="straightConnector1">
            <a:avLst/>
          </a:prstGeom>
          <a:ln w="12700">
            <a:solidFill>
              <a:schemeClr val="accent2"/>
            </a:solidFill>
            <a:headEnd type="none" w="med" len="med"/>
            <a:tailEnd type="triangle"/>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16310476"/>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8B859-E3F8-D46B-AC0D-864A218025C9}"/>
              </a:ext>
            </a:extLst>
          </p:cNvPr>
          <p:cNvSpPr>
            <a:spLocks noGrp="1"/>
          </p:cNvSpPr>
          <p:nvPr>
            <p:ph type="title"/>
          </p:nvPr>
        </p:nvSpPr>
        <p:spPr/>
        <p:txBody>
          <a:bodyPr/>
          <a:lstStyle/>
          <a:p>
            <a:r>
              <a:rPr lang="en-US" dirty="0"/>
              <a:t>Talent Acquisition Digital Labor</a:t>
            </a:r>
          </a:p>
        </p:txBody>
      </p:sp>
    </p:spTree>
    <p:extLst>
      <p:ext uri="{BB962C8B-B14F-4D97-AF65-F5344CB8AC3E}">
        <p14:creationId xmlns:p14="http://schemas.microsoft.com/office/powerpoint/2010/main" val="274464499"/>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0809103"/>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EFC1E6-2DFB-CE61-91D9-BEFE744562E4}"/>
              </a:ext>
            </a:extLst>
          </p:cNvPr>
          <p:cNvSpPr>
            <a:spLocks noGrp="1"/>
          </p:cNvSpPr>
          <p:nvPr>
            <p:ph type="title"/>
          </p:nvPr>
        </p:nvSpPr>
        <p:spPr>
          <a:xfrm>
            <a:off x="287998" y="192600"/>
            <a:ext cx="2830339" cy="762794"/>
          </a:xfrm>
        </p:spPr>
        <p:txBody>
          <a:bodyPr/>
          <a:lstStyle/>
          <a:p>
            <a:r>
              <a:rPr lang="en-US" sz="2800" dirty="0"/>
              <a:t>Assessing </a:t>
            </a:r>
            <a:br>
              <a:rPr lang="en-US" sz="2800" dirty="0"/>
            </a:br>
            <a:r>
              <a:rPr lang="en-US" sz="2800" dirty="0"/>
              <a:t>Gen AI </a:t>
            </a:r>
            <a:br>
              <a:rPr lang="en-US" sz="2800" dirty="0"/>
            </a:br>
            <a:r>
              <a:rPr lang="en-US" sz="2800" dirty="0"/>
              <a:t>Readiness</a:t>
            </a:r>
          </a:p>
        </p:txBody>
      </p:sp>
      <p:sp>
        <p:nvSpPr>
          <p:cNvPr id="4" name="Text Placeholder 3">
            <a:extLst>
              <a:ext uri="{FF2B5EF4-FFF2-40B4-BE49-F238E27FC236}">
                <a16:creationId xmlns:a16="http://schemas.microsoft.com/office/drawing/2014/main" id="{7B608A04-BE0D-A542-5BE4-1446F0CE05E4}"/>
              </a:ext>
            </a:extLst>
          </p:cNvPr>
          <p:cNvSpPr>
            <a:spLocks noGrp="1"/>
          </p:cNvSpPr>
          <p:nvPr>
            <p:ph type="body" sz="quarter" idx="19"/>
          </p:nvPr>
        </p:nvSpPr>
        <p:spPr>
          <a:xfrm>
            <a:off x="281498" y="1714500"/>
            <a:ext cx="2965794" cy="1087315"/>
          </a:xfrm>
        </p:spPr>
        <p:txBody>
          <a:bodyPr/>
          <a:lstStyle/>
          <a:p>
            <a:pPr marL="285750" indent="-285750">
              <a:buFont typeface="Arial" panose="020B0604020202020204" pitchFamily="34" charset="0"/>
              <a:buChar char="•"/>
            </a:pPr>
            <a:r>
              <a:rPr lang="en-US" sz="2000" dirty="0"/>
              <a:t>Complexity (branches)</a:t>
            </a:r>
          </a:p>
          <a:p>
            <a:pPr marL="285750" indent="-285750">
              <a:buFont typeface="Arial" panose="020B0604020202020204" pitchFamily="34" charset="0"/>
              <a:buChar char="•"/>
            </a:pPr>
            <a:r>
              <a:rPr lang="en-US" sz="2000" dirty="0"/>
              <a:t>Documentation quality</a:t>
            </a:r>
          </a:p>
          <a:p>
            <a:pPr marL="285750" indent="-285750">
              <a:buFont typeface="Arial" panose="020B0604020202020204" pitchFamily="34" charset="0"/>
              <a:buChar char="•"/>
            </a:pPr>
            <a:r>
              <a:rPr lang="en-US" sz="2000" dirty="0"/>
              <a:t>AI Ethics</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p:txBody>
      </p:sp>
      <p:sp>
        <p:nvSpPr>
          <p:cNvPr id="5" name="Footer Placeholder 6">
            <a:extLst>
              <a:ext uri="{FF2B5EF4-FFF2-40B4-BE49-F238E27FC236}">
                <a16:creationId xmlns:a16="http://schemas.microsoft.com/office/drawing/2014/main" id="{778EAC42-BF93-EFD4-208F-F5162C95A712}"/>
              </a:ext>
            </a:extLst>
          </p:cNvPr>
          <p:cNvSpPr txBox="1">
            <a:spLocks/>
          </p:cNvSpPr>
          <p:nvPr/>
        </p:nvSpPr>
        <p:spPr>
          <a:xfrm>
            <a:off x="181655" y="6433297"/>
            <a:ext cx="2763478" cy="247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IBM HR | 2024</a:t>
            </a:r>
          </a:p>
        </p:txBody>
      </p:sp>
      <p:sp>
        <p:nvSpPr>
          <p:cNvPr id="6" name="TextBox 5">
            <a:extLst>
              <a:ext uri="{FF2B5EF4-FFF2-40B4-BE49-F238E27FC236}">
                <a16:creationId xmlns:a16="http://schemas.microsoft.com/office/drawing/2014/main" id="{9EE5B76B-953E-BC03-75F1-427928437014}"/>
              </a:ext>
            </a:extLst>
          </p:cNvPr>
          <p:cNvSpPr txBox="1"/>
          <p:nvPr/>
        </p:nvSpPr>
        <p:spPr>
          <a:xfrm>
            <a:off x="234826" y="2852982"/>
            <a:ext cx="2657135" cy="5744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3200" b="0" i="0" u="none" strike="noStrike" kern="1200" cap="none" spc="0" normalizeH="0" baseline="0" noProof="0" dirty="0">
                <a:ln>
                  <a:noFill/>
                </a:ln>
                <a:solidFill>
                  <a:srgbClr val="000000"/>
                </a:solidFill>
                <a:effectLst/>
                <a:uLnTx/>
                <a:uFillTx/>
                <a:latin typeface="IBM Plex Sans Light"/>
                <a:ea typeface="+mn-ea"/>
                <a:cs typeface="Arial" panose="020B0604020202020204" pitchFamily="34" charset="0"/>
              </a:rPr>
              <a:t>↓</a:t>
            </a:r>
          </a:p>
        </p:txBody>
      </p:sp>
      <p:sp>
        <p:nvSpPr>
          <p:cNvPr id="7" name="TextBox 6">
            <a:extLst>
              <a:ext uri="{FF2B5EF4-FFF2-40B4-BE49-F238E27FC236}">
                <a16:creationId xmlns:a16="http://schemas.microsoft.com/office/drawing/2014/main" id="{D301EA97-D9F3-49AE-F4AC-9ECC5862CF20}"/>
              </a:ext>
            </a:extLst>
          </p:cNvPr>
          <p:cNvSpPr txBox="1"/>
          <p:nvPr/>
        </p:nvSpPr>
        <p:spPr>
          <a:xfrm>
            <a:off x="234826" y="3560921"/>
            <a:ext cx="3333316" cy="6447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a:ea typeface="+mn-ea"/>
                <a:cs typeface="Arial" panose="020B0604020202020204" pitchFamily="34" charset="0"/>
              </a:rPr>
              <a:t>Hybrid AI for HR</a:t>
            </a:r>
            <a:br>
              <a:rPr kumimoji="0" lang="en-US" sz="2400" b="0" i="0" u="none" strike="noStrike" kern="1200" cap="none" spc="0" normalizeH="0" baseline="0" noProof="0" dirty="0">
                <a:ln>
                  <a:noFill/>
                </a:ln>
                <a:solidFill>
                  <a:srgbClr val="000000"/>
                </a:solidFill>
                <a:effectLst/>
                <a:uLnTx/>
                <a:uFillTx/>
                <a:latin typeface="IBM Plex Sans Light"/>
                <a:ea typeface="+mn-ea"/>
                <a:cs typeface="Arial" panose="020B0604020202020204" pitchFamily="34" charset="0"/>
              </a:rPr>
            </a:br>
            <a:r>
              <a:rPr kumimoji="0" lang="en-US" sz="1100" b="0" i="1" u="none" strike="noStrike" kern="1200" cap="none" spc="0" normalizeH="0" baseline="0" noProof="0" dirty="0">
                <a:ln>
                  <a:noFill/>
                </a:ln>
                <a:solidFill>
                  <a:srgbClr val="000000"/>
                </a:solidFill>
                <a:effectLst/>
                <a:uLnTx/>
                <a:uFillTx/>
                <a:latin typeface="IBM Plex Sans Light"/>
                <a:ea typeface="+mn-ea"/>
                <a:cs typeface="Arial" panose="020B0604020202020204" pitchFamily="34" charset="0"/>
              </a:rPr>
              <a:t>(Automation + Traditional + Generative AI)</a:t>
            </a:r>
            <a:endParaRPr kumimoji="0" lang="en-US" sz="2400" b="0" i="1" u="none" strike="noStrike" kern="1200" cap="none" spc="0" normalizeH="0" baseline="0" noProof="0" dirty="0">
              <a:ln>
                <a:noFill/>
              </a:ln>
              <a:solidFill>
                <a:srgbClr val="000000"/>
              </a:solidFill>
              <a:effectLst/>
              <a:uLnTx/>
              <a:uFillTx/>
              <a:latin typeface="IBM Plex Sans Light"/>
              <a:ea typeface="+mn-ea"/>
              <a:cs typeface="Arial" panose="020B0604020202020204" pitchFamily="34" charset="0"/>
            </a:endParaRPr>
          </a:p>
        </p:txBody>
      </p:sp>
      <p:graphicFrame>
        <p:nvGraphicFramePr>
          <p:cNvPr id="8" name="Table 7">
            <a:extLst>
              <a:ext uri="{FF2B5EF4-FFF2-40B4-BE49-F238E27FC236}">
                <a16:creationId xmlns:a16="http://schemas.microsoft.com/office/drawing/2014/main" id="{8183FA8E-79FC-4B73-22D4-15824768C810}"/>
              </a:ext>
            </a:extLst>
          </p:cNvPr>
          <p:cNvGraphicFramePr>
            <a:graphicFrameLocks noGrp="1"/>
          </p:cNvGraphicFramePr>
          <p:nvPr/>
        </p:nvGraphicFramePr>
        <p:xfrm>
          <a:off x="3978557" y="215610"/>
          <a:ext cx="6236328" cy="6217687"/>
        </p:xfrm>
        <a:graphic>
          <a:graphicData uri="http://schemas.openxmlformats.org/drawingml/2006/table">
            <a:tbl>
              <a:tblPr firstRow="1" bandRow="1">
                <a:tableStyleId>{5C22544A-7EE6-4342-B048-85BDC9FD1C3A}</a:tableStyleId>
              </a:tblPr>
              <a:tblGrid>
                <a:gridCol w="2836838">
                  <a:extLst>
                    <a:ext uri="{9D8B030D-6E8A-4147-A177-3AD203B41FA5}">
                      <a16:colId xmlns:a16="http://schemas.microsoft.com/office/drawing/2014/main" val="3174046745"/>
                    </a:ext>
                  </a:extLst>
                </a:gridCol>
                <a:gridCol w="1579371">
                  <a:extLst>
                    <a:ext uri="{9D8B030D-6E8A-4147-A177-3AD203B41FA5}">
                      <a16:colId xmlns:a16="http://schemas.microsoft.com/office/drawing/2014/main" val="3786643753"/>
                    </a:ext>
                  </a:extLst>
                </a:gridCol>
                <a:gridCol w="1820119">
                  <a:extLst>
                    <a:ext uri="{9D8B030D-6E8A-4147-A177-3AD203B41FA5}">
                      <a16:colId xmlns:a16="http://schemas.microsoft.com/office/drawing/2014/main" val="3570702891"/>
                    </a:ext>
                  </a:extLst>
                </a:gridCol>
              </a:tblGrid>
              <a:tr h="732599">
                <a:tc>
                  <a:txBody>
                    <a:bodyPr/>
                    <a:lstStyle/>
                    <a:p>
                      <a:pPr algn="ctr"/>
                      <a:r>
                        <a:rPr lang="en-US" sz="2000" b="1" dirty="0">
                          <a:solidFill>
                            <a:schemeClr val="bg1"/>
                          </a:solidFill>
                        </a:rPr>
                        <a:t>HR Functions</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EA2FE"/>
                    </a:solidFill>
                  </a:tcPr>
                </a:tc>
                <a:tc>
                  <a:txBody>
                    <a:bodyPr/>
                    <a:lstStyle/>
                    <a:p>
                      <a:pPr algn="ctr"/>
                      <a:r>
                        <a:rPr lang="en-US" sz="2000" b="1" dirty="0">
                          <a:solidFill>
                            <a:schemeClr val="bg1"/>
                          </a:solidFill>
                        </a:rPr>
                        <a:t>R/Y/G</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EA2FE"/>
                    </a:solidFill>
                  </a:tcPr>
                </a:tc>
                <a:tc>
                  <a:txBody>
                    <a:bodyPr/>
                    <a:lstStyle/>
                    <a:p>
                      <a:pPr algn="ctr"/>
                      <a:r>
                        <a:rPr lang="en-US" sz="2000" b="1" dirty="0">
                          <a:solidFill>
                            <a:schemeClr val="bg1"/>
                          </a:solidFill>
                        </a:rPr>
                        <a:t>Intents</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EA2FE"/>
                    </a:solidFill>
                  </a:tcPr>
                </a:tc>
                <a:extLst>
                  <a:ext uri="{0D108BD9-81ED-4DB2-BD59-A6C34878D82A}">
                    <a16:rowId xmlns:a16="http://schemas.microsoft.com/office/drawing/2014/main" val="3818429166"/>
                  </a:ext>
                </a:extLst>
              </a:tr>
              <a:tr h="685636">
                <a:tc>
                  <a:txBody>
                    <a:bodyPr/>
                    <a:lstStyle/>
                    <a:p>
                      <a:pPr algn="l"/>
                      <a:r>
                        <a:rPr lang="en-US" sz="1800" dirty="0">
                          <a:solidFill>
                            <a:schemeClr val="tx1"/>
                          </a:solidFill>
                        </a:rPr>
                        <a:t>Benefi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r>
                        <a:rPr lang="en-US" sz="1800" dirty="0">
                          <a:solidFill>
                            <a:schemeClr val="tx1"/>
                          </a:solidFill>
                        </a:rPr>
                        <a:t>24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26922354"/>
                  </a:ext>
                </a:extLst>
              </a:tr>
              <a:tr h="685636">
                <a:tc>
                  <a:txBody>
                    <a:bodyPr/>
                    <a:lstStyle/>
                    <a:p>
                      <a:pPr algn="l"/>
                      <a:r>
                        <a:rPr lang="en-US" sz="1800" dirty="0">
                          <a:solidFill>
                            <a:schemeClr val="tx1"/>
                          </a:solidFill>
                        </a:rPr>
                        <a:t>Compen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r>
                        <a:rPr lang="en-US" sz="1800" dirty="0">
                          <a:solidFill>
                            <a:schemeClr val="tx1"/>
                          </a:solidFill>
                        </a:rPr>
                        <a:t>47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79280860"/>
                  </a:ext>
                </a:extLst>
              </a:tr>
              <a:tr h="685636">
                <a:tc>
                  <a:txBody>
                    <a:bodyPr/>
                    <a:lstStyle/>
                    <a:p>
                      <a:pPr algn="l"/>
                      <a:r>
                        <a:rPr lang="en-US" sz="1800" dirty="0">
                          <a:solidFill>
                            <a:schemeClr val="tx1"/>
                          </a:solidFill>
                        </a:rPr>
                        <a:t>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r>
                        <a:rPr lang="en-US" sz="1800" dirty="0">
                          <a:solidFill>
                            <a:schemeClr val="tx1"/>
                          </a:solidFill>
                        </a:rPr>
                        <a:t>18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48695810"/>
                  </a:ext>
                </a:extLst>
              </a:tr>
              <a:tr h="685636">
                <a:tc>
                  <a:txBody>
                    <a:bodyPr/>
                    <a:lstStyle/>
                    <a:p>
                      <a:pPr algn="l"/>
                      <a:r>
                        <a:rPr lang="en-US" sz="1800" dirty="0">
                          <a:solidFill>
                            <a:schemeClr val="tx1"/>
                          </a:solidFill>
                        </a:rPr>
                        <a:t>D&amp;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r>
                        <a:rPr lang="en-US" sz="1800" dirty="0">
                          <a:solidFill>
                            <a:schemeClr val="tx1"/>
                          </a:solidFill>
                        </a:rPr>
                        <a:t>9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75744618"/>
                  </a:ext>
                </a:extLst>
              </a:tr>
              <a:tr h="685636">
                <a:tc>
                  <a:txBody>
                    <a:bodyPr/>
                    <a:lstStyle/>
                    <a:p>
                      <a:pPr algn="l"/>
                      <a:r>
                        <a:rPr lang="en-US" sz="1800" dirty="0">
                          <a:solidFill>
                            <a:schemeClr val="tx1"/>
                          </a:solidFill>
                        </a:rPr>
                        <a:t>Global Mobi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FDC8C"/>
                    </a:solidFill>
                  </a:tcPr>
                </a:tc>
                <a:tc>
                  <a:txBody>
                    <a:bodyPr/>
                    <a:lstStyle/>
                    <a:p>
                      <a:r>
                        <a:rPr lang="en-US" sz="1800" dirty="0">
                          <a:solidFill>
                            <a:schemeClr val="tx1"/>
                          </a:solidFill>
                        </a:rPr>
                        <a:t>48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0478041"/>
                  </a:ext>
                </a:extLst>
              </a:tr>
              <a:tr h="685636">
                <a:tc>
                  <a:txBody>
                    <a:bodyPr/>
                    <a:lstStyle/>
                    <a:p>
                      <a:pPr algn="l"/>
                      <a:r>
                        <a:rPr lang="en-US" sz="1800" dirty="0">
                          <a:solidFill>
                            <a:schemeClr val="tx1"/>
                          </a:solidFill>
                        </a:rPr>
                        <a:t>Onboard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FDC8C"/>
                    </a:solidFill>
                  </a:tcPr>
                </a:tc>
                <a:tc>
                  <a:txBody>
                    <a:bodyPr/>
                    <a:lstStyle/>
                    <a:p>
                      <a:r>
                        <a:rPr lang="en-US" sz="1800" dirty="0">
                          <a:solidFill>
                            <a:schemeClr val="tx1"/>
                          </a:solidFill>
                        </a:rPr>
                        <a:t>2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4783324"/>
                  </a:ext>
                </a:extLst>
              </a:tr>
              <a:tr h="685636">
                <a:tc>
                  <a:txBody>
                    <a:bodyPr/>
                    <a:lstStyle/>
                    <a:p>
                      <a:pPr algn="l"/>
                      <a:r>
                        <a:rPr lang="en-US" sz="1800" dirty="0">
                          <a:solidFill>
                            <a:schemeClr val="tx1"/>
                          </a:solidFill>
                        </a:rPr>
                        <a:t>Talent Acquisi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r>
                        <a:rPr lang="en-US" sz="1800" dirty="0">
                          <a:solidFill>
                            <a:schemeClr val="tx1"/>
                          </a:solidFill>
                        </a:rPr>
                        <a:t>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30278364"/>
                  </a:ext>
                </a:extLst>
              </a:tr>
              <a:tr h="685636">
                <a:tc>
                  <a:txBody>
                    <a:bodyPr/>
                    <a:lstStyle/>
                    <a:p>
                      <a:pPr algn="l"/>
                      <a:r>
                        <a:rPr lang="en-US" sz="1800" dirty="0">
                          <a:solidFill>
                            <a:schemeClr val="tx1"/>
                          </a:solidFill>
                        </a:rPr>
                        <a:t>Care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r>
                        <a:rPr lang="en-US" sz="1800" dirty="0">
                          <a:solidFill>
                            <a:schemeClr val="tx1"/>
                          </a:solidFill>
                        </a:rPr>
                        <a:t>2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53965934"/>
                  </a:ext>
                </a:extLst>
              </a:tr>
            </a:tbl>
          </a:graphicData>
        </a:graphic>
      </p:graphicFrame>
      <p:graphicFrame>
        <p:nvGraphicFramePr>
          <p:cNvPr id="9" name="Table 8">
            <a:extLst>
              <a:ext uri="{FF2B5EF4-FFF2-40B4-BE49-F238E27FC236}">
                <a16:creationId xmlns:a16="http://schemas.microsoft.com/office/drawing/2014/main" id="{C3254BF8-6007-BDA4-341F-C70DE31160B6}"/>
              </a:ext>
            </a:extLst>
          </p:cNvPr>
          <p:cNvGraphicFramePr>
            <a:graphicFrameLocks noGrp="1"/>
          </p:cNvGraphicFramePr>
          <p:nvPr/>
        </p:nvGraphicFramePr>
        <p:xfrm>
          <a:off x="10817196" y="192600"/>
          <a:ext cx="1086806" cy="1097280"/>
        </p:xfrm>
        <a:graphic>
          <a:graphicData uri="http://schemas.openxmlformats.org/drawingml/2006/table">
            <a:tbl>
              <a:tblPr firstRow="1" bandRow="1">
                <a:tableStyleId>{5C22544A-7EE6-4342-B048-85BDC9FD1C3A}</a:tableStyleId>
              </a:tblPr>
              <a:tblGrid>
                <a:gridCol w="1086806">
                  <a:extLst>
                    <a:ext uri="{9D8B030D-6E8A-4147-A177-3AD203B41FA5}">
                      <a16:colId xmlns:a16="http://schemas.microsoft.com/office/drawing/2014/main" val="3108984137"/>
                    </a:ext>
                  </a:extLst>
                </a:gridCol>
              </a:tblGrid>
              <a:tr h="263706">
                <a:tc>
                  <a:txBody>
                    <a:bodyPr/>
                    <a:lstStyle/>
                    <a:p>
                      <a:pPr algn="ctr"/>
                      <a:r>
                        <a:rPr lang="en-US" sz="900" b="1" dirty="0"/>
                        <a:t>Majority ready for GenA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FDC8C"/>
                    </a:solidFill>
                  </a:tcPr>
                </a:tc>
                <a:extLst>
                  <a:ext uri="{0D108BD9-81ED-4DB2-BD59-A6C34878D82A}">
                    <a16:rowId xmlns:a16="http://schemas.microsoft.com/office/drawing/2014/main" val="3118733562"/>
                  </a:ext>
                </a:extLst>
              </a:tr>
              <a:tr h="263706">
                <a:tc>
                  <a:txBody>
                    <a:bodyPr/>
                    <a:lstStyle/>
                    <a:p>
                      <a:pPr algn="ctr"/>
                      <a:r>
                        <a:rPr lang="en-US" sz="900" b="1" dirty="0">
                          <a:solidFill>
                            <a:schemeClr val="tx1"/>
                          </a:solidFill>
                        </a:rPr>
                        <a:t>Some intents ready for GenA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extLst>
                  <a:ext uri="{0D108BD9-81ED-4DB2-BD59-A6C34878D82A}">
                    <a16:rowId xmlns:a16="http://schemas.microsoft.com/office/drawing/2014/main" val="3223417753"/>
                  </a:ext>
                </a:extLst>
              </a:tr>
              <a:tr h="263706">
                <a:tc>
                  <a:txBody>
                    <a:bodyPr/>
                    <a:lstStyle/>
                    <a:p>
                      <a:pPr algn="ctr"/>
                      <a:r>
                        <a:rPr lang="en-US" sz="900" b="1" dirty="0">
                          <a:solidFill>
                            <a:schemeClr val="tx1"/>
                          </a:solidFill>
                        </a:rPr>
                        <a:t>Limited intents ready for GenA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3274779193"/>
                  </a:ext>
                </a:extLst>
              </a:tr>
            </a:tbl>
          </a:graphicData>
        </a:graphic>
      </p:graphicFrame>
      <p:graphicFrame>
        <p:nvGraphicFramePr>
          <p:cNvPr id="10" name="Table 9">
            <a:extLst>
              <a:ext uri="{FF2B5EF4-FFF2-40B4-BE49-F238E27FC236}">
                <a16:creationId xmlns:a16="http://schemas.microsoft.com/office/drawing/2014/main" id="{E869F91B-EDB0-8266-E81C-05447AA710EF}"/>
              </a:ext>
            </a:extLst>
          </p:cNvPr>
          <p:cNvGraphicFramePr>
            <a:graphicFrameLocks noGrp="1"/>
          </p:cNvGraphicFramePr>
          <p:nvPr/>
        </p:nvGraphicFramePr>
        <p:xfrm>
          <a:off x="234826" y="4339199"/>
          <a:ext cx="2710308" cy="1139190"/>
        </p:xfrm>
        <a:graphic>
          <a:graphicData uri="http://schemas.openxmlformats.org/drawingml/2006/table">
            <a:tbl>
              <a:tblPr firstRow="1" bandRow="1">
                <a:tableStyleId>{5C22544A-7EE6-4342-B048-85BDC9FD1C3A}</a:tableStyleId>
              </a:tblPr>
              <a:tblGrid>
                <a:gridCol w="1355154">
                  <a:extLst>
                    <a:ext uri="{9D8B030D-6E8A-4147-A177-3AD203B41FA5}">
                      <a16:colId xmlns:a16="http://schemas.microsoft.com/office/drawing/2014/main" val="3786643753"/>
                    </a:ext>
                  </a:extLst>
                </a:gridCol>
                <a:gridCol w="1355154">
                  <a:extLst>
                    <a:ext uri="{9D8B030D-6E8A-4147-A177-3AD203B41FA5}">
                      <a16:colId xmlns:a16="http://schemas.microsoft.com/office/drawing/2014/main" val="3570702891"/>
                    </a:ext>
                  </a:extLst>
                </a:gridCol>
              </a:tblGrid>
              <a:tr h="278130">
                <a:tc>
                  <a:txBody>
                    <a:bodyPr/>
                    <a:lstStyle/>
                    <a:p>
                      <a:pPr algn="ctr"/>
                      <a:r>
                        <a:rPr lang="en-US" sz="1400" b="1" dirty="0">
                          <a:solidFill>
                            <a:schemeClr val="bg1"/>
                          </a:solidFill>
                        </a:rPr>
                        <a:t>R/Y/G (GenAI)</a:t>
                      </a:r>
                    </a:p>
                  </a:txBody>
                  <a:tcPr anchor="ctr">
                    <a:solidFill>
                      <a:srgbClr val="6EA2FE"/>
                    </a:solidFill>
                  </a:tcPr>
                </a:tc>
                <a:tc>
                  <a:txBody>
                    <a:bodyPr/>
                    <a:lstStyle/>
                    <a:p>
                      <a:pPr algn="ctr"/>
                      <a:r>
                        <a:rPr lang="en-US" sz="1400" b="1" dirty="0">
                          <a:solidFill>
                            <a:schemeClr val="bg1"/>
                          </a:solidFill>
                        </a:rPr>
                        <a:t>% of Total</a:t>
                      </a:r>
                    </a:p>
                  </a:txBody>
                  <a:tcPr anchor="ctr">
                    <a:solidFill>
                      <a:srgbClr val="6EA2FE"/>
                    </a:solidFill>
                  </a:tcPr>
                </a:tc>
                <a:extLst>
                  <a:ext uri="{0D108BD9-81ED-4DB2-BD59-A6C34878D82A}">
                    <a16:rowId xmlns:a16="http://schemas.microsoft.com/office/drawing/2014/main" val="3818429166"/>
                  </a:ext>
                </a:extLst>
              </a:tr>
              <a:tr h="278130">
                <a:tc>
                  <a:txBody>
                    <a:bodyPr/>
                    <a:lstStyle/>
                    <a:p>
                      <a:endParaRPr lang="en-US" dirty="0"/>
                    </a:p>
                  </a:txBody>
                  <a:tcPr>
                    <a:solidFill>
                      <a:srgbClr val="6FDC8C"/>
                    </a:solidFill>
                  </a:tcPr>
                </a:tc>
                <a:tc>
                  <a:txBody>
                    <a:bodyPr/>
                    <a:lstStyle/>
                    <a:p>
                      <a:r>
                        <a:rPr lang="en-US" sz="1050" b="1" dirty="0">
                          <a:solidFill>
                            <a:schemeClr val="tx1"/>
                          </a:solidFill>
                        </a:rPr>
                        <a:t>20%</a:t>
                      </a:r>
                    </a:p>
                  </a:txBody>
                  <a:tcPr>
                    <a:solidFill>
                      <a:schemeClr val="bg1"/>
                    </a:solidFill>
                  </a:tcPr>
                </a:tc>
                <a:extLst>
                  <a:ext uri="{0D108BD9-81ED-4DB2-BD59-A6C34878D82A}">
                    <a16:rowId xmlns:a16="http://schemas.microsoft.com/office/drawing/2014/main" val="2026922354"/>
                  </a:ext>
                </a:extLst>
              </a:tr>
              <a:tr h="278130">
                <a:tc>
                  <a:txBody>
                    <a:bodyPr/>
                    <a:lstStyle/>
                    <a:p>
                      <a:endParaRPr lang="en-US" dirty="0"/>
                    </a:p>
                  </a:txBody>
                  <a:tcPr>
                    <a:solidFill>
                      <a:srgbClr val="FFFF00"/>
                    </a:solidFill>
                  </a:tcPr>
                </a:tc>
                <a:tc>
                  <a:txBody>
                    <a:bodyPr/>
                    <a:lstStyle/>
                    <a:p>
                      <a:r>
                        <a:rPr lang="en-US" sz="1050" b="1" dirty="0">
                          <a:solidFill>
                            <a:schemeClr val="tx1"/>
                          </a:solidFill>
                        </a:rPr>
                        <a:t>30%</a:t>
                      </a:r>
                    </a:p>
                  </a:txBody>
                  <a:tcPr>
                    <a:solidFill>
                      <a:schemeClr val="bg1"/>
                    </a:solidFill>
                  </a:tcPr>
                </a:tc>
                <a:extLst>
                  <a:ext uri="{0D108BD9-81ED-4DB2-BD59-A6C34878D82A}">
                    <a16:rowId xmlns:a16="http://schemas.microsoft.com/office/drawing/2014/main" val="3979280860"/>
                  </a:ext>
                </a:extLst>
              </a:tr>
              <a:tr h="278130">
                <a:tc>
                  <a:txBody>
                    <a:bodyPr/>
                    <a:lstStyle/>
                    <a:p>
                      <a:endParaRPr lang="en-US" dirty="0"/>
                    </a:p>
                  </a:txBody>
                  <a:tcPr>
                    <a:solidFill>
                      <a:schemeClr val="accent6">
                        <a:lumMod val="60000"/>
                        <a:lumOff val="40000"/>
                      </a:schemeClr>
                    </a:solidFill>
                  </a:tcPr>
                </a:tc>
                <a:tc>
                  <a:txBody>
                    <a:bodyPr/>
                    <a:lstStyle/>
                    <a:p>
                      <a:r>
                        <a:rPr lang="en-US" sz="1050" b="1" dirty="0">
                          <a:solidFill>
                            <a:schemeClr val="tx1"/>
                          </a:solidFill>
                        </a:rPr>
                        <a:t>50%</a:t>
                      </a:r>
                    </a:p>
                  </a:txBody>
                  <a:tcPr>
                    <a:solidFill>
                      <a:schemeClr val="bg1"/>
                    </a:solidFill>
                  </a:tcPr>
                </a:tc>
                <a:extLst>
                  <a:ext uri="{0D108BD9-81ED-4DB2-BD59-A6C34878D82A}">
                    <a16:rowId xmlns:a16="http://schemas.microsoft.com/office/drawing/2014/main" val="1248695810"/>
                  </a:ext>
                </a:extLst>
              </a:tr>
            </a:tbl>
          </a:graphicData>
        </a:graphic>
      </p:graphicFrame>
    </p:spTree>
    <p:extLst>
      <p:ext uri="{BB962C8B-B14F-4D97-AF65-F5344CB8AC3E}">
        <p14:creationId xmlns:p14="http://schemas.microsoft.com/office/powerpoint/2010/main" val="1134921569"/>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19EB2236-BEC2-4DFA-7948-B2A897622CB1}"/>
              </a:ext>
            </a:extLst>
          </p:cNvPr>
          <p:cNvGrpSpPr/>
          <p:nvPr/>
        </p:nvGrpSpPr>
        <p:grpSpPr>
          <a:xfrm>
            <a:off x="3509043" y="3449471"/>
            <a:ext cx="1676342" cy="2259844"/>
            <a:chOff x="538905" y="1145754"/>
            <a:chExt cx="2585463" cy="2708312"/>
          </a:xfrm>
        </p:grpSpPr>
        <p:sp>
          <p:nvSpPr>
            <p:cNvPr id="21" name="Rectangle 20">
              <a:extLst>
                <a:ext uri="{FF2B5EF4-FFF2-40B4-BE49-F238E27FC236}">
                  <a16:creationId xmlns:a16="http://schemas.microsoft.com/office/drawing/2014/main" id="{32A0BBC6-E9FA-B4FC-7C7B-963E066BD7D2}"/>
                </a:ext>
              </a:extLst>
            </p:cNvPr>
            <p:cNvSpPr/>
            <p:nvPr/>
          </p:nvSpPr>
          <p:spPr bwMode="auto">
            <a:xfrm>
              <a:off x="538910" y="1145754"/>
              <a:ext cx="2585458" cy="2699132"/>
            </a:xfrm>
            <a:prstGeom prst="rect">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lvl="0" indent="0" algn="l" defTabSz="342832" rtl="0" eaLnBrk="1" fontAlgn="base" latinLnBrk="0" hangingPunct="1">
                <a:lnSpc>
                  <a:spcPct val="100000"/>
                </a:lnSpc>
                <a:spcBef>
                  <a:spcPct val="0"/>
                </a:spcBef>
                <a:spcAft>
                  <a:spcPct val="0"/>
                </a:spcAft>
                <a:buClrTx/>
                <a:buSzTx/>
                <a:buFontTx/>
                <a:buNone/>
                <a:tabLst/>
                <a:defRPr/>
              </a:pPr>
              <a:endParaRPr kumimoji="0" lang="en-US" sz="675"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2" name="Rectangle 21">
              <a:extLst>
                <a:ext uri="{FF2B5EF4-FFF2-40B4-BE49-F238E27FC236}">
                  <a16:creationId xmlns:a16="http://schemas.microsoft.com/office/drawing/2014/main" id="{E8BB263E-0AA4-D1C3-0FC6-D7B83531D978}"/>
                </a:ext>
              </a:extLst>
            </p:cNvPr>
            <p:cNvSpPr/>
            <p:nvPr/>
          </p:nvSpPr>
          <p:spPr bwMode="auto">
            <a:xfrm>
              <a:off x="538905" y="3789801"/>
              <a:ext cx="2585458" cy="64265"/>
            </a:xfrm>
            <a:prstGeom prst="rect">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lvl="0" indent="0" algn="l" defTabSz="342832" rtl="0" eaLnBrk="1" fontAlgn="base" latinLnBrk="0" hangingPunct="1">
                <a:lnSpc>
                  <a:spcPct val="100000"/>
                </a:lnSpc>
                <a:spcBef>
                  <a:spcPct val="0"/>
                </a:spcBef>
                <a:spcAft>
                  <a:spcPct val="0"/>
                </a:spcAft>
                <a:buClrTx/>
                <a:buSzTx/>
                <a:buFontTx/>
                <a:buNone/>
                <a:tabLst/>
                <a:defRPr/>
              </a:pPr>
              <a:endParaRPr kumimoji="0" lang="en-US" sz="675" b="0" i="0" u="none" strike="noStrike" kern="1200" cap="none" spc="0" normalizeH="0" baseline="0" noProof="0" dirty="0">
                <a:ln>
                  <a:noFill/>
                </a:ln>
                <a:solidFill>
                  <a:srgbClr val="FFFFFF"/>
                </a:solidFill>
                <a:effectLst/>
                <a:uLnTx/>
                <a:uFillTx/>
                <a:latin typeface="IBM Plex Sans Light"/>
                <a:ea typeface="+mn-ea"/>
                <a:cs typeface="+mn-cs"/>
              </a:endParaRPr>
            </a:p>
          </p:txBody>
        </p:sp>
      </p:grpSp>
      <p:grpSp>
        <p:nvGrpSpPr>
          <p:cNvPr id="26" name="Group 25">
            <a:extLst>
              <a:ext uri="{FF2B5EF4-FFF2-40B4-BE49-F238E27FC236}">
                <a16:creationId xmlns:a16="http://schemas.microsoft.com/office/drawing/2014/main" id="{DB151DA4-1323-57DE-B78C-B7F6257B8BFA}"/>
              </a:ext>
            </a:extLst>
          </p:cNvPr>
          <p:cNvGrpSpPr/>
          <p:nvPr/>
        </p:nvGrpSpPr>
        <p:grpSpPr>
          <a:xfrm>
            <a:off x="5246693" y="3449472"/>
            <a:ext cx="1676342" cy="2259845"/>
            <a:chOff x="538905" y="1145754"/>
            <a:chExt cx="2585461" cy="2708312"/>
          </a:xfrm>
          <a:solidFill>
            <a:schemeClr val="accent1">
              <a:lumMod val="20000"/>
              <a:lumOff val="80000"/>
            </a:schemeClr>
          </a:solidFill>
        </p:grpSpPr>
        <p:sp>
          <p:nvSpPr>
            <p:cNvPr id="27" name="Rectangle 26">
              <a:extLst>
                <a:ext uri="{FF2B5EF4-FFF2-40B4-BE49-F238E27FC236}">
                  <a16:creationId xmlns:a16="http://schemas.microsoft.com/office/drawing/2014/main" id="{91FB63BB-F73F-B10B-7833-F838992A920E}"/>
                </a:ext>
              </a:extLst>
            </p:cNvPr>
            <p:cNvSpPr/>
            <p:nvPr/>
          </p:nvSpPr>
          <p:spPr bwMode="auto">
            <a:xfrm>
              <a:off x="538905" y="1145754"/>
              <a:ext cx="2585459" cy="2699132"/>
            </a:xfrm>
            <a:prstGeom prst="rect">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lvl="0" indent="0" algn="l" defTabSz="342832" rtl="0" eaLnBrk="1" fontAlgn="base" latinLnBrk="0" hangingPunct="1">
                <a:lnSpc>
                  <a:spcPct val="100000"/>
                </a:lnSpc>
                <a:spcBef>
                  <a:spcPct val="0"/>
                </a:spcBef>
                <a:spcAft>
                  <a:spcPct val="0"/>
                </a:spcAft>
                <a:buClrTx/>
                <a:buSzTx/>
                <a:buFontTx/>
                <a:buNone/>
                <a:tabLst/>
                <a:defRPr/>
              </a:pPr>
              <a:endParaRPr kumimoji="0" lang="en-US" sz="675"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8" name="Rectangle 27">
              <a:extLst>
                <a:ext uri="{FF2B5EF4-FFF2-40B4-BE49-F238E27FC236}">
                  <a16:creationId xmlns:a16="http://schemas.microsoft.com/office/drawing/2014/main" id="{6DEB4BE6-00EC-999B-2865-4430CE2F66ED}"/>
                </a:ext>
              </a:extLst>
            </p:cNvPr>
            <p:cNvSpPr/>
            <p:nvPr/>
          </p:nvSpPr>
          <p:spPr bwMode="auto">
            <a:xfrm>
              <a:off x="538908" y="3789801"/>
              <a:ext cx="2585458" cy="64265"/>
            </a:xfrm>
            <a:prstGeom prst="rect">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lvl="0" indent="0" algn="l" defTabSz="342832" rtl="0" eaLnBrk="1" fontAlgn="base" latinLnBrk="0" hangingPunct="1">
                <a:lnSpc>
                  <a:spcPct val="100000"/>
                </a:lnSpc>
                <a:spcBef>
                  <a:spcPct val="0"/>
                </a:spcBef>
                <a:spcAft>
                  <a:spcPct val="0"/>
                </a:spcAft>
                <a:buClrTx/>
                <a:buSzTx/>
                <a:buFontTx/>
                <a:buNone/>
                <a:tabLst/>
                <a:defRPr/>
              </a:pPr>
              <a:endParaRPr kumimoji="0" lang="en-US" sz="675" b="0" i="0" u="none" strike="noStrike" kern="1200" cap="none" spc="0" normalizeH="0" baseline="0" noProof="0" dirty="0">
                <a:ln>
                  <a:noFill/>
                </a:ln>
                <a:solidFill>
                  <a:srgbClr val="FFFFFF"/>
                </a:solidFill>
                <a:effectLst/>
                <a:uLnTx/>
                <a:uFillTx/>
                <a:latin typeface="IBM Plex Sans Light"/>
                <a:ea typeface="+mn-ea"/>
                <a:cs typeface="+mn-cs"/>
              </a:endParaRPr>
            </a:p>
          </p:txBody>
        </p:sp>
      </p:grpSp>
      <p:grpSp>
        <p:nvGrpSpPr>
          <p:cNvPr id="23" name="Group 22">
            <a:extLst>
              <a:ext uri="{FF2B5EF4-FFF2-40B4-BE49-F238E27FC236}">
                <a16:creationId xmlns:a16="http://schemas.microsoft.com/office/drawing/2014/main" id="{268C642D-CB99-2DAB-0125-BF9FE62D23B2}"/>
              </a:ext>
            </a:extLst>
          </p:cNvPr>
          <p:cNvGrpSpPr/>
          <p:nvPr/>
        </p:nvGrpSpPr>
        <p:grpSpPr>
          <a:xfrm>
            <a:off x="6984998" y="3449472"/>
            <a:ext cx="1676339" cy="2259845"/>
            <a:chOff x="538906" y="1145754"/>
            <a:chExt cx="2585458" cy="2708312"/>
          </a:xfrm>
        </p:grpSpPr>
        <p:sp>
          <p:nvSpPr>
            <p:cNvPr id="24" name="Rectangle 23">
              <a:extLst>
                <a:ext uri="{FF2B5EF4-FFF2-40B4-BE49-F238E27FC236}">
                  <a16:creationId xmlns:a16="http://schemas.microsoft.com/office/drawing/2014/main" id="{6F02B30C-C78F-85A1-84E2-1C9E7588664C}"/>
                </a:ext>
              </a:extLst>
            </p:cNvPr>
            <p:cNvSpPr/>
            <p:nvPr/>
          </p:nvSpPr>
          <p:spPr bwMode="auto">
            <a:xfrm>
              <a:off x="538906" y="1145754"/>
              <a:ext cx="2585458" cy="2699132"/>
            </a:xfrm>
            <a:prstGeom prst="rect">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lvl="0" indent="0" algn="l" defTabSz="342832" rtl="0" eaLnBrk="1" fontAlgn="base" latinLnBrk="0" hangingPunct="1">
                <a:lnSpc>
                  <a:spcPct val="100000"/>
                </a:lnSpc>
                <a:spcBef>
                  <a:spcPct val="0"/>
                </a:spcBef>
                <a:spcAft>
                  <a:spcPct val="0"/>
                </a:spcAft>
                <a:buClrTx/>
                <a:buSzTx/>
                <a:buFontTx/>
                <a:buNone/>
                <a:tabLst/>
                <a:defRPr/>
              </a:pPr>
              <a:endParaRPr kumimoji="0" lang="en-US" sz="675"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5" name="Rectangle 24">
              <a:extLst>
                <a:ext uri="{FF2B5EF4-FFF2-40B4-BE49-F238E27FC236}">
                  <a16:creationId xmlns:a16="http://schemas.microsoft.com/office/drawing/2014/main" id="{2225A110-A1AB-D86E-1BFA-17370BC6C857}"/>
                </a:ext>
              </a:extLst>
            </p:cNvPr>
            <p:cNvSpPr/>
            <p:nvPr/>
          </p:nvSpPr>
          <p:spPr bwMode="auto">
            <a:xfrm>
              <a:off x="538907" y="3789801"/>
              <a:ext cx="2585457" cy="64265"/>
            </a:xfrm>
            <a:prstGeom prst="rect">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lvl="0" indent="0" algn="l" defTabSz="342832" rtl="0" eaLnBrk="1" fontAlgn="base" latinLnBrk="0" hangingPunct="1">
                <a:lnSpc>
                  <a:spcPct val="100000"/>
                </a:lnSpc>
                <a:spcBef>
                  <a:spcPct val="0"/>
                </a:spcBef>
                <a:spcAft>
                  <a:spcPct val="0"/>
                </a:spcAft>
                <a:buClrTx/>
                <a:buSzTx/>
                <a:buFontTx/>
                <a:buNone/>
                <a:tabLst/>
                <a:defRPr/>
              </a:pPr>
              <a:endParaRPr kumimoji="0" lang="en-US" sz="675" b="0" i="0" u="none" strike="noStrike" kern="1200" cap="none" spc="0" normalizeH="0" baseline="0" noProof="0" dirty="0">
                <a:ln>
                  <a:noFill/>
                </a:ln>
                <a:solidFill>
                  <a:srgbClr val="FFFFFF"/>
                </a:solidFill>
                <a:effectLst/>
                <a:uLnTx/>
                <a:uFillTx/>
                <a:latin typeface="IBM Plex Sans Light"/>
                <a:ea typeface="+mn-ea"/>
                <a:cs typeface="+mn-cs"/>
              </a:endParaRPr>
            </a:p>
          </p:txBody>
        </p:sp>
      </p:grpSp>
      <p:grpSp>
        <p:nvGrpSpPr>
          <p:cNvPr id="16" name="Group 15">
            <a:extLst>
              <a:ext uri="{FF2B5EF4-FFF2-40B4-BE49-F238E27FC236}">
                <a16:creationId xmlns:a16="http://schemas.microsoft.com/office/drawing/2014/main" id="{390DC642-7A7C-93D0-9C54-1D8CDE6521E6}"/>
              </a:ext>
            </a:extLst>
          </p:cNvPr>
          <p:cNvGrpSpPr/>
          <p:nvPr/>
        </p:nvGrpSpPr>
        <p:grpSpPr>
          <a:xfrm>
            <a:off x="1753031" y="3449472"/>
            <a:ext cx="1676342" cy="2259845"/>
            <a:chOff x="538905" y="1145754"/>
            <a:chExt cx="2585461" cy="2708312"/>
          </a:xfrm>
        </p:grpSpPr>
        <p:sp>
          <p:nvSpPr>
            <p:cNvPr id="17" name="Rectangle 16">
              <a:extLst>
                <a:ext uri="{FF2B5EF4-FFF2-40B4-BE49-F238E27FC236}">
                  <a16:creationId xmlns:a16="http://schemas.microsoft.com/office/drawing/2014/main" id="{819AE39A-9DA1-2BA5-61B8-36EDDCB88F78}"/>
                </a:ext>
              </a:extLst>
            </p:cNvPr>
            <p:cNvSpPr/>
            <p:nvPr/>
          </p:nvSpPr>
          <p:spPr bwMode="auto">
            <a:xfrm>
              <a:off x="538908" y="1145754"/>
              <a:ext cx="2585458" cy="2699132"/>
            </a:xfrm>
            <a:prstGeom prst="rect">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lvl="0" indent="0" algn="l" defTabSz="342832" rtl="0" eaLnBrk="1" fontAlgn="base" latinLnBrk="0" hangingPunct="1">
                <a:lnSpc>
                  <a:spcPct val="100000"/>
                </a:lnSpc>
                <a:spcBef>
                  <a:spcPct val="0"/>
                </a:spcBef>
                <a:spcAft>
                  <a:spcPct val="0"/>
                </a:spcAft>
                <a:buClrTx/>
                <a:buSzTx/>
                <a:buFontTx/>
                <a:buNone/>
                <a:tabLst/>
                <a:defRPr/>
              </a:pPr>
              <a:endParaRPr kumimoji="0" lang="en-US" sz="675"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8" name="Rectangle 17">
              <a:extLst>
                <a:ext uri="{FF2B5EF4-FFF2-40B4-BE49-F238E27FC236}">
                  <a16:creationId xmlns:a16="http://schemas.microsoft.com/office/drawing/2014/main" id="{B73C795E-0E06-DB31-2B2F-FE62EB32F3DB}"/>
                </a:ext>
              </a:extLst>
            </p:cNvPr>
            <p:cNvSpPr/>
            <p:nvPr/>
          </p:nvSpPr>
          <p:spPr bwMode="auto">
            <a:xfrm>
              <a:off x="538905" y="3789801"/>
              <a:ext cx="2585458" cy="64265"/>
            </a:xfrm>
            <a:prstGeom prst="rect">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lvl="0" indent="0" algn="l" defTabSz="342832" rtl="0" eaLnBrk="1" fontAlgn="base" latinLnBrk="0" hangingPunct="1">
                <a:lnSpc>
                  <a:spcPct val="100000"/>
                </a:lnSpc>
                <a:spcBef>
                  <a:spcPct val="0"/>
                </a:spcBef>
                <a:spcAft>
                  <a:spcPct val="0"/>
                </a:spcAft>
                <a:buClrTx/>
                <a:buSzTx/>
                <a:buFontTx/>
                <a:buNone/>
                <a:tabLst/>
                <a:defRPr/>
              </a:pPr>
              <a:endParaRPr kumimoji="0" lang="en-US" sz="675" b="0" i="0" u="none" strike="noStrike" kern="1200" cap="none" spc="0" normalizeH="0" baseline="0" noProof="0" dirty="0">
                <a:ln>
                  <a:noFill/>
                </a:ln>
                <a:solidFill>
                  <a:srgbClr val="FFFFFF"/>
                </a:solidFill>
                <a:effectLst/>
                <a:uLnTx/>
                <a:uFillTx/>
                <a:latin typeface="IBM Plex Sans Light"/>
                <a:ea typeface="+mn-ea"/>
                <a:cs typeface="+mn-cs"/>
              </a:endParaRPr>
            </a:p>
          </p:txBody>
        </p:sp>
      </p:grpSp>
      <p:grpSp>
        <p:nvGrpSpPr>
          <p:cNvPr id="49" name="Group 48">
            <a:extLst>
              <a:ext uri="{FF2B5EF4-FFF2-40B4-BE49-F238E27FC236}">
                <a16:creationId xmlns:a16="http://schemas.microsoft.com/office/drawing/2014/main" id="{00884EA5-6130-ED89-E047-6DF3425128BE}"/>
              </a:ext>
            </a:extLst>
          </p:cNvPr>
          <p:cNvGrpSpPr/>
          <p:nvPr/>
        </p:nvGrpSpPr>
        <p:grpSpPr>
          <a:xfrm>
            <a:off x="8743041" y="3449472"/>
            <a:ext cx="1676339" cy="2259845"/>
            <a:chOff x="538906" y="1145754"/>
            <a:chExt cx="2585458" cy="2708312"/>
          </a:xfrm>
        </p:grpSpPr>
        <p:sp>
          <p:nvSpPr>
            <p:cNvPr id="55" name="Rectangle 54">
              <a:extLst>
                <a:ext uri="{FF2B5EF4-FFF2-40B4-BE49-F238E27FC236}">
                  <a16:creationId xmlns:a16="http://schemas.microsoft.com/office/drawing/2014/main" id="{4B3D79C8-0B88-4C52-3529-BBB909AA666F}"/>
                </a:ext>
              </a:extLst>
            </p:cNvPr>
            <p:cNvSpPr/>
            <p:nvPr/>
          </p:nvSpPr>
          <p:spPr bwMode="auto">
            <a:xfrm>
              <a:off x="538906" y="1145754"/>
              <a:ext cx="2585458" cy="2699132"/>
            </a:xfrm>
            <a:prstGeom prst="rect">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lvl="0" indent="0" algn="l" defTabSz="342832" rtl="0" eaLnBrk="1" fontAlgn="base" latinLnBrk="0" hangingPunct="1">
                <a:lnSpc>
                  <a:spcPct val="100000"/>
                </a:lnSpc>
                <a:spcBef>
                  <a:spcPct val="0"/>
                </a:spcBef>
                <a:spcAft>
                  <a:spcPct val="0"/>
                </a:spcAft>
                <a:buClrTx/>
                <a:buSzTx/>
                <a:buFontTx/>
                <a:buNone/>
                <a:tabLst/>
                <a:defRPr/>
              </a:pPr>
              <a:endParaRPr kumimoji="0" lang="en-US" sz="675"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56" name="Rectangle 55">
              <a:extLst>
                <a:ext uri="{FF2B5EF4-FFF2-40B4-BE49-F238E27FC236}">
                  <a16:creationId xmlns:a16="http://schemas.microsoft.com/office/drawing/2014/main" id="{4EF314A9-6398-495F-3FA3-03F95B8A84A2}"/>
                </a:ext>
              </a:extLst>
            </p:cNvPr>
            <p:cNvSpPr/>
            <p:nvPr/>
          </p:nvSpPr>
          <p:spPr bwMode="auto">
            <a:xfrm>
              <a:off x="538907" y="3789801"/>
              <a:ext cx="2585457" cy="64265"/>
            </a:xfrm>
            <a:prstGeom prst="rect">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lvl="0" indent="0" algn="l" defTabSz="342832" rtl="0" eaLnBrk="1" fontAlgn="base" latinLnBrk="0" hangingPunct="1">
                <a:lnSpc>
                  <a:spcPct val="100000"/>
                </a:lnSpc>
                <a:spcBef>
                  <a:spcPct val="0"/>
                </a:spcBef>
                <a:spcAft>
                  <a:spcPct val="0"/>
                </a:spcAft>
                <a:buClrTx/>
                <a:buSzTx/>
                <a:buFontTx/>
                <a:buNone/>
                <a:tabLst/>
                <a:defRPr/>
              </a:pPr>
              <a:endParaRPr kumimoji="0" lang="en-US" sz="675" b="0" i="0" u="none" strike="noStrike" kern="1200" cap="none" spc="0" normalizeH="0" baseline="0" noProof="0" dirty="0">
                <a:ln>
                  <a:noFill/>
                </a:ln>
                <a:solidFill>
                  <a:srgbClr val="FFFFFF"/>
                </a:solidFill>
                <a:effectLst/>
                <a:uLnTx/>
                <a:uFillTx/>
                <a:latin typeface="IBM Plex Sans Light"/>
                <a:ea typeface="+mn-ea"/>
                <a:cs typeface="+mn-cs"/>
              </a:endParaRPr>
            </a:p>
          </p:txBody>
        </p:sp>
      </p:grpSp>
      <p:sp>
        <p:nvSpPr>
          <p:cNvPr id="47" name="Rectangle 46">
            <a:extLst>
              <a:ext uri="{FF2B5EF4-FFF2-40B4-BE49-F238E27FC236}">
                <a16:creationId xmlns:a16="http://schemas.microsoft.com/office/drawing/2014/main" id="{28DB4C0A-9A14-BEC9-3B03-F9DAE96026C9}"/>
              </a:ext>
            </a:extLst>
          </p:cNvPr>
          <p:cNvSpPr/>
          <p:nvPr/>
        </p:nvSpPr>
        <p:spPr bwMode="auto">
          <a:xfrm>
            <a:off x="1743818" y="3449471"/>
            <a:ext cx="1674305" cy="837000"/>
          </a:xfrm>
          <a:prstGeom prst="rect">
            <a:avLst/>
          </a:prstGeom>
          <a:solidFill>
            <a:schemeClr val="bg1">
              <a:lumMod val="8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8580" tIns="68580" rIns="68580" bIns="68580" numCol="1" rtlCol="0"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58" name="Rectangle 57">
            <a:extLst>
              <a:ext uri="{FF2B5EF4-FFF2-40B4-BE49-F238E27FC236}">
                <a16:creationId xmlns:a16="http://schemas.microsoft.com/office/drawing/2014/main" id="{E059A1E9-1AAD-81A3-CB0E-C3BE067E91D9}"/>
              </a:ext>
            </a:extLst>
          </p:cNvPr>
          <p:cNvSpPr/>
          <p:nvPr/>
        </p:nvSpPr>
        <p:spPr bwMode="auto">
          <a:xfrm>
            <a:off x="5256117" y="3449471"/>
            <a:ext cx="1674305" cy="837000"/>
          </a:xfrm>
          <a:prstGeom prst="rect">
            <a:avLst/>
          </a:prstGeom>
          <a:solidFill>
            <a:schemeClr val="bg1">
              <a:lumMod val="8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8580" tIns="68580" rIns="68580" bIns="68580" numCol="1" rtlCol="0"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59" name="Rectangle 58">
            <a:extLst>
              <a:ext uri="{FF2B5EF4-FFF2-40B4-BE49-F238E27FC236}">
                <a16:creationId xmlns:a16="http://schemas.microsoft.com/office/drawing/2014/main" id="{ED5702A8-82A3-25CF-03A3-2B0171282990}"/>
              </a:ext>
            </a:extLst>
          </p:cNvPr>
          <p:cNvSpPr/>
          <p:nvPr/>
        </p:nvSpPr>
        <p:spPr bwMode="auto">
          <a:xfrm>
            <a:off x="7006619" y="3449471"/>
            <a:ext cx="1674305" cy="837000"/>
          </a:xfrm>
          <a:prstGeom prst="rect">
            <a:avLst/>
          </a:prstGeom>
          <a:solidFill>
            <a:schemeClr val="bg1">
              <a:lumMod val="8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8580" tIns="68580" rIns="68580" bIns="68580" numCol="1" rtlCol="0"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60" name="Rectangle 59">
            <a:extLst>
              <a:ext uri="{FF2B5EF4-FFF2-40B4-BE49-F238E27FC236}">
                <a16:creationId xmlns:a16="http://schemas.microsoft.com/office/drawing/2014/main" id="{F6ABBB38-7588-B429-3A23-EE2E754D1071}"/>
              </a:ext>
            </a:extLst>
          </p:cNvPr>
          <p:cNvSpPr/>
          <p:nvPr/>
        </p:nvSpPr>
        <p:spPr bwMode="auto">
          <a:xfrm>
            <a:off x="8745075" y="3449471"/>
            <a:ext cx="1674305" cy="837000"/>
          </a:xfrm>
          <a:prstGeom prst="rect">
            <a:avLst/>
          </a:prstGeom>
          <a:solidFill>
            <a:schemeClr val="bg1">
              <a:lumMod val="8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8580" tIns="68580" rIns="68580" bIns="68580" numCol="1" rtlCol="0"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46" name="Rectangle 45">
            <a:extLst>
              <a:ext uri="{FF2B5EF4-FFF2-40B4-BE49-F238E27FC236}">
                <a16:creationId xmlns:a16="http://schemas.microsoft.com/office/drawing/2014/main" id="{27866A84-0D31-9E75-8D14-191598895031}"/>
              </a:ext>
            </a:extLst>
          </p:cNvPr>
          <p:cNvSpPr/>
          <p:nvPr/>
        </p:nvSpPr>
        <p:spPr bwMode="auto">
          <a:xfrm>
            <a:off x="3511079" y="3449471"/>
            <a:ext cx="1674305" cy="837000"/>
          </a:xfrm>
          <a:prstGeom prst="rect">
            <a:avLst/>
          </a:prstGeom>
          <a:solidFill>
            <a:schemeClr val="bg1">
              <a:lumMod val="8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8580" tIns="68580" rIns="68580" bIns="68580" numCol="1" rtlCol="0"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 name="Up Arrow 2">
            <a:extLst>
              <a:ext uri="{FF2B5EF4-FFF2-40B4-BE49-F238E27FC236}">
                <a16:creationId xmlns:a16="http://schemas.microsoft.com/office/drawing/2014/main" id="{5F51FCF1-53A7-87BC-F132-1DAF41CE163D}"/>
              </a:ext>
            </a:extLst>
          </p:cNvPr>
          <p:cNvSpPr/>
          <p:nvPr/>
        </p:nvSpPr>
        <p:spPr bwMode="auto">
          <a:xfrm rot="5400000">
            <a:off x="7748996" y="-204173"/>
            <a:ext cx="667644" cy="5113740"/>
          </a:xfrm>
          <a:prstGeom prst="upArrow">
            <a:avLst>
              <a:gd name="adj1" fmla="val 50000"/>
              <a:gd name="adj2" fmla="val 59150"/>
            </a:avLst>
          </a:prstGeom>
          <a:solidFill>
            <a:srgbClr val="D0E2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lvl="0" indent="0" algn="l" defTabSz="342832" rtl="0" eaLnBrk="1" fontAlgn="base" latinLnBrk="0" hangingPunct="1">
              <a:lnSpc>
                <a:spcPct val="100000"/>
              </a:lnSpc>
              <a:spcBef>
                <a:spcPct val="0"/>
              </a:spcBef>
              <a:spcAft>
                <a:spcPct val="0"/>
              </a:spcAft>
              <a:buClrTx/>
              <a:buSzTx/>
              <a:buFontTx/>
              <a:buNone/>
              <a:tabLst/>
              <a:defRPr/>
            </a:pPr>
            <a:endParaRPr kumimoji="0" lang="en-US" sz="525"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1" name="TextBox 30">
            <a:extLst>
              <a:ext uri="{FF2B5EF4-FFF2-40B4-BE49-F238E27FC236}">
                <a16:creationId xmlns:a16="http://schemas.microsoft.com/office/drawing/2014/main" id="{04918AF5-34D4-1D1B-176B-9A33C024E87E}"/>
              </a:ext>
            </a:extLst>
          </p:cNvPr>
          <p:cNvSpPr txBox="1"/>
          <p:nvPr/>
        </p:nvSpPr>
        <p:spPr>
          <a:xfrm>
            <a:off x="5297782" y="3528369"/>
            <a:ext cx="1621903" cy="5078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342832" rtl="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srgbClr val="002D9C"/>
                </a:solidFill>
                <a:effectLst/>
                <a:uLnTx/>
                <a:uFillTx/>
                <a:latin typeface="IBM Plex Sans" panose="020B0503050203000203" pitchFamily="34" charset="0"/>
                <a:ea typeface="+mn-ea"/>
                <a:cs typeface="+mn-cs"/>
                <a:sym typeface="IBM Plex Sans Light"/>
              </a:rPr>
              <a:t>IT </a:t>
            </a:r>
          </a:p>
          <a:p>
            <a:pPr marL="0" marR="0" lvl="0" indent="0" algn="l" defTabSz="342832" rtl="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srgbClr val="002D9C"/>
                </a:solidFill>
                <a:effectLst/>
                <a:uLnTx/>
                <a:uFillTx/>
                <a:latin typeface="IBM Plex Sans" panose="020B0503050203000203" pitchFamily="34" charset="0"/>
                <a:ea typeface="+mn-ea"/>
                <a:cs typeface="+mn-cs"/>
                <a:sym typeface="IBM Plex Sans Light"/>
              </a:rPr>
              <a:t>Modernization</a:t>
            </a:r>
            <a:endParaRPr kumimoji="0" lang="en-US" sz="1050" b="1" i="0" u="none" strike="noStrike" kern="1200" cap="none" spc="0" normalizeH="0" baseline="0" noProof="0" dirty="0">
              <a:ln>
                <a:noFill/>
              </a:ln>
              <a:solidFill>
                <a:srgbClr val="002D9C"/>
              </a:solidFill>
              <a:effectLst/>
              <a:uLnTx/>
              <a:uFillTx/>
              <a:latin typeface="IBM Plex Sans" panose="020B0503050203000203" pitchFamily="34" charset="0"/>
              <a:ea typeface="IBM Plex Sans SmBld" panose="020B0703050203000203" pitchFamily="34" charset="0"/>
              <a:cs typeface="IBM Plex Sans SmBld" panose="020B0703050203000203" pitchFamily="34" charset="0"/>
            </a:endParaRPr>
          </a:p>
        </p:txBody>
      </p:sp>
      <p:sp>
        <p:nvSpPr>
          <p:cNvPr id="34" name="TextBox 33">
            <a:extLst>
              <a:ext uri="{FF2B5EF4-FFF2-40B4-BE49-F238E27FC236}">
                <a16:creationId xmlns:a16="http://schemas.microsoft.com/office/drawing/2014/main" id="{E3A69A3B-2ADC-C2D9-6B6B-FE3A1A2090D3}"/>
              </a:ext>
            </a:extLst>
          </p:cNvPr>
          <p:cNvSpPr txBox="1"/>
          <p:nvPr/>
        </p:nvSpPr>
        <p:spPr>
          <a:xfrm>
            <a:off x="5269844" y="5114994"/>
            <a:ext cx="1659281" cy="5078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914217" rtl="0" eaLnBrk="1" fontAlgn="auto" latinLnBrk="0" hangingPunct="1">
              <a:lnSpc>
                <a:spcPct val="100000"/>
              </a:lnSpc>
              <a:spcBef>
                <a:spcPts val="0"/>
              </a:spcBef>
              <a:spcAft>
                <a:spcPts val="0"/>
              </a:spcAft>
              <a:buClrTx/>
              <a:buSzPct val="100000"/>
              <a:buFontTx/>
              <a:buNone/>
              <a:tabLst/>
              <a:defRPr/>
            </a:pPr>
            <a:r>
              <a:rPr kumimoji="0" lang="en-US" sz="1350" b="0" i="0" u="none" strike="noStrike" kern="0" cap="none" spc="0" normalizeH="0" baseline="0" noProof="0" dirty="0">
                <a:ln>
                  <a:noFill/>
                </a:ln>
                <a:solidFill>
                  <a:srgbClr val="0F62FE"/>
                </a:solidFill>
                <a:effectLst/>
                <a:uLnTx/>
                <a:uFillTx/>
                <a:latin typeface="IBM Plex Sans Light"/>
                <a:ea typeface="+mn-ea"/>
                <a:cs typeface="+mn-cs"/>
                <a:sym typeface="IBM Plex Sans Light"/>
              </a:rPr>
              <a:t>$100M+ optimization </a:t>
            </a:r>
          </a:p>
        </p:txBody>
      </p:sp>
      <p:sp>
        <p:nvSpPr>
          <p:cNvPr id="4" name="Up Arrow 3">
            <a:extLst>
              <a:ext uri="{FF2B5EF4-FFF2-40B4-BE49-F238E27FC236}">
                <a16:creationId xmlns:a16="http://schemas.microsoft.com/office/drawing/2014/main" id="{4193FDE7-DBB9-8E28-26C8-89D3D5CD0D88}"/>
              </a:ext>
            </a:extLst>
          </p:cNvPr>
          <p:cNvSpPr/>
          <p:nvPr/>
        </p:nvSpPr>
        <p:spPr bwMode="auto">
          <a:xfrm rot="5400000">
            <a:off x="5762179" y="-1970539"/>
            <a:ext cx="667644" cy="9144001"/>
          </a:xfrm>
          <a:prstGeom prst="upArrow">
            <a:avLst>
              <a:gd name="adj1" fmla="val 50000"/>
              <a:gd name="adj2" fmla="val 59150"/>
            </a:avLst>
          </a:prstGeom>
          <a:solidFill>
            <a:srgbClr val="EDF5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lvl="0" indent="0" algn="l" defTabSz="342832" rtl="0" eaLnBrk="1" fontAlgn="base" latinLnBrk="0" hangingPunct="1">
              <a:lnSpc>
                <a:spcPct val="100000"/>
              </a:lnSpc>
              <a:spcBef>
                <a:spcPct val="0"/>
              </a:spcBef>
              <a:spcAft>
                <a:spcPct val="0"/>
              </a:spcAft>
              <a:buClrTx/>
              <a:buSzTx/>
              <a:buFontTx/>
              <a:buNone/>
              <a:tabLst/>
              <a:defRPr/>
            </a:pPr>
            <a:endParaRPr kumimoji="0" lang="en-US" sz="525"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5" name="Title 4">
            <a:extLst>
              <a:ext uri="{FF2B5EF4-FFF2-40B4-BE49-F238E27FC236}">
                <a16:creationId xmlns:a16="http://schemas.microsoft.com/office/drawing/2014/main" id="{B26E1647-A068-04FB-DA26-A0210742D456}"/>
              </a:ext>
            </a:extLst>
          </p:cNvPr>
          <p:cNvSpPr>
            <a:spLocks noGrp="1"/>
          </p:cNvSpPr>
          <p:nvPr>
            <p:ph type="title"/>
          </p:nvPr>
        </p:nvSpPr>
        <p:spPr>
          <a:xfrm>
            <a:off x="1739999" y="1073585"/>
            <a:ext cx="8647316" cy="424753"/>
          </a:xfrm>
          <a:ln w="12700">
            <a:miter lim="400000"/>
          </a:ln>
        </p:spPr>
        <p:txBody>
          <a:bodyPr lIns="0" tIns="0" rIns="0" bIns="0"/>
          <a:lstStyle/>
          <a:p>
            <a:r>
              <a:rPr lang="en-US" sz="2700" dirty="0"/>
              <a:t>$2.2B delivered in productivity with Automation &amp; AI</a:t>
            </a:r>
          </a:p>
        </p:txBody>
      </p:sp>
      <p:sp>
        <p:nvSpPr>
          <p:cNvPr id="15" name="Slide Number Placeholder 14">
            <a:extLst>
              <a:ext uri="{FF2B5EF4-FFF2-40B4-BE49-F238E27FC236}">
                <a16:creationId xmlns:a16="http://schemas.microsoft.com/office/drawing/2014/main" id="{658D213F-C997-78C8-5219-1C0D223F0685}"/>
              </a:ext>
            </a:extLst>
          </p:cNvPr>
          <p:cNvSpPr>
            <a:spLocks noGrp="1"/>
          </p:cNvSpPr>
          <p:nvPr>
            <p:ph type="sldNum" sz="quarter" idx="4"/>
          </p:nvPr>
        </p:nvSpPr>
        <p:spPr>
          <a:xfrm>
            <a:off x="8173906" y="5709317"/>
            <a:ext cx="46488" cy="92333"/>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6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sym typeface="IBM Plex San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US" sz="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IBM Plex Sans"/>
            </a:endParaRPr>
          </a:p>
        </p:txBody>
      </p:sp>
      <p:sp>
        <p:nvSpPr>
          <p:cNvPr id="48" name="TextBox 47">
            <a:extLst>
              <a:ext uri="{FF2B5EF4-FFF2-40B4-BE49-F238E27FC236}">
                <a16:creationId xmlns:a16="http://schemas.microsoft.com/office/drawing/2014/main" id="{8027FB07-FEC9-9E28-65F5-3A448BBF2592}"/>
              </a:ext>
            </a:extLst>
          </p:cNvPr>
          <p:cNvSpPr txBox="1"/>
          <p:nvPr/>
        </p:nvSpPr>
        <p:spPr>
          <a:xfrm>
            <a:off x="5699960" y="1660868"/>
            <a:ext cx="585976" cy="3123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0" marR="0" lvl="0" indent="0" algn="l" defTabSz="914217" rtl="0" eaLnBrk="1" fontAlgn="auto" latinLnBrk="0" hangingPunct="1">
              <a:lnSpc>
                <a:spcPct val="100000"/>
              </a:lnSpc>
              <a:spcBef>
                <a:spcPts val="1088"/>
              </a:spcBef>
              <a:spcAft>
                <a:spcPts val="0"/>
              </a:spcAft>
              <a:buClrTx/>
              <a:buSzPct val="100000"/>
              <a:buFontTx/>
              <a:buNone/>
              <a:tabLst/>
              <a:defRPr/>
            </a:pPr>
            <a:r>
              <a:rPr kumimoji="0" lang="en-US" sz="1500" b="1" i="0" u="none" strike="noStrike" kern="0" cap="none" spc="0" normalizeH="0" baseline="0" noProof="0" dirty="0">
                <a:ln>
                  <a:noFill/>
                </a:ln>
                <a:solidFill>
                  <a:srgbClr val="0F62FE"/>
                </a:solidFill>
                <a:effectLst/>
                <a:uLnTx/>
                <a:uFillTx/>
                <a:latin typeface="IBM Plex Sans" panose="020B0503050203000203" pitchFamily="34" charset="0"/>
                <a:ea typeface="+mn-ea"/>
                <a:cs typeface="+mn-cs"/>
                <a:sym typeface="IBM Plex Sans Light"/>
              </a:rPr>
              <a:t>2024</a:t>
            </a:r>
          </a:p>
        </p:txBody>
      </p:sp>
      <p:sp>
        <p:nvSpPr>
          <p:cNvPr id="29" name="TextBox 28">
            <a:extLst>
              <a:ext uri="{FF2B5EF4-FFF2-40B4-BE49-F238E27FC236}">
                <a16:creationId xmlns:a16="http://schemas.microsoft.com/office/drawing/2014/main" id="{134AEE74-FF26-9191-8377-8A46B99D7CB2}"/>
              </a:ext>
            </a:extLst>
          </p:cNvPr>
          <p:cNvSpPr txBox="1"/>
          <p:nvPr/>
        </p:nvSpPr>
        <p:spPr>
          <a:xfrm>
            <a:off x="3560130" y="3526235"/>
            <a:ext cx="1534329" cy="5078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342832" rtl="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srgbClr val="002D9C"/>
                </a:solidFill>
                <a:effectLst/>
                <a:uLnTx/>
                <a:uFillTx/>
                <a:latin typeface="IBM Plex Sans" panose="020B0503050203000203" pitchFamily="34" charset="0"/>
                <a:ea typeface="+mn-ea"/>
                <a:cs typeface="+mn-cs"/>
              </a:rPr>
              <a:t>Customer Support</a:t>
            </a:r>
            <a:endParaRPr kumimoji="0" lang="en-US" sz="1050" b="1" i="0" u="none" strike="noStrike" kern="1200" cap="none" spc="0" normalizeH="0" baseline="0" noProof="0" dirty="0">
              <a:ln>
                <a:noFill/>
              </a:ln>
              <a:solidFill>
                <a:srgbClr val="002D9C"/>
              </a:solidFill>
              <a:effectLst/>
              <a:uLnTx/>
              <a:uFillTx/>
              <a:latin typeface="IBM Plex Sans" panose="020B0503050203000203" pitchFamily="34" charset="0"/>
              <a:ea typeface="+mn-ea"/>
              <a:cs typeface="+mn-cs"/>
            </a:endParaRPr>
          </a:p>
        </p:txBody>
      </p:sp>
      <p:sp>
        <p:nvSpPr>
          <p:cNvPr id="32" name="TextBox 31">
            <a:extLst>
              <a:ext uri="{FF2B5EF4-FFF2-40B4-BE49-F238E27FC236}">
                <a16:creationId xmlns:a16="http://schemas.microsoft.com/office/drawing/2014/main" id="{66634966-5933-2DF9-4A8A-CE47408517DD}"/>
              </a:ext>
            </a:extLst>
          </p:cNvPr>
          <p:cNvSpPr txBox="1"/>
          <p:nvPr/>
        </p:nvSpPr>
        <p:spPr>
          <a:xfrm>
            <a:off x="3542706" y="5088702"/>
            <a:ext cx="1676339" cy="5078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914217" rtl="0" eaLnBrk="1" fontAlgn="auto" latinLnBrk="0" hangingPunct="1">
              <a:lnSpc>
                <a:spcPct val="100000"/>
              </a:lnSpc>
              <a:spcBef>
                <a:spcPts val="0"/>
              </a:spcBef>
              <a:spcAft>
                <a:spcPts val="0"/>
              </a:spcAft>
              <a:buClrTx/>
              <a:buSzPct val="100000"/>
              <a:buFontTx/>
              <a:buNone/>
              <a:tabLst/>
              <a:defRPr/>
            </a:pPr>
            <a:r>
              <a:rPr kumimoji="0" lang="en-US" sz="1350" b="0" i="0" u="none" strike="noStrike" kern="0" cap="none" spc="0" normalizeH="0" baseline="0" noProof="0" dirty="0">
                <a:ln>
                  <a:noFill/>
                </a:ln>
                <a:solidFill>
                  <a:srgbClr val="0F62FE"/>
                </a:solidFill>
                <a:effectLst/>
                <a:uLnTx/>
                <a:uFillTx/>
                <a:latin typeface="IBM Plex Sans Light"/>
                <a:ea typeface="+mn-ea"/>
                <a:cs typeface="+mn-cs"/>
                <a:sym typeface="IBM Plex Sans Light"/>
              </a:rPr>
              <a:t>$165M annualized operational savings</a:t>
            </a:r>
          </a:p>
        </p:txBody>
      </p:sp>
      <p:sp>
        <p:nvSpPr>
          <p:cNvPr id="30" name="TextBox 29">
            <a:extLst>
              <a:ext uri="{FF2B5EF4-FFF2-40B4-BE49-F238E27FC236}">
                <a16:creationId xmlns:a16="http://schemas.microsoft.com/office/drawing/2014/main" id="{2C31DC5B-432C-5E9C-B0C1-9C7E15AE64A7}"/>
              </a:ext>
            </a:extLst>
          </p:cNvPr>
          <p:cNvSpPr txBox="1"/>
          <p:nvPr/>
        </p:nvSpPr>
        <p:spPr>
          <a:xfrm>
            <a:off x="7036082" y="3526236"/>
            <a:ext cx="1519592" cy="5078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342832" rtl="0" eaLnBrk="1" fontAlgn="auto" latinLnBrk="0" hangingPunct="1">
              <a:lnSpc>
                <a:spcPct val="100000"/>
              </a:lnSpc>
              <a:spcBef>
                <a:spcPts val="0"/>
              </a:spcBef>
              <a:spcAft>
                <a:spcPts val="0"/>
              </a:spcAft>
              <a:buClrTx/>
              <a:buSzPct val="100000"/>
              <a:buFontTx/>
              <a:buNone/>
              <a:tabLst/>
              <a:defRPr/>
            </a:pPr>
            <a:r>
              <a:rPr kumimoji="0" lang="en-US" sz="1350" b="1" i="0" u="none" strike="noStrike" kern="0" cap="none" spc="0" normalizeH="0" baseline="0" noProof="0" dirty="0">
                <a:ln>
                  <a:noFill/>
                </a:ln>
                <a:solidFill>
                  <a:srgbClr val="002D9C"/>
                </a:solidFill>
                <a:effectLst/>
                <a:uLnTx/>
                <a:uFillTx/>
                <a:latin typeface="IBM Plex Sans" panose="020B0503050203000203" pitchFamily="34" charset="0"/>
                <a:ea typeface="+mn-ea"/>
                <a:cs typeface="+mn-cs"/>
                <a:sym typeface="IBM Plex Sans Light"/>
              </a:rPr>
              <a:t>Digital </a:t>
            </a:r>
          </a:p>
          <a:p>
            <a:pPr marL="0" marR="0" lvl="0" indent="0" algn="l" defTabSz="342832" rtl="0" eaLnBrk="1" fontAlgn="auto" latinLnBrk="0" hangingPunct="1">
              <a:lnSpc>
                <a:spcPct val="100000"/>
              </a:lnSpc>
              <a:spcBef>
                <a:spcPts val="0"/>
              </a:spcBef>
              <a:spcAft>
                <a:spcPts val="0"/>
              </a:spcAft>
              <a:buClrTx/>
              <a:buSzPct val="100000"/>
              <a:buFontTx/>
              <a:buNone/>
              <a:tabLst/>
              <a:defRPr/>
            </a:pPr>
            <a:r>
              <a:rPr kumimoji="0" lang="en-US" sz="1350" b="1" i="0" u="none" strike="noStrike" kern="0" cap="none" spc="0" normalizeH="0" baseline="0" noProof="0" dirty="0">
                <a:ln>
                  <a:noFill/>
                </a:ln>
                <a:solidFill>
                  <a:srgbClr val="002D9C"/>
                </a:solidFill>
                <a:effectLst/>
                <a:uLnTx/>
                <a:uFillTx/>
                <a:latin typeface="IBM Plex Sans" panose="020B0503050203000203" pitchFamily="34" charset="0"/>
                <a:ea typeface="+mn-ea"/>
                <a:cs typeface="+mn-cs"/>
                <a:sym typeface="IBM Plex Sans Light"/>
              </a:rPr>
              <a:t>Labor</a:t>
            </a:r>
            <a:endParaRPr kumimoji="0" lang="en-US" sz="750" b="1" i="0" u="none" strike="noStrike" kern="0" cap="none" spc="0" normalizeH="0" baseline="0" noProof="0" dirty="0">
              <a:ln>
                <a:noFill/>
              </a:ln>
              <a:solidFill>
                <a:srgbClr val="002D9C"/>
              </a:solidFill>
              <a:effectLst/>
              <a:uLnTx/>
              <a:uFillTx/>
              <a:latin typeface="IBM Plex Sans" panose="020B0503050203000203" pitchFamily="34" charset="0"/>
              <a:ea typeface="+mn-ea"/>
              <a:cs typeface="+mn-cs"/>
              <a:sym typeface="IBM Plex Sans Light"/>
            </a:endParaRPr>
          </a:p>
        </p:txBody>
      </p:sp>
      <p:sp>
        <p:nvSpPr>
          <p:cNvPr id="33" name="TextBox 32">
            <a:extLst>
              <a:ext uri="{FF2B5EF4-FFF2-40B4-BE49-F238E27FC236}">
                <a16:creationId xmlns:a16="http://schemas.microsoft.com/office/drawing/2014/main" id="{57A9C540-7259-8C9E-6CCC-46778A8E5263}"/>
              </a:ext>
            </a:extLst>
          </p:cNvPr>
          <p:cNvSpPr txBox="1"/>
          <p:nvPr/>
        </p:nvSpPr>
        <p:spPr>
          <a:xfrm>
            <a:off x="6984425" y="5091920"/>
            <a:ext cx="1852697" cy="5078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914217" rtl="0" eaLnBrk="1" fontAlgn="auto" latinLnBrk="0" hangingPunct="1">
              <a:lnSpc>
                <a:spcPct val="100000"/>
              </a:lnSpc>
              <a:spcBef>
                <a:spcPts val="0"/>
              </a:spcBef>
              <a:spcAft>
                <a:spcPts val="0"/>
              </a:spcAft>
              <a:buClrTx/>
              <a:buSzPct val="100000"/>
              <a:buFontTx/>
              <a:buNone/>
              <a:tabLst/>
              <a:defRPr/>
            </a:pPr>
            <a:r>
              <a:rPr kumimoji="0" lang="en-US" sz="1350" b="0" i="0" u="none" strike="noStrike" kern="0" cap="none" spc="0" normalizeH="0" baseline="0" noProof="0" dirty="0">
                <a:ln>
                  <a:noFill/>
                </a:ln>
                <a:solidFill>
                  <a:srgbClr val="0F62FE"/>
                </a:solidFill>
                <a:effectLst/>
                <a:uLnTx/>
                <a:uFillTx/>
                <a:latin typeface="IBM Plex Sans Light"/>
                <a:ea typeface="+mn-ea"/>
                <a:cs typeface="+mn-cs"/>
                <a:sym typeface="IBM Plex Sans Light"/>
              </a:rPr>
              <a:t>80% of top IT issues addressed by </a:t>
            </a:r>
            <a:r>
              <a:rPr kumimoji="0" lang="en-US" sz="1350" b="0" i="0" u="none" strike="noStrike" kern="0" cap="none" spc="0" normalizeH="0" baseline="0" noProof="0" dirty="0" err="1">
                <a:ln>
                  <a:noFill/>
                </a:ln>
                <a:solidFill>
                  <a:srgbClr val="0F62FE"/>
                </a:solidFill>
                <a:effectLst/>
                <a:uLnTx/>
                <a:uFillTx/>
                <a:latin typeface="IBM Plex Sans Light"/>
                <a:ea typeface="+mn-ea"/>
                <a:cs typeface="+mn-cs"/>
                <a:sym typeface="IBM Plex Sans Light"/>
              </a:rPr>
              <a:t>AskIT</a:t>
            </a:r>
            <a:endParaRPr kumimoji="0" lang="en-US" sz="1350" b="0" i="0" u="none" strike="noStrike" kern="0" cap="none" spc="0" normalizeH="0" baseline="0" noProof="0" dirty="0">
              <a:ln>
                <a:noFill/>
              </a:ln>
              <a:solidFill>
                <a:srgbClr val="0F62FE"/>
              </a:solidFill>
              <a:effectLst/>
              <a:uLnTx/>
              <a:uFillTx/>
              <a:latin typeface="IBM Plex Sans Light"/>
              <a:ea typeface="+mn-ea"/>
              <a:cs typeface="+mn-cs"/>
              <a:sym typeface="IBM Plex Sans Light"/>
            </a:endParaRPr>
          </a:p>
        </p:txBody>
      </p:sp>
      <p:graphicFrame>
        <p:nvGraphicFramePr>
          <p:cNvPr id="36" name="Chart 35">
            <a:extLst>
              <a:ext uri="{FF2B5EF4-FFF2-40B4-BE49-F238E27FC236}">
                <a16:creationId xmlns:a16="http://schemas.microsoft.com/office/drawing/2014/main" id="{C50A032B-438B-FCE5-0546-87711715C763}"/>
              </a:ext>
            </a:extLst>
          </p:cNvPr>
          <p:cNvGraphicFramePr/>
          <p:nvPr/>
        </p:nvGraphicFramePr>
        <p:xfrm>
          <a:off x="5664147" y="2137507"/>
          <a:ext cx="1228926" cy="1118490"/>
        </p:xfrm>
        <a:graphic>
          <a:graphicData uri="http://schemas.openxmlformats.org/drawingml/2006/chart">
            <c:chart xmlns:c="http://schemas.openxmlformats.org/drawingml/2006/chart" xmlns:r="http://schemas.openxmlformats.org/officeDocument/2006/relationships" r:id="rId3"/>
          </a:graphicData>
        </a:graphic>
      </p:graphicFrame>
      <p:sp>
        <p:nvSpPr>
          <p:cNvPr id="42" name="TextBox 41">
            <a:extLst>
              <a:ext uri="{FF2B5EF4-FFF2-40B4-BE49-F238E27FC236}">
                <a16:creationId xmlns:a16="http://schemas.microsoft.com/office/drawing/2014/main" id="{AF706BAB-7C55-9321-43A2-8FEFABA76FFD}"/>
              </a:ext>
            </a:extLst>
          </p:cNvPr>
          <p:cNvSpPr txBox="1"/>
          <p:nvPr/>
        </p:nvSpPr>
        <p:spPr>
          <a:xfrm>
            <a:off x="6329050" y="2482297"/>
            <a:ext cx="402698" cy="16158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IBM Plex Sans Light"/>
                <a:ea typeface="+mn-ea"/>
                <a:cs typeface="+mn-cs"/>
              </a:rPr>
              <a:t>25%</a:t>
            </a:r>
            <a:endParaRPr kumimoji="0" lang="en-US" sz="105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43" name="TextBox 42">
            <a:extLst>
              <a:ext uri="{FF2B5EF4-FFF2-40B4-BE49-F238E27FC236}">
                <a16:creationId xmlns:a16="http://schemas.microsoft.com/office/drawing/2014/main" id="{B25CE66F-1297-D6D4-5327-2EEBB5061D57}"/>
              </a:ext>
            </a:extLst>
          </p:cNvPr>
          <p:cNvSpPr txBox="1"/>
          <p:nvPr/>
        </p:nvSpPr>
        <p:spPr>
          <a:xfrm>
            <a:off x="5984887" y="2696885"/>
            <a:ext cx="402698" cy="16158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IBM Plex Sans Light"/>
                <a:ea typeface="+mn-ea"/>
                <a:cs typeface="+mn-cs"/>
              </a:rPr>
              <a:t>75%</a:t>
            </a:r>
            <a:endParaRPr kumimoji="0" lang="en-US" sz="105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52" name="Text Placeholder 21">
            <a:extLst>
              <a:ext uri="{FF2B5EF4-FFF2-40B4-BE49-F238E27FC236}">
                <a16:creationId xmlns:a16="http://schemas.microsoft.com/office/drawing/2014/main" id="{F14B606F-C902-C144-7621-3D5355642B22}"/>
              </a:ext>
            </a:extLst>
          </p:cNvPr>
          <p:cNvSpPr txBox="1">
            <a:spLocks/>
          </p:cNvSpPr>
          <p:nvPr/>
        </p:nvSpPr>
        <p:spPr>
          <a:xfrm>
            <a:off x="7016603" y="2704529"/>
            <a:ext cx="959932" cy="4335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3000" b="0" i="0" u="none" strike="noStrike" cap="none" spc="0" baseline="0">
                <a:solidFill>
                  <a:schemeClr val="accent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914217" rtl="0" eaLnBrk="1" fontAlgn="auto" latinLnBrk="0" hangingPunct="1">
              <a:lnSpc>
                <a:spcPct val="15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utomation</a:t>
            </a:r>
          </a:p>
          <a:p>
            <a:pPr marL="0" marR="0" lvl="0" indent="0" algn="l" defTabSz="914217" rtl="0" eaLnBrk="1" fontAlgn="auto" latinLnBrk="0" hangingPunct="1">
              <a:lnSpc>
                <a:spcPct val="15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I</a:t>
            </a:r>
          </a:p>
        </p:txBody>
      </p:sp>
      <p:sp>
        <p:nvSpPr>
          <p:cNvPr id="53" name="Oval 52">
            <a:extLst>
              <a:ext uri="{FF2B5EF4-FFF2-40B4-BE49-F238E27FC236}">
                <a16:creationId xmlns:a16="http://schemas.microsoft.com/office/drawing/2014/main" id="{4AE5B4C4-990A-5CDF-59CB-41B4CDA20530}"/>
              </a:ext>
            </a:extLst>
          </p:cNvPr>
          <p:cNvSpPr>
            <a:spLocks noChangeAspect="1"/>
          </p:cNvSpPr>
          <p:nvPr/>
        </p:nvSpPr>
        <p:spPr bwMode="auto">
          <a:xfrm>
            <a:off x="6857447" y="2810504"/>
            <a:ext cx="108000" cy="108000"/>
          </a:xfrm>
          <a:prstGeom prst="ellipse">
            <a:avLst/>
          </a:prstGeom>
          <a:solidFill>
            <a:srgbClr val="002D9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8580" tIns="68580" rIns="68580" bIns="68580" numCol="1" rtlCol="0"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54" name="Oval 53">
            <a:extLst>
              <a:ext uri="{FF2B5EF4-FFF2-40B4-BE49-F238E27FC236}">
                <a16:creationId xmlns:a16="http://schemas.microsoft.com/office/drawing/2014/main" id="{62875FA2-0D43-2E38-B13E-34957A866DD1}"/>
              </a:ext>
            </a:extLst>
          </p:cNvPr>
          <p:cNvSpPr>
            <a:spLocks noChangeAspect="1"/>
          </p:cNvSpPr>
          <p:nvPr/>
        </p:nvSpPr>
        <p:spPr bwMode="auto">
          <a:xfrm>
            <a:off x="6858893" y="3081063"/>
            <a:ext cx="108000" cy="108000"/>
          </a:xfrm>
          <a:prstGeom prst="ellipse">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8580" tIns="68580" rIns="68580" bIns="68580" numCol="1" rtlCol="0"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IBM Plex Sans Light"/>
              <a:ea typeface="+mn-ea"/>
              <a:cs typeface="+mn-cs"/>
            </a:endParaRPr>
          </a:p>
        </p:txBody>
      </p:sp>
      <p:graphicFrame>
        <p:nvGraphicFramePr>
          <p:cNvPr id="8" name="Chart 7">
            <a:extLst>
              <a:ext uri="{FF2B5EF4-FFF2-40B4-BE49-F238E27FC236}">
                <a16:creationId xmlns:a16="http://schemas.microsoft.com/office/drawing/2014/main" id="{7FE1398A-776D-3B6B-27D1-7FF2C8F2A432}"/>
              </a:ext>
            </a:extLst>
          </p:cNvPr>
          <p:cNvGraphicFramePr/>
          <p:nvPr/>
        </p:nvGraphicFramePr>
        <p:xfrm>
          <a:off x="1655865" y="2180194"/>
          <a:ext cx="1228926" cy="1118490"/>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D2D78D5F-4741-AD62-51C2-8A2B00D92F8B}"/>
              </a:ext>
            </a:extLst>
          </p:cNvPr>
          <p:cNvSpPr txBox="1"/>
          <p:nvPr/>
        </p:nvSpPr>
        <p:spPr>
          <a:xfrm>
            <a:off x="1883290" y="2612849"/>
            <a:ext cx="704903" cy="2308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IBM Plex Sans Light"/>
                <a:ea typeface="+mn-ea"/>
                <a:cs typeface="+mn-cs"/>
              </a:rPr>
              <a:t>50%</a:t>
            </a:r>
            <a:endParaRPr kumimoji="0" lang="en-US" sz="9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0" name="TextBox 9">
            <a:extLst>
              <a:ext uri="{FF2B5EF4-FFF2-40B4-BE49-F238E27FC236}">
                <a16:creationId xmlns:a16="http://schemas.microsoft.com/office/drawing/2014/main" id="{C163844B-6D39-C7A4-C525-51BDA862B2DC}"/>
              </a:ext>
            </a:extLst>
          </p:cNvPr>
          <p:cNvSpPr txBox="1"/>
          <p:nvPr/>
        </p:nvSpPr>
        <p:spPr>
          <a:xfrm>
            <a:off x="2303419" y="2625233"/>
            <a:ext cx="704903" cy="2308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IBM Plex Sans Light"/>
                <a:ea typeface="+mn-ea"/>
                <a:cs typeface="+mn-cs"/>
              </a:rPr>
              <a:t>50%</a:t>
            </a:r>
            <a:endParaRPr kumimoji="0" lang="en-US" sz="9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1" name="Text Placeholder 21">
            <a:extLst>
              <a:ext uri="{FF2B5EF4-FFF2-40B4-BE49-F238E27FC236}">
                <a16:creationId xmlns:a16="http://schemas.microsoft.com/office/drawing/2014/main" id="{E72C9055-ECD4-D8EF-48DB-4FD19C77F1BA}"/>
              </a:ext>
            </a:extLst>
          </p:cNvPr>
          <p:cNvSpPr txBox="1">
            <a:spLocks/>
          </p:cNvSpPr>
          <p:nvPr/>
        </p:nvSpPr>
        <p:spPr>
          <a:xfrm>
            <a:off x="3017891" y="2714774"/>
            <a:ext cx="959932" cy="4335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3000" b="0" i="0" u="none" strike="noStrike" cap="none" spc="0" baseline="0">
                <a:solidFill>
                  <a:schemeClr val="accent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914217" rtl="0" eaLnBrk="1" fontAlgn="auto" latinLnBrk="0" hangingPunct="1">
              <a:lnSpc>
                <a:spcPct val="15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utomation</a:t>
            </a:r>
          </a:p>
          <a:p>
            <a:pPr marL="0" marR="0" lvl="0" indent="0" algn="l" defTabSz="914217" rtl="0" eaLnBrk="1" fontAlgn="auto" latinLnBrk="0" hangingPunct="1">
              <a:lnSpc>
                <a:spcPct val="15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I</a:t>
            </a:r>
          </a:p>
        </p:txBody>
      </p:sp>
      <p:sp>
        <p:nvSpPr>
          <p:cNvPr id="12" name="Oval 11">
            <a:extLst>
              <a:ext uri="{FF2B5EF4-FFF2-40B4-BE49-F238E27FC236}">
                <a16:creationId xmlns:a16="http://schemas.microsoft.com/office/drawing/2014/main" id="{CE9B9CE9-3C42-E306-28AC-376CB8F4425D}"/>
              </a:ext>
            </a:extLst>
          </p:cNvPr>
          <p:cNvSpPr>
            <a:spLocks noChangeAspect="1"/>
          </p:cNvSpPr>
          <p:nvPr/>
        </p:nvSpPr>
        <p:spPr bwMode="auto">
          <a:xfrm>
            <a:off x="2858735" y="2820748"/>
            <a:ext cx="108000" cy="108000"/>
          </a:xfrm>
          <a:prstGeom prst="ellipse">
            <a:avLst/>
          </a:prstGeom>
          <a:solidFill>
            <a:srgbClr val="002D9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8580" tIns="68580" rIns="68580" bIns="68580" numCol="1" rtlCol="0"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3" name="Oval 12">
            <a:extLst>
              <a:ext uri="{FF2B5EF4-FFF2-40B4-BE49-F238E27FC236}">
                <a16:creationId xmlns:a16="http://schemas.microsoft.com/office/drawing/2014/main" id="{520EEAFA-4725-83B4-3358-DE878721498F}"/>
              </a:ext>
            </a:extLst>
          </p:cNvPr>
          <p:cNvSpPr>
            <a:spLocks noChangeAspect="1"/>
          </p:cNvSpPr>
          <p:nvPr/>
        </p:nvSpPr>
        <p:spPr bwMode="auto">
          <a:xfrm>
            <a:off x="2860181" y="3091307"/>
            <a:ext cx="108000" cy="108000"/>
          </a:xfrm>
          <a:prstGeom prst="ellipse">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8580" tIns="68580" rIns="68580" bIns="68580" numCol="1" rtlCol="0"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4" name="TextBox 13">
            <a:extLst>
              <a:ext uri="{FF2B5EF4-FFF2-40B4-BE49-F238E27FC236}">
                <a16:creationId xmlns:a16="http://schemas.microsoft.com/office/drawing/2014/main" id="{AFAD1A49-BC2A-DD45-BEF7-F253681142C4}"/>
              </a:ext>
            </a:extLst>
          </p:cNvPr>
          <p:cNvSpPr txBox="1"/>
          <p:nvPr/>
        </p:nvSpPr>
        <p:spPr>
          <a:xfrm>
            <a:off x="1836909" y="1910365"/>
            <a:ext cx="2332403" cy="2882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0" marR="0" lvl="0" indent="0" algn="l" defTabSz="1828800" rtl="0" eaLnBrk="1" fontAlgn="auto" latinLnBrk="0" hangingPunct="1">
              <a:lnSpc>
                <a:spcPct val="100000"/>
              </a:lnSpc>
              <a:spcBef>
                <a:spcPts val="2175"/>
              </a:spcBef>
              <a:spcAft>
                <a:spcPts val="0"/>
              </a:spcAft>
              <a:buClrTx/>
              <a:buSzPct val="100000"/>
              <a:buFontTx/>
              <a:buNone/>
              <a:tabLst/>
              <a:defRPr/>
            </a:pPr>
            <a:r>
              <a:rPr kumimoji="0" lang="en-US" sz="1350" b="0" i="0" u="none" strike="noStrike" kern="0" cap="none" spc="0" normalizeH="0" baseline="0" noProof="0" dirty="0">
                <a:ln>
                  <a:noFill/>
                </a:ln>
                <a:solidFill>
                  <a:srgbClr val="000000"/>
                </a:solidFill>
                <a:effectLst/>
                <a:uLnTx/>
                <a:uFillTx/>
                <a:latin typeface="IBM Plex Sans Light"/>
                <a:ea typeface="+mn-ea"/>
                <a:cs typeface="+mn-cs"/>
                <a:sym typeface="IBM Plex Sans Light"/>
              </a:rPr>
              <a:t>Eliminate. Simplify. Automate.</a:t>
            </a:r>
          </a:p>
        </p:txBody>
      </p:sp>
      <p:sp>
        <p:nvSpPr>
          <p:cNvPr id="19" name="TextBox 18">
            <a:extLst>
              <a:ext uri="{FF2B5EF4-FFF2-40B4-BE49-F238E27FC236}">
                <a16:creationId xmlns:a16="http://schemas.microsoft.com/office/drawing/2014/main" id="{0E9A29DF-BE3B-BA0B-479F-2D5F5D6F993B}"/>
              </a:ext>
            </a:extLst>
          </p:cNvPr>
          <p:cNvSpPr txBox="1"/>
          <p:nvPr/>
        </p:nvSpPr>
        <p:spPr>
          <a:xfrm>
            <a:off x="1804118" y="3526236"/>
            <a:ext cx="1603708" cy="71558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342832" rtl="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srgbClr val="002D9C"/>
                </a:solidFill>
                <a:effectLst/>
                <a:uLnTx/>
                <a:uFillTx/>
                <a:latin typeface="IBM Plex Sans" panose="020B0503050203000203" pitchFamily="34" charset="0"/>
                <a:ea typeface="+mn-ea"/>
                <a:cs typeface="+mn-cs"/>
                <a:sym typeface="IBM Plex Sans Light"/>
              </a:rPr>
              <a:t>Enterprise Performance Management</a:t>
            </a:r>
            <a:endParaRPr kumimoji="0" lang="en-US" sz="1050" b="1" i="0" u="none" strike="noStrike" kern="1200" cap="none" spc="0" normalizeH="0" baseline="0" noProof="0" dirty="0">
              <a:ln>
                <a:noFill/>
              </a:ln>
              <a:solidFill>
                <a:srgbClr val="002D9C"/>
              </a:solidFill>
              <a:effectLst/>
              <a:uLnTx/>
              <a:uFillTx/>
              <a:latin typeface="IBM Plex Sans" panose="020B0503050203000203" pitchFamily="34" charset="0"/>
              <a:ea typeface="+mn-ea"/>
              <a:cs typeface="+mn-cs"/>
            </a:endParaRPr>
          </a:p>
        </p:txBody>
      </p:sp>
      <p:sp>
        <p:nvSpPr>
          <p:cNvPr id="35" name="TextBox 34">
            <a:extLst>
              <a:ext uri="{FF2B5EF4-FFF2-40B4-BE49-F238E27FC236}">
                <a16:creationId xmlns:a16="http://schemas.microsoft.com/office/drawing/2014/main" id="{59767B83-957F-87C0-F509-F1B3AB433FC3}"/>
              </a:ext>
            </a:extLst>
          </p:cNvPr>
          <p:cNvSpPr txBox="1"/>
          <p:nvPr/>
        </p:nvSpPr>
        <p:spPr>
          <a:xfrm>
            <a:off x="1789913" y="5105318"/>
            <a:ext cx="1356536" cy="5078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914217" rtl="0" eaLnBrk="1" fontAlgn="auto" latinLnBrk="0" hangingPunct="1">
              <a:lnSpc>
                <a:spcPct val="100000"/>
              </a:lnSpc>
              <a:spcBef>
                <a:spcPts val="0"/>
              </a:spcBef>
              <a:spcAft>
                <a:spcPts val="0"/>
              </a:spcAft>
              <a:buClrTx/>
              <a:buSzPct val="100000"/>
              <a:buFontTx/>
              <a:buNone/>
              <a:tabLst/>
              <a:defRPr/>
            </a:pPr>
            <a:r>
              <a:rPr kumimoji="0" lang="en-US" sz="1350" b="0" i="0" u="none" strike="noStrike" kern="0" cap="none" spc="0" normalizeH="0" baseline="0" noProof="0" dirty="0">
                <a:ln>
                  <a:noFill/>
                </a:ln>
                <a:solidFill>
                  <a:srgbClr val="0F62FE"/>
                </a:solidFill>
                <a:effectLst/>
                <a:uLnTx/>
                <a:uFillTx/>
                <a:latin typeface="IBM Plex Sans Light"/>
                <a:ea typeface="+mn-ea"/>
                <a:cs typeface="+mn-cs"/>
                <a:sym typeface="IBM Plex Sans Light"/>
              </a:rPr>
              <a:t>$200M in business value</a:t>
            </a:r>
          </a:p>
        </p:txBody>
      </p:sp>
      <p:sp>
        <p:nvSpPr>
          <p:cNvPr id="2" name="TextBox 1">
            <a:extLst>
              <a:ext uri="{FF2B5EF4-FFF2-40B4-BE49-F238E27FC236}">
                <a16:creationId xmlns:a16="http://schemas.microsoft.com/office/drawing/2014/main" id="{7C35CB9B-D42D-36E9-56A4-A757E8D32FEB}"/>
              </a:ext>
            </a:extLst>
          </p:cNvPr>
          <p:cNvSpPr txBox="1"/>
          <p:nvPr/>
        </p:nvSpPr>
        <p:spPr>
          <a:xfrm>
            <a:off x="1836908" y="1660868"/>
            <a:ext cx="2095766" cy="3123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0" marR="0" lvl="0" indent="0" algn="l" defTabSz="914217" rtl="0" eaLnBrk="1" fontAlgn="auto" latinLnBrk="0" hangingPunct="1">
              <a:lnSpc>
                <a:spcPct val="100000"/>
              </a:lnSpc>
              <a:spcBef>
                <a:spcPts val="1088"/>
              </a:spcBef>
              <a:spcAft>
                <a:spcPts val="0"/>
              </a:spcAft>
              <a:buClrTx/>
              <a:buSzPct val="100000"/>
              <a:buFontTx/>
              <a:buNone/>
              <a:tabLst/>
              <a:defRPr/>
            </a:pPr>
            <a:r>
              <a:rPr kumimoji="0" lang="en-US" sz="1500" b="1" i="0" u="none" strike="noStrike" kern="0" cap="none" spc="0" normalizeH="0" baseline="0" noProof="0" dirty="0">
                <a:ln>
                  <a:noFill/>
                </a:ln>
                <a:solidFill>
                  <a:srgbClr val="0F62FE"/>
                </a:solidFill>
                <a:effectLst/>
                <a:uLnTx/>
                <a:uFillTx/>
                <a:latin typeface="IBM Plex Sans" panose="020B0503050203000203" pitchFamily="34" charset="0"/>
                <a:ea typeface="+mn-ea"/>
                <a:cs typeface="+mn-cs"/>
                <a:sym typeface="IBM Plex Sans Light"/>
              </a:rPr>
              <a:t>2023</a:t>
            </a:r>
          </a:p>
        </p:txBody>
      </p:sp>
      <p:sp>
        <p:nvSpPr>
          <p:cNvPr id="7" name="TextBox 6">
            <a:extLst>
              <a:ext uri="{FF2B5EF4-FFF2-40B4-BE49-F238E27FC236}">
                <a16:creationId xmlns:a16="http://schemas.microsoft.com/office/drawing/2014/main" id="{207352BC-12D0-3F77-3FE3-3DB7C4D430F7}"/>
              </a:ext>
            </a:extLst>
          </p:cNvPr>
          <p:cNvSpPr txBox="1"/>
          <p:nvPr/>
        </p:nvSpPr>
        <p:spPr>
          <a:xfrm>
            <a:off x="5699960" y="1910365"/>
            <a:ext cx="2332403" cy="2882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0" marR="0" lvl="0" indent="0" algn="l" defTabSz="1828800" rtl="0" eaLnBrk="1" fontAlgn="auto" latinLnBrk="0" hangingPunct="1">
              <a:lnSpc>
                <a:spcPct val="100000"/>
              </a:lnSpc>
              <a:spcBef>
                <a:spcPts val="2175"/>
              </a:spcBef>
              <a:spcAft>
                <a:spcPts val="0"/>
              </a:spcAft>
              <a:buClrTx/>
              <a:buSzPct val="100000"/>
              <a:buFontTx/>
              <a:buNone/>
              <a:tabLst/>
              <a:defRPr/>
            </a:pPr>
            <a:r>
              <a:rPr kumimoji="0" lang="en-US" sz="135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AI -&gt; AI+</a:t>
            </a:r>
          </a:p>
        </p:txBody>
      </p:sp>
      <p:sp>
        <p:nvSpPr>
          <p:cNvPr id="50" name="TextBox 49">
            <a:extLst>
              <a:ext uri="{FF2B5EF4-FFF2-40B4-BE49-F238E27FC236}">
                <a16:creationId xmlns:a16="http://schemas.microsoft.com/office/drawing/2014/main" id="{EE8EFFEC-3193-2183-74AB-9A93DCFF4304}"/>
              </a:ext>
            </a:extLst>
          </p:cNvPr>
          <p:cNvSpPr txBox="1"/>
          <p:nvPr/>
        </p:nvSpPr>
        <p:spPr>
          <a:xfrm>
            <a:off x="8794126" y="3531679"/>
            <a:ext cx="1519592" cy="5078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342832" rtl="0" eaLnBrk="1" fontAlgn="auto" latinLnBrk="0" hangingPunct="1">
              <a:lnSpc>
                <a:spcPct val="100000"/>
              </a:lnSpc>
              <a:spcBef>
                <a:spcPts val="0"/>
              </a:spcBef>
              <a:spcAft>
                <a:spcPts val="0"/>
              </a:spcAft>
              <a:buClrTx/>
              <a:buSzPct val="100000"/>
              <a:buFontTx/>
              <a:buNone/>
              <a:tabLst/>
              <a:defRPr/>
            </a:pPr>
            <a:r>
              <a:rPr kumimoji="0" lang="en-US" sz="1350" b="1" i="0" u="none" strike="noStrike" kern="0" cap="none" spc="0" normalizeH="0" baseline="0" noProof="0" dirty="0">
                <a:ln>
                  <a:noFill/>
                </a:ln>
                <a:solidFill>
                  <a:srgbClr val="002D9C"/>
                </a:solidFill>
                <a:effectLst/>
                <a:uLnTx/>
                <a:uFillTx/>
                <a:latin typeface="IBM Plex Sans" panose="020B0503050203000203" pitchFamily="34" charset="0"/>
                <a:ea typeface="+mn-ea"/>
                <a:cs typeface="+mn-cs"/>
                <a:sym typeface="IBM Plex Sans Light"/>
              </a:rPr>
              <a:t>HR Transformation</a:t>
            </a:r>
            <a:endParaRPr kumimoji="0" lang="en-US" sz="750" b="1" i="0" u="none" strike="noStrike" kern="0" cap="none" spc="0" normalizeH="0" baseline="0" noProof="0" dirty="0">
              <a:ln>
                <a:noFill/>
              </a:ln>
              <a:solidFill>
                <a:srgbClr val="002D9C"/>
              </a:solidFill>
              <a:effectLst/>
              <a:uLnTx/>
              <a:uFillTx/>
              <a:latin typeface="IBM Plex Sans" panose="020B0503050203000203" pitchFamily="34" charset="0"/>
              <a:ea typeface="+mn-ea"/>
              <a:cs typeface="+mn-cs"/>
              <a:sym typeface="IBM Plex Sans Light"/>
            </a:endParaRPr>
          </a:p>
        </p:txBody>
      </p:sp>
      <p:sp>
        <p:nvSpPr>
          <p:cNvPr id="51" name="TextBox 50">
            <a:extLst>
              <a:ext uri="{FF2B5EF4-FFF2-40B4-BE49-F238E27FC236}">
                <a16:creationId xmlns:a16="http://schemas.microsoft.com/office/drawing/2014/main" id="{0341F3CF-AEDF-D8BD-B02A-B13D749A8C65}"/>
              </a:ext>
            </a:extLst>
          </p:cNvPr>
          <p:cNvSpPr txBox="1"/>
          <p:nvPr/>
        </p:nvSpPr>
        <p:spPr>
          <a:xfrm>
            <a:off x="8794126" y="4828318"/>
            <a:ext cx="1467058" cy="30008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914217" rtl="0" eaLnBrk="1" fontAlgn="auto" latinLnBrk="0" hangingPunct="1">
              <a:lnSpc>
                <a:spcPct val="100000"/>
              </a:lnSpc>
              <a:spcBef>
                <a:spcPts val="0"/>
              </a:spcBef>
              <a:spcAft>
                <a:spcPts val="0"/>
              </a:spcAft>
              <a:buClrTx/>
              <a:buSzPct val="100000"/>
              <a:buFontTx/>
              <a:buNone/>
              <a:tabLst/>
              <a:defRPr/>
            </a:pPr>
            <a:endParaRPr kumimoji="0" lang="en-US" sz="1350" b="0" i="0" u="none" strike="noStrike" kern="0" cap="none" spc="0" normalizeH="0" baseline="0" noProof="0" dirty="0">
              <a:ln>
                <a:noFill/>
              </a:ln>
              <a:solidFill>
                <a:srgbClr val="0F62FE"/>
              </a:solidFill>
              <a:effectLst/>
              <a:uLnTx/>
              <a:uFillTx/>
              <a:latin typeface="IBM Plex Sans Light"/>
              <a:ea typeface="+mn-ea"/>
              <a:cs typeface="+mn-cs"/>
              <a:sym typeface="IBM Plex Sans Light"/>
            </a:endParaRPr>
          </a:p>
        </p:txBody>
      </p:sp>
      <p:sp>
        <p:nvSpPr>
          <p:cNvPr id="57" name="TextBox 56">
            <a:extLst>
              <a:ext uri="{FF2B5EF4-FFF2-40B4-BE49-F238E27FC236}">
                <a16:creationId xmlns:a16="http://schemas.microsoft.com/office/drawing/2014/main" id="{9866FDE3-3DC2-D8A6-826A-3A49E29C7A17}"/>
              </a:ext>
            </a:extLst>
          </p:cNvPr>
          <p:cNvSpPr txBox="1"/>
          <p:nvPr/>
        </p:nvSpPr>
        <p:spPr>
          <a:xfrm>
            <a:off x="8794127" y="5105319"/>
            <a:ext cx="1607961" cy="5078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914217" rtl="0" eaLnBrk="1" fontAlgn="auto" latinLnBrk="0" hangingPunct="1">
              <a:lnSpc>
                <a:spcPct val="100000"/>
              </a:lnSpc>
              <a:spcBef>
                <a:spcPts val="0"/>
              </a:spcBef>
              <a:spcAft>
                <a:spcPts val="0"/>
              </a:spcAft>
              <a:buClrTx/>
              <a:buSzPct val="100000"/>
              <a:buFontTx/>
              <a:buNone/>
              <a:tabLst/>
              <a:defRPr/>
            </a:pPr>
            <a:r>
              <a:rPr kumimoji="0" lang="en-US" sz="1350" b="0" i="0" u="none" strike="noStrike" kern="0" cap="none" spc="0" normalizeH="0" baseline="0" noProof="0" dirty="0">
                <a:ln>
                  <a:noFill/>
                </a:ln>
                <a:solidFill>
                  <a:srgbClr val="0F62FE"/>
                </a:solidFill>
                <a:effectLst/>
                <a:uLnTx/>
                <a:uFillTx/>
                <a:latin typeface="IBM Plex Sans Light"/>
                <a:ea typeface="+mn-ea"/>
                <a:cs typeface="+mn-cs"/>
                <a:sym typeface="IBM Plex Sans Light"/>
              </a:rPr>
              <a:t>40% savings in HR operating budget</a:t>
            </a:r>
          </a:p>
        </p:txBody>
      </p:sp>
      <p:sp>
        <p:nvSpPr>
          <p:cNvPr id="6" name="TextBox 5">
            <a:extLst>
              <a:ext uri="{FF2B5EF4-FFF2-40B4-BE49-F238E27FC236}">
                <a16:creationId xmlns:a16="http://schemas.microsoft.com/office/drawing/2014/main" id="{90D5D394-D0F0-186E-472D-7798673C832B}"/>
              </a:ext>
            </a:extLst>
          </p:cNvPr>
          <p:cNvSpPr txBox="1"/>
          <p:nvPr/>
        </p:nvSpPr>
        <p:spPr>
          <a:xfrm>
            <a:off x="7227825" y="3055956"/>
            <a:ext cx="2536431" cy="4598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0" marR="0" lvl="0" indent="0" algn="l" defTabSz="1828800" rtl="0" eaLnBrk="1" fontAlgn="auto" latinLnBrk="0" hangingPunct="1">
              <a:lnSpc>
                <a:spcPct val="100000"/>
              </a:lnSpc>
              <a:spcBef>
                <a:spcPts val="2175"/>
              </a:spcBef>
              <a:spcAft>
                <a:spcPts val="0"/>
              </a:spcAft>
              <a:buClrTx/>
              <a:buSzPct val="100000"/>
              <a:buFontTx/>
              <a:buNone/>
              <a:tabLst/>
              <a:defRPr/>
            </a:pPr>
            <a:r>
              <a:rPr kumimoji="0" lang="en-US" sz="1050" b="0" i="0" u="none" strike="noStrike" kern="0" cap="none" spc="0" normalizeH="0" baseline="0" noProof="0" dirty="0">
                <a:ln>
                  <a:noFill/>
                </a:ln>
                <a:solidFill>
                  <a:srgbClr val="000000"/>
                </a:solidFill>
                <a:effectLst/>
                <a:uLnTx/>
                <a:uFillTx/>
                <a:latin typeface="IBM Plex Sans Light"/>
                <a:ea typeface="+mn-ea"/>
                <a:cs typeface="+mn-cs"/>
                <a:sym typeface="IBM Plex Sans Light"/>
              </a:rPr>
              <a:t>(20+ use cases already in production)</a:t>
            </a:r>
          </a:p>
        </p:txBody>
      </p:sp>
      <p:sp>
        <p:nvSpPr>
          <p:cNvPr id="37" name="TextBox 36">
            <a:extLst>
              <a:ext uri="{FF2B5EF4-FFF2-40B4-BE49-F238E27FC236}">
                <a16:creationId xmlns:a16="http://schemas.microsoft.com/office/drawing/2014/main" id="{4E8C047E-BDDF-01D8-7422-88AC3173D201}"/>
              </a:ext>
            </a:extLst>
          </p:cNvPr>
          <p:cNvSpPr txBox="1"/>
          <p:nvPr/>
        </p:nvSpPr>
        <p:spPr>
          <a:xfrm>
            <a:off x="5297782" y="4276286"/>
            <a:ext cx="1621903" cy="900246"/>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34283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srgbClr val="000000"/>
                </a:solidFill>
                <a:effectLst/>
                <a:uLnTx/>
                <a:uFillTx/>
                <a:latin typeface="IBM Plex Sans Light"/>
                <a:ea typeface="+mn-ea"/>
                <a:cs typeface="+mn-cs"/>
              </a:rPr>
              <a:t>Turbonomic</a:t>
            </a:r>
            <a:endParaRPr kumimoji="0" lang="en-US" sz="1050" b="0" i="0" u="none" strike="noStrike" kern="1200" cap="none" spc="0" normalizeH="0" baseline="0" noProof="0" dirty="0">
              <a:ln>
                <a:noFill/>
              </a:ln>
              <a:solidFill>
                <a:srgbClr val="000000"/>
              </a:solidFill>
              <a:effectLst/>
              <a:uLnTx/>
              <a:uFillTx/>
              <a:latin typeface="IBM Plex Sans Light"/>
              <a:ea typeface="+mn-ea"/>
              <a:cs typeface="+mn-cs"/>
            </a:endParaRPr>
          </a:p>
          <a:p>
            <a:pPr marL="0" marR="0" lvl="0" indent="0" algn="l" defTabSz="34283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IBM Plex Sans Light"/>
                <a:ea typeface="+mn-ea"/>
                <a:cs typeface="+mn-cs"/>
              </a:rPr>
              <a:t>Hybrid Cloud</a:t>
            </a:r>
            <a:endParaRPr kumimoji="0" lang="en-US" sz="1050" b="0" i="0" u="none" strike="noStrike" kern="1200" cap="none" spc="0" normalizeH="0" baseline="0" noProof="0" dirty="0">
              <a:ln>
                <a:noFill/>
              </a:ln>
              <a:solidFill>
                <a:srgbClr val="000000"/>
              </a:solidFill>
              <a:effectLst/>
              <a:uLnTx/>
              <a:uFillTx/>
              <a:latin typeface="IBM Plex Sans Light"/>
              <a:ea typeface="IBM Plex Sans SmBld" panose="020B0703050203000203" pitchFamily="34" charset="0"/>
              <a:cs typeface="IBM Plex Sans SmBld" panose="020B0703050203000203" pitchFamily="34" charset="0"/>
            </a:endParaRPr>
          </a:p>
          <a:p>
            <a:pPr marL="0" marR="0" lvl="0" indent="0" algn="l" defTabSz="34283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IBM Plex Sans Light"/>
                <a:ea typeface="IBM Plex Sans SmBld" panose="020B0703050203000203" pitchFamily="34" charset="0"/>
                <a:cs typeface="IBM Plex Sans SmBld" panose="020B0703050203000203" pitchFamily="34" charset="0"/>
              </a:rPr>
              <a:t>Ansible Automation and </a:t>
            </a:r>
            <a:r>
              <a:rPr kumimoji="0" lang="en-US" sz="1050" b="1" i="0" u="none" strike="noStrike" kern="0" cap="none" spc="0" normalizeH="0" baseline="0" noProof="0" dirty="0" err="1">
                <a:ln>
                  <a:noFill/>
                </a:ln>
                <a:solidFill>
                  <a:srgbClr val="000000"/>
                </a:solidFill>
                <a:effectLst/>
                <a:uLnTx/>
                <a:uFillTx/>
                <a:latin typeface="IBM Plex Sans" panose="020B0503050203000203" pitchFamily="34" charset="0"/>
                <a:ea typeface="+mn-ea"/>
                <a:cs typeface="+mn-cs"/>
                <a:sym typeface="IBM Plex Sans Light"/>
              </a:rPr>
              <a:t>watson</a:t>
            </a:r>
            <a:r>
              <a:rPr kumimoji="0" lang="en-US" sz="1050" b="1" i="0" u="none" strike="noStrike" kern="0" cap="none" spc="0" normalizeH="0" baseline="0" noProof="0" dirty="0" err="1">
                <a:ln>
                  <a:noFill/>
                </a:ln>
                <a:solidFill>
                  <a:srgbClr val="0F62FE"/>
                </a:solidFill>
                <a:effectLst/>
                <a:uLnTx/>
                <a:uFillTx/>
                <a:latin typeface="IBM Plex Sans" panose="020B0503050203000203" pitchFamily="34" charset="0"/>
                <a:ea typeface="+mn-ea"/>
                <a:cs typeface="+mn-cs"/>
                <a:sym typeface="IBM Plex Sans Light"/>
              </a:rPr>
              <a:t>x</a:t>
            </a:r>
            <a:r>
              <a:rPr kumimoji="0" lang="en-US" sz="1050" b="0" i="0" u="none" strike="noStrike" kern="1200" cap="none" spc="0" normalizeH="0" baseline="0" noProof="0" dirty="0">
                <a:ln>
                  <a:noFill/>
                </a:ln>
                <a:solidFill>
                  <a:srgbClr val="000000"/>
                </a:solidFill>
                <a:effectLst/>
                <a:uLnTx/>
                <a:uFillTx/>
                <a:latin typeface="IBM Plex Sans Light"/>
                <a:ea typeface="IBM Plex Sans SmBld" panose="020B0703050203000203" pitchFamily="34" charset="0"/>
                <a:cs typeface="IBM Plex Sans SmBld" panose="020B0703050203000203" pitchFamily="34" charset="0"/>
              </a:rPr>
              <a:t> Code Assistant</a:t>
            </a:r>
          </a:p>
        </p:txBody>
      </p:sp>
      <p:sp>
        <p:nvSpPr>
          <p:cNvPr id="38" name="TextBox 37">
            <a:extLst>
              <a:ext uri="{FF2B5EF4-FFF2-40B4-BE49-F238E27FC236}">
                <a16:creationId xmlns:a16="http://schemas.microsoft.com/office/drawing/2014/main" id="{94D67E85-78C4-631C-207A-808B29F8E48F}"/>
              </a:ext>
            </a:extLst>
          </p:cNvPr>
          <p:cNvSpPr txBox="1"/>
          <p:nvPr/>
        </p:nvSpPr>
        <p:spPr>
          <a:xfrm>
            <a:off x="3560130" y="4360640"/>
            <a:ext cx="1534329" cy="57708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342832"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err="1">
                <a:ln>
                  <a:noFill/>
                </a:ln>
                <a:solidFill>
                  <a:srgbClr val="000000"/>
                </a:solidFill>
                <a:effectLst/>
                <a:uLnTx/>
                <a:uFillTx/>
                <a:latin typeface="IBM Plex Sans" panose="020B0503050203000203" pitchFamily="34" charset="0"/>
                <a:ea typeface="+mn-ea"/>
                <a:cs typeface="+mn-cs"/>
                <a:sym typeface="IBM Plex Sans Light"/>
              </a:rPr>
              <a:t>watson</a:t>
            </a:r>
            <a:r>
              <a:rPr kumimoji="0" lang="en-US" sz="1050" b="1" i="0" u="none" strike="noStrike" kern="0" cap="none" spc="0" normalizeH="0" baseline="0" noProof="0" dirty="0" err="1">
                <a:ln>
                  <a:noFill/>
                </a:ln>
                <a:solidFill>
                  <a:srgbClr val="0F62FE"/>
                </a:solidFill>
                <a:effectLst/>
                <a:uLnTx/>
                <a:uFillTx/>
                <a:latin typeface="IBM Plex Sans" panose="020B0503050203000203" pitchFamily="34" charset="0"/>
                <a:ea typeface="+mn-ea"/>
                <a:cs typeface="+mn-cs"/>
                <a:sym typeface="IBM Plex Sans Light"/>
              </a:rPr>
              <a:t>x</a:t>
            </a:r>
            <a:r>
              <a:rPr kumimoji="0" lang="en-US" sz="105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assistant</a:t>
            </a:r>
          </a:p>
          <a:p>
            <a:pPr marL="0" marR="0" lvl="0" indent="0" algn="l" defTabSz="34283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IBM Plex Sans Light"/>
                <a:ea typeface="+mn-ea"/>
                <a:cs typeface="+mn-cs"/>
                <a:sym typeface="IBM Plex Sans Light"/>
              </a:rPr>
              <a:t>IBM Cloud Pak for Data</a:t>
            </a:r>
            <a:endParaRPr kumimoji="0" lang="en-US" sz="105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39" name="TextBox 38">
            <a:extLst>
              <a:ext uri="{FF2B5EF4-FFF2-40B4-BE49-F238E27FC236}">
                <a16:creationId xmlns:a16="http://schemas.microsoft.com/office/drawing/2014/main" id="{33251994-C7C0-4100-2299-2BEF7290D161}"/>
              </a:ext>
            </a:extLst>
          </p:cNvPr>
          <p:cNvSpPr txBox="1"/>
          <p:nvPr/>
        </p:nvSpPr>
        <p:spPr>
          <a:xfrm>
            <a:off x="7036082" y="4360641"/>
            <a:ext cx="1519592" cy="57708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914217" rtl="0" eaLnBrk="1" fontAlgn="auto" latinLnBrk="0" hangingPunct="1">
              <a:lnSpc>
                <a:spcPct val="100000"/>
              </a:lnSpc>
              <a:spcBef>
                <a:spcPts val="0"/>
              </a:spcBef>
              <a:spcAft>
                <a:spcPts val="0"/>
              </a:spcAft>
              <a:buClrTx/>
              <a:buSzPct val="100000"/>
              <a:buFontTx/>
              <a:buNone/>
              <a:tabLst/>
              <a:defRPr/>
            </a:pPr>
            <a:r>
              <a:rPr kumimoji="0" lang="en-US" sz="105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watson</a:t>
            </a:r>
            <a:r>
              <a:rPr kumimoji="0" lang="en-US" sz="1050" b="1" i="0" u="none" strike="noStrike" kern="0" cap="none" spc="0" normalizeH="0" baseline="0" noProof="0" dirty="0">
                <a:ln>
                  <a:noFill/>
                </a:ln>
                <a:solidFill>
                  <a:srgbClr val="0F62FE"/>
                </a:solidFill>
                <a:effectLst/>
                <a:uLnTx/>
                <a:uFillTx/>
                <a:latin typeface="IBM Plex Sans" panose="020B0503050203000203" pitchFamily="34" charset="0"/>
                <a:ea typeface="+mn-ea"/>
                <a:cs typeface="+mn-cs"/>
                <a:sym typeface="IBM Plex Sans Light"/>
              </a:rPr>
              <a:t>x</a:t>
            </a:r>
            <a:r>
              <a:rPr kumimoji="0" lang="en-US" sz="105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assistant </a:t>
            </a:r>
            <a:r>
              <a:rPr kumimoji="0" lang="en-US" sz="105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watson</a:t>
            </a:r>
            <a:r>
              <a:rPr kumimoji="0" lang="en-US" sz="1050" b="1" i="0" u="none" strike="noStrike" kern="0" cap="none" spc="0" normalizeH="0" baseline="0" noProof="0" dirty="0">
                <a:ln>
                  <a:noFill/>
                </a:ln>
                <a:solidFill>
                  <a:srgbClr val="0F62FE"/>
                </a:solidFill>
                <a:effectLst/>
                <a:uLnTx/>
                <a:uFillTx/>
                <a:latin typeface="IBM Plex Sans" panose="020B0503050203000203" pitchFamily="34" charset="0"/>
                <a:ea typeface="+mn-ea"/>
                <a:cs typeface="+mn-cs"/>
                <a:sym typeface="IBM Plex Sans Light"/>
              </a:rPr>
              <a:t>x</a:t>
            </a:r>
            <a:r>
              <a:rPr kumimoji="0" lang="en-US" sz="105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discovery</a:t>
            </a:r>
          </a:p>
          <a:p>
            <a:pPr marL="0" marR="0" lvl="0" indent="0" algn="l" defTabSz="914217" rtl="0" eaLnBrk="1" fontAlgn="auto" latinLnBrk="0" hangingPunct="1">
              <a:lnSpc>
                <a:spcPct val="100000"/>
              </a:lnSpc>
              <a:spcBef>
                <a:spcPts val="0"/>
              </a:spcBef>
              <a:spcAft>
                <a:spcPts val="0"/>
              </a:spcAft>
              <a:buClrTx/>
              <a:buSzPct val="100000"/>
              <a:buFontTx/>
              <a:buNone/>
              <a:tabLst/>
              <a:defRPr/>
            </a:pPr>
            <a:r>
              <a:rPr kumimoji="0" lang="en-US" sz="105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watson</a:t>
            </a:r>
            <a:r>
              <a:rPr kumimoji="0" lang="en-US" sz="1050" b="1" i="0" u="none" strike="noStrike" kern="0" cap="none" spc="0" normalizeH="0" baseline="0" noProof="0" dirty="0">
                <a:ln>
                  <a:noFill/>
                </a:ln>
                <a:solidFill>
                  <a:srgbClr val="0F62FE"/>
                </a:solidFill>
                <a:effectLst/>
                <a:uLnTx/>
                <a:uFillTx/>
                <a:latin typeface="IBM Plex Sans" panose="020B0503050203000203" pitchFamily="34" charset="0"/>
                <a:ea typeface="+mn-ea"/>
                <a:cs typeface="+mn-cs"/>
                <a:sym typeface="IBM Plex Sans Light"/>
              </a:rPr>
              <a:t>x</a:t>
            </a:r>
            <a:r>
              <a:rPr kumimoji="0" lang="en-US" sz="105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Orchestrate</a:t>
            </a:r>
            <a:endParaRPr kumimoji="0" lang="en-US" sz="75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40" name="TextBox 39">
            <a:extLst>
              <a:ext uri="{FF2B5EF4-FFF2-40B4-BE49-F238E27FC236}">
                <a16:creationId xmlns:a16="http://schemas.microsoft.com/office/drawing/2014/main" id="{F5DA59CD-392A-904F-8E2D-AC6CE9B8583E}"/>
              </a:ext>
            </a:extLst>
          </p:cNvPr>
          <p:cNvSpPr txBox="1"/>
          <p:nvPr/>
        </p:nvSpPr>
        <p:spPr>
          <a:xfrm>
            <a:off x="1804118" y="4360641"/>
            <a:ext cx="1603708" cy="57708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34283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IBM Plex Sans Light"/>
                <a:ea typeface="+mn-ea"/>
                <a:cs typeface="+mn-cs"/>
                <a:sym typeface="IBM Plex Sans Light"/>
              </a:rPr>
              <a:t>Automation </a:t>
            </a:r>
          </a:p>
          <a:p>
            <a:pPr marL="0" marR="0" lvl="0" indent="0" algn="l" defTabSz="342832"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err="1">
                <a:ln>
                  <a:noFill/>
                </a:ln>
                <a:solidFill>
                  <a:srgbClr val="000000"/>
                </a:solidFill>
                <a:effectLst/>
                <a:uLnTx/>
                <a:uFillTx/>
                <a:latin typeface="IBM Plex Sans" panose="020B0503050203000203" pitchFamily="34" charset="0"/>
                <a:ea typeface="+mn-ea"/>
                <a:cs typeface="+mn-cs"/>
                <a:sym typeface="IBM Plex Sans Light"/>
              </a:rPr>
              <a:t>watson</a:t>
            </a:r>
            <a:r>
              <a:rPr kumimoji="0" lang="en-US" sz="1050" b="1" i="0" u="none" strike="noStrike" kern="0" cap="none" spc="0" normalizeH="0" baseline="0" noProof="0" dirty="0" err="1">
                <a:ln>
                  <a:noFill/>
                </a:ln>
                <a:solidFill>
                  <a:srgbClr val="0F62FE"/>
                </a:solidFill>
                <a:effectLst/>
                <a:uLnTx/>
                <a:uFillTx/>
                <a:latin typeface="IBM Plex Sans" panose="020B0503050203000203" pitchFamily="34" charset="0"/>
                <a:ea typeface="+mn-ea"/>
                <a:cs typeface="+mn-cs"/>
                <a:sym typeface="IBM Plex Sans Light"/>
              </a:rPr>
              <a:t>x</a:t>
            </a:r>
            <a:r>
              <a:rPr kumimoji="0" lang="en-US" sz="105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assistant</a:t>
            </a:r>
          </a:p>
          <a:p>
            <a:pPr marL="0" marR="0" lvl="0" indent="0" algn="l" defTabSz="342832"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err="1">
                <a:ln>
                  <a:noFill/>
                </a:ln>
                <a:solidFill>
                  <a:srgbClr val="000000"/>
                </a:solidFill>
                <a:effectLst/>
                <a:uLnTx/>
                <a:uFillTx/>
                <a:latin typeface="IBM Plex Sans" panose="020B0503050203000203" pitchFamily="34" charset="0"/>
                <a:ea typeface="+mn-ea"/>
                <a:cs typeface="+mn-cs"/>
                <a:sym typeface="IBM Plex Sans Light"/>
              </a:rPr>
              <a:t>watson</a:t>
            </a:r>
            <a:r>
              <a:rPr kumimoji="0" lang="en-US" sz="1050" b="1" i="0" u="none" strike="noStrike" kern="0" cap="none" spc="0" normalizeH="0" baseline="0" noProof="0" dirty="0" err="1">
                <a:ln>
                  <a:noFill/>
                </a:ln>
                <a:solidFill>
                  <a:srgbClr val="0F62FE"/>
                </a:solidFill>
                <a:effectLst/>
                <a:uLnTx/>
                <a:uFillTx/>
                <a:latin typeface="IBM Plex Sans" panose="020B0503050203000203" pitchFamily="34" charset="0"/>
                <a:ea typeface="+mn-ea"/>
                <a:cs typeface="+mn-cs"/>
                <a:sym typeface="IBM Plex Sans Light"/>
              </a:rPr>
              <a:t>x</a:t>
            </a:r>
            <a:r>
              <a:rPr kumimoji="0" lang="en-US" sz="1050" b="1" i="0" u="none" strike="noStrike" kern="0" cap="none" spc="0" normalizeH="0" baseline="0" noProof="0" dirty="0" err="1">
                <a:ln>
                  <a:noFill/>
                </a:ln>
                <a:solidFill>
                  <a:srgbClr val="000000"/>
                </a:solidFill>
                <a:effectLst/>
                <a:uLnTx/>
                <a:uFillTx/>
                <a:latin typeface="IBM Plex Sans Light"/>
                <a:ea typeface="+mn-ea"/>
                <a:cs typeface="+mn-cs"/>
                <a:sym typeface="IBM Plex Sans Light"/>
              </a:rPr>
              <a:t>.ai</a:t>
            </a:r>
            <a:r>
              <a:rPr kumimoji="0" lang="en-US" sz="105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a:t>
            </a:r>
            <a:endParaRPr kumimoji="0" lang="en-US" sz="105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41" name="TextBox 40">
            <a:extLst>
              <a:ext uri="{FF2B5EF4-FFF2-40B4-BE49-F238E27FC236}">
                <a16:creationId xmlns:a16="http://schemas.microsoft.com/office/drawing/2014/main" id="{C1E53F40-8D9C-4537-374A-DB2831F347FA}"/>
              </a:ext>
            </a:extLst>
          </p:cNvPr>
          <p:cNvSpPr txBox="1"/>
          <p:nvPr/>
        </p:nvSpPr>
        <p:spPr>
          <a:xfrm>
            <a:off x="8794126" y="4366084"/>
            <a:ext cx="1519592" cy="57708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914217" rtl="0" eaLnBrk="1" fontAlgn="auto" latinLnBrk="0" hangingPunct="1">
              <a:lnSpc>
                <a:spcPct val="100000"/>
              </a:lnSpc>
              <a:spcBef>
                <a:spcPts val="0"/>
              </a:spcBef>
              <a:spcAft>
                <a:spcPts val="0"/>
              </a:spcAft>
              <a:buClrTx/>
              <a:buSzPct val="100000"/>
              <a:buFontTx/>
              <a:buNone/>
              <a:tabLst/>
              <a:defRPr/>
            </a:pPr>
            <a:r>
              <a:rPr kumimoji="0" lang="en-US" sz="105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watson</a:t>
            </a:r>
            <a:r>
              <a:rPr kumimoji="0" lang="en-US" sz="1050" b="1" i="0" u="none" strike="noStrike" kern="0" cap="none" spc="0" normalizeH="0" baseline="0" noProof="0" dirty="0">
                <a:ln>
                  <a:noFill/>
                </a:ln>
                <a:solidFill>
                  <a:srgbClr val="0F62FE"/>
                </a:solidFill>
                <a:effectLst/>
                <a:uLnTx/>
                <a:uFillTx/>
                <a:latin typeface="IBM Plex Sans" panose="020B0503050203000203" pitchFamily="34" charset="0"/>
                <a:ea typeface="+mn-ea"/>
                <a:cs typeface="+mn-cs"/>
                <a:sym typeface="IBM Plex Sans Light"/>
              </a:rPr>
              <a:t>x</a:t>
            </a:r>
            <a:r>
              <a:rPr kumimoji="0" lang="en-US" sz="105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assistant </a:t>
            </a:r>
            <a:r>
              <a:rPr kumimoji="0" lang="en-US" sz="105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watson</a:t>
            </a:r>
            <a:r>
              <a:rPr kumimoji="0" lang="en-US" sz="1050" b="1" i="0" u="none" strike="noStrike" kern="0" cap="none" spc="0" normalizeH="0" baseline="0" noProof="0" dirty="0">
                <a:ln>
                  <a:noFill/>
                </a:ln>
                <a:solidFill>
                  <a:srgbClr val="0F62FE"/>
                </a:solidFill>
                <a:effectLst/>
                <a:uLnTx/>
                <a:uFillTx/>
                <a:latin typeface="IBM Plex Sans" panose="020B0503050203000203" pitchFamily="34" charset="0"/>
                <a:ea typeface="+mn-ea"/>
                <a:cs typeface="+mn-cs"/>
                <a:sym typeface="IBM Plex Sans Light"/>
              </a:rPr>
              <a:t>x</a:t>
            </a:r>
            <a:r>
              <a:rPr kumimoji="0" lang="en-US" sz="105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discovery</a:t>
            </a:r>
          </a:p>
          <a:p>
            <a:pPr marL="0" marR="0" lvl="0" indent="0" algn="l" defTabSz="914217" rtl="0" eaLnBrk="1" fontAlgn="auto" latinLnBrk="0" hangingPunct="1">
              <a:lnSpc>
                <a:spcPct val="100000"/>
              </a:lnSpc>
              <a:spcBef>
                <a:spcPts val="0"/>
              </a:spcBef>
              <a:spcAft>
                <a:spcPts val="0"/>
              </a:spcAft>
              <a:buClrTx/>
              <a:buSzPct val="100000"/>
              <a:buFontTx/>
              <a:buNone/>
              <a:tabLst/>
              <a:defRPr/>
            </a:pPr>
            <a:r>
              <a:rPr kumimoji="0" lang="en-US" sz="1050" b="1"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watson</a:t>
            </a:r>
            <a:r>
              <a:rPr kumimoji="0" lang="en-US" sz="1050" b="1" i="0" u="none" strike="noStrike" kern="0" cap="none" spc="0" normalizeH="0" baseline="0" noProof="0" dirty="0">
                <a:ln>
                  <a:noFill/>
                </a:ln>
                <a:solidFill>
                  <a:srgbClr val="0F62FE"/>
                </a:solidFill>
                <a:effectLst/>
                <a:uLnTx/>
                <a:uFillTx/>
                <a:latin typeface="IBM Plex Sans" panose="020B0503050203000203" pitchFamily="34" charset="0"/>
                <a:ea typeface="+mn-ea"/>
                <a:cs typeface="+mn-cs"/>
                <a:sym typeface="IBM Plex Sans Light"/>
              </a:rPr>
              <a:t>x</a:t>
            </a:r>
            <a:r>
              <a:rPr kumimoji="0" lang="en-US" sz="105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Orchestrate</a:t>
            </a:r>
            <a:endParaRPr kumimoji="0" lang="en-US" sz="75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Tree>
    <p:extLst>
      <p:ext uri="{BB962C8B-B14F-4D97-AF65-F5344CB8AC3E}">
        <p14:creationId xmlns:p14="http://schemas.microsoft.com/office/powerpoint/2010/main" val="1008945465"/>
      </p:ext>
    </p:extLst>
  </p:cSld>
  <p:clrMapOvr>
    <a:masterClrMapping/>
  </p:clrMapOvr>
  <mc:AlternateContent xmlns:mc="http://schemas.openxmlformats.org/markup-compatibility/2006">
    <mc:Choice xmlns:p14="http://schemas.microsoft.com/office/powerpoint/2010/main" Requires="p14">
      <p:transition spd="slow" p14:dur="10000" advClick="0"/>
    </mc:Choice>
    <mc:Fallback>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descr="Vertical 3/4 slide background in blue 10">
            <a:extLst>
              <a:ext uri="{FF2B5EF4-FFF2-40B4-BE49-F238E27FC236}">
                <a16:creationId xmlns:a16="http://schemas.microsoft.com/office/drawing/2014/main" id="{979D7D03-F029-F4F9-0C87-49175BA2BECB}"/>
              </a:ext>
            </a:extLst>
          </p:cNvPr>
          <p:cNvSpPr/>
          <p:nvPr/>
        </p:nvSpPr>
        <p:spPr bwMode="auto">
          <a:xfrm flipH="1">
            <a:off x="6096000" y="447"/>
            <a:ext cx="6095999" cy="6857107"/>
          </a:xfrm>
          <a:prstGeom prst="rect">
            <a:avLst/>
          </a:prstGeom>
          <a:solidFill>
            <a:srgbClr val="F3FAFF"/>
          </a:solidFill>
          <a:ln w="19050">
            <a:solidFill>
              <a:srgbClr val="F3FA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457109" rtl="0" eaLnBrk="1" fontAlgn="base" latinLnBrk="0" hangingPunct="1">
              <a:lnSpc>
                <a:spcPct val="100000"/>
              </a:lnSpc>
              <a:spcBef>
                <a:spcPct val="0"/>
              </a:spcBef>
              <a:spcAft>
                <a:spcPct val="0"/>
              </a:spcAft>
              <a:buClrTx/>
              <a:buSzTx/>
              <a:buFont typeface="IBM Plex Sans Light"/>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1" name="CaixaDeTexto 30">
            <a:extLst>
              <a:ext uri="{FF2B5EF4-FFF2-40B4-BE49-F238E27FC236}">
                <a16:creationId xmlns:a16="http://schemas.microsoft.com/office/drawing/2014/main" id="{BBEF50D1-4F6B-E9E3-5690-332172228AA8}"/>
              </a:ext>
            </a:extLst>
          </p:cNvPr>
          <p:cNvSpPr txBox="1"/>
          <p:nvPr/>
        </p:nvSpPr>
        <p:spPr>
          <a:xfrm>
            <a:off x="8520591" y="-520632"/>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222188" marR="0" lvl="0" indent="-223330" algn="l" defTabSz="1218956" rtl="0" eaLnBrk="1" fontAlgn="auto" latinLnBrk="0" hangingPunct="1">
              <a:lnSpc>
                <a:spcPct val="100000"/>
              </a:lnSpc>
              <a:spcBef>
                <a:spcPts val="1450"/>
              </a:spcBef>
              <a:spcAft>
                <a:spcPts val="0"/>
              </a:spcAft>
              <a:buClrTx/>
              <a:buSzPct val="100000"/>
              <a:buFontTx/>
              <a:buChar char="–"/>
              <a:tabLst/>
              <a:defRPr/>
            </a:pPr>
            <a:endParaRPr kumimoji="0" lang="pt-BR" sz="9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5" name="Title 1">
            <a:extLst>
              <a:ext uri="{FF2B5EF4-FFF2-40B4-BE49-F238E27FC236}">
                <a16:creationId xmlns:a16="http://schemas.microsoft.com/office/drawing/2014/main" id="{C5D0B9CE-5F45-2BFF-9404-F2382A8C5D2B}"/>
              </a:ext>
            </a:extLst>
          </p:cNvPr>
          <p:cNvSpPr txBox="1">
            <a:spLocks/>
          </p:cNvSpPr>
          <p:nvPr/>
        </p:nvSpPr>
        <p:spPr>
          <a:xfrm>
            <a:off x="287999" y="288036"/>
            <a:ext cx="7593372" cy="58293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Hallucination Management</a:t>
            </a:r>
          </a:p>
        </p:txBody>
      </p:sp>
      <p:sp>
        <p:nvSpPr>
          <p:cNvPr id="6" name="TextBox 5">
            <a:extLst>
              <a:ext uri="{FF2B5EF4-FFF2-40B4-BE49-F238E27FC236}">
                <a16:creationId xmlns:a16="http://schemas.microsoft.com/office/drawing/2014/main" id="{AB8D5712-6C6F-2A75-0C7A-D4EF2185CE89}"/>
              </a:ext>
            </a:extLst>
          </p:cNvPr>
          <p:cNvSpPr txBox="1"/>
          <p:nvPr/>
        </p:nvSpPr>
        <p:spPr>
          <a:xfrm>
            <a:off x="288009" y="1159939"/>
            <a:ext cx="5552266" cy="431618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2438400" rtl="0" eaLnBrk="1" fontAlgn="auto" latinLnBrk="0" hangingPunct="1">
              <a:lnSpc>
                <a:spcPts val="3150"/>
              </a:lnSpc>
              <a:spcBef>
                <a:spcPts val="2900"/>
              </a:spcBef>
              <a:spcAft>
                <a:spcPts val="0"/>
              </a:spcAft>
              <a:buClrTx/>
              <a:buSzPct val="100000"/>
              <a:buFontTx/>
              <a:buNone/>
              <a:tabLst/>
              <a:defRPr/>
            </a:pPr>
            <a:r>
              <a:rPr kumimoji="0" lang="en-US" sz="2400" b="0" i="0" u="none" strike="noStrike" kern="1200" cap="none" spc="0" normalizeH="0" baseline="0" noProof="0" dirty="0">
                <a:ln>
                  <a:noFill/>
                </a:ln>
                <a:solidFill>
                  <a:srgbClr val="0F62FE"/>
                </a:solidFill>
                <a:effectLst/>
                <a:uLnTx/>
                <a:uFillTx/>
                <a:latin typeface="IBM Plex Sans Light"/>
                <a:ea typeface="+mn-ea"/>
                <a:cs typeface="Segoe UI"/>
              </a:rPr>
              <a:t>High-Risk Topics​</a:t>
            </a:r>
          </a:p>
          <a:p>
            <a:pPr marL="443865" marR="0" lvl="0" indent="-446405" algn="l" defTabSz="2438400" rtl="0" eaLnBrk="1" fontAlgn="auto" latinLnBrk="0" hangingPunct="1">
              <a:lnSpc>
                <a:spcPts val="3150"/>
              </a:lnSpc>
              <a:spcBef>
                <a:spcPts val="2900"/>
              </a:spcBef>
              <a:spcAft>
                <a:spcPts val="0"/>
              </a:spcAft>
              <a:buClrTx/>
              <a:buSzPct val="100000"/>
              <a:buFont typeface="Wingdings,Sans-Serif"/>
              <a:buChar char="è"/>
              <a:tabLst/>
              <a:defRPr/>
            </a:pPr>
            <a:r>
              <a:rPr kumimoji="0" lang="en-US" sz="2000" b="1" i="0" u="none" strike="noStrike" kern="1200" cap="none" spc="0" normalizeH="0" baseline="0" noProof="0" dirty="0">
                <a:ln>
                  <a:noFill/>
                </a:ln>
                <a:solidFill>
                  <a:srgbClr val="000000"/>
                </a:solidFill>
                <a:effectLst/>
                <a:uLnTx/>
                <a:uFillTx/>
                <a:latin typeface="IBM Plex Sans Light"/>
                <a:ea typeface="+mn-ea"/>
                <a:cs typeface="Arial"/>
              </a:rPr>
              <a:t>Static question &amp; answer workflows</a:t>
            </a:r>
            <a:endParaRPr kumimoji="0" lang="en-US" sz="2000" b="0" i="0" u="none" strike="noStrike" kern="1200" cap="none" spc="0" normalizeH="0" baseline="0" noProof="0" dirty="0">
              <a:ln>
                <a:noFill/>
              </a:ln>
              <a:solidFill>
                <a:srgbClr val="000000"/>
              </a:solidFill>
              <a:effectLst/>
              <a:uLnTx/>
              <a:uFillTx/>
              <a:latin typeface="IBM Plex Sans Light"/>
              <a:ea typeface="+mn-ea"/>
              <a:cs typeface="Arial"/>
            </a:endParaRPr>
          </a:p>
          <a:p>
            <a:pPr marL="0" marR="0" lvl="0" indent="0" algn="l" defTabSz="2438400" rtl="0" eaLnBrk="1" fontAlgn="auto" latinLnBrk="0" hangingPunct="1">
              <a:lnSpc>
                <a:spcPts val="3150"/>
              </a:lnSpc>
              <a:spcBef>
                <a:spcPts val="290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IBM Plex Sans Light"/>
                <a:ea typeface="+mn-ea"/>
                <a:cs typeface="Segoe UI"/>
              </a:rPr>
              <a:t>High-risk for legal or ethical reasons​</a:t>
            </a:r>
            <a:endParaRPr kumimoji="0" lang="en-US" sz="1800" b="0" i="0" u="none" strike="noStrike" kern="1200" cap="none" spc="0" normalizeH="0" baseline="0" noProof="0">
              <a:ln>
                <a:noFill/>
              </a:ln>
              <a:solidFill>
                <a:srgbClr val="000000"/>
              </a:solidFill>
              <a:effectLst/>
              <a:uLnTx/>
              <a:uFillTx/>
              <a:latin typeface="IBM Plex Sans Light"/>
              <a:ea typeface="+mn-ea"/>
              <a:cs typeface="+mn-cs"/>
            </a:endParaRPr>
          </a:p>
          <a:p>
            <a:pPr marL="0" marR="0" lvl="0" indent="0" algn="l" defTabSz="2438400" rtl="0" eaLnBrk="1" fontAlgn="auto" latinLnBrk="0" hangingPunct="1">
              <a:lnSpc>
                <a:spcPts val="3150"/>
              </a:lnSpc>
              <a:spcBef>
                <a:spcPts val="29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IBM Plex Sans Light"/>
                <a:ea typeface="+mn-ea"/>
                <a:cs typeface="Segoe UI"/>
              </a:rPr>
              <a:t>Question and answer are manually curated, therefore, fixed (this is how all Q&amp;A are managed in AskHR today)</a:t>
            </a:r>
          </a:p>
          <a:p>
            <a:pPr marL="0" marR="0" lvl="0" indent="0" algn="l" defTabSz="2438400" rtl="0" eaLnBrk="1" fontAlgn="auto" latinLnBrk="0" hangingPunct="1">
              <a:lnSpc>
                <a:spcPts val="3150"/>
              </a:lnSpc>
              <a:spcBef>
                <a:spcPts val="290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IBM Plex Sans Light"/>
                <a:ea typeface="+mn-ea"/>
                <a:cs typeface="Segoe UI"/>
              </a:rPr>
              <a:t>Partnering with</a:t>
            </a:r>
            <a:r>
              <a:rPr kumimoji="0" lang="en-US" sz="1800" b="1" i="0" u="none" strike="noStrike" kern="1200" cap="none" spc="0" normalizeH="0" baseline="0" noProof="0" dirty="0">
                <a:ln>
                  <a:noFill/>
                </a:ln>
                <a:solidFill>
                  <a:srgbClr val="000000"/>
                </a:solidFill>
                <a:effectLst/>
                <a:uLnTx/>
                <a:uFillTx/>
                <a:latin typeface="IBM Plex Sans Light"/>
                <a:ea typeface="+mn-ea"/>
                <a:cs typeface="Segoe UI"/>
              </a:rPr>
              <a:t> </a:t>
            </a:r>
            <a:r>
              <a:rPr kumimoji="0" lang="en-US" sz="1800" b="0" i="0" u="none" strike="noStrike" kern="1200" cap="none" spc="0" normalizeH="0" baseline="0" noProof="0" dirty="0">
                <a:ln>
                  <a:noFill/>
                </a:ln>
                <a:solidFill>
                  <a:srgbClr val="000000"/>
                </a:solidFill>
                <a:effectLst/>
                <a:uLnTx/>
                <a:uFillTx/>
                <a:latin typeface="IBM Plex Sans Light"/>
                <a:ea typeface="+mn-ea"/>
                <a:cs typeface="Segoe UI"/>
              </a:rPr>
              <a:t>senior leaders and content owners across HR to identify </a:t>
            </a:r>
          </a:p>
        </p:txBody>
      </p:sp>
      <p:sp>
        <p:nvSpPr>
          <p:cNvPr id="7" name="TextBox 6">
            <a:extLst>
              <a:ext uri="{FF2B5EF4-FFF2-40B4-BE49-F238E27FC236}">
                <a16:creationId xmlns:a16="http://schemas.microsoft.com/office/drawing/2014/main" id="{C03C7B59-FCCF-E320-F3F7-676B879D0A88}"/>
              </a:ext>
            </a:extLst>
          </p:cNvPr>
          <p:cNvSpPr txBox="1"/>
          <p:nvPr/>
        </p:nvSpPr>
        <p:spPr>
          <a:xfrm>
            <a:off x="6350208" y="1159789"/>
            <a:ext cx="5714740" cy="479182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2438400" rtl="0" eaLnBrk="1" fontAlgn="auto" latinLnBrk="0" hangingPunct="1">
              <a:lnSpc>
                <a:spcPct val="11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F62FE"/>
                </a:solidFill>
                <a:effectLst/>
                <a:uLnTx/>
                <a:uFillTx/>
                <a:latin typeface="IBM Plex Sans Light"/>
                <a:ea typeface="+mn-ea"/>
                <a:cs typeface="Segoe UI"/>
              </a:rPr>
              <a:t>All Other Information</a:t>
            </a:r>
            <a:endParaRPr kumimoji="0" lang="en-US" sz="2400" b="0" i="0" u="none" strike="noStrike" kern="1200" cap="none" spc="0" normalizeH="0" baseline="0" noProof="0" dirty="0">
              <a:ln>
                <a:noFill/>
              </a:ln>
              <a:solidFill>
                <a:srgbClr val="0F62FE"/>
              </a:solidFill>
              <a:effectLst/>
              <a:uLnTx/>
              <a:uFillTx/>
              <a:latin typeface="IBM Plex Sans Light"/>
              <a:ea typeface="+mn-ea"/>
              <a:cs typeface="+mn-cs"/>
            </a:endParaRPr>
          </a:p>
          <a:p>
            <a:pPr marL="0" marR="0" lvl="0" indent="0" algn="l" defTabSz="2438400" rtl="0" eaLnBrk="1" fontAlgn="auto" latinLnBrk="0" hangingPunct="1">
              <a:lnSpc>
                <a:spcPct val="11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IBM Plex Sans Light"/>
              <a:ea typeface="+mn-ea"/>
              <a:cs typeface="Arial"/>
            </a:endParaRPr>
          </a:p>
          <a:p>
            <a:pPr marL="285750" marR="0" lvl="0" indent="-285750" algn="l" defTabSz="2438400" rtl="0" eaLnBrk="1" fontAlgn="auto" latinLnBrk="0" hangingPunct="1">
              <a:lnSpc>
                <a:spcPct val="110000"/>
              </a:lnSpc>
              <a:spcBef>
                <a:spcPts val="0"/>
              </a:spcBef>
              <a:spcAft>
                <a:spcPts val="0"/>
              </a:spcAft>
              <a:buClrTx/>
              <a:buSzTx/>
              <a:buFont typeface="Wingdings,Sans-Serif"/>
              <a:buChar char="è"/>
              <a:tabLst/>
              <a:defRPr/>
            </a:pPr>
            <a:r>
              <a:rPr kumimoji="0" lang="en-US" sz="2000" b="1" i="0" u="none" strike="noStrike" kern="1200" cap="none" spc="0" normalizeH="0" baseline="0" noProof="0" dirty="0">
                <a:ln>
                  <a:noFill/>
                </a:ln>
                <a:solidFill>
                  <a:srgbClr val="000000"/>
                </a:solidFill>
                <a:effectLst/>
                <a:uLnTx/>
                <a:uFillTx/>
                <a:latin typeface="IBM Plex Sans Light"/>
                <a:ea typeface="+mn-ea"/>
                <a:cs typeface="Segoe UI"/>
              </a:rPr>
              <a:t> Domain-specific gen-AI workflow</a:t>
            </a:r>
          </a:p>
          <a:p>
            <a:pPr marL="285750" marR="0" lvl="0" indent="-285750" algn="l" defTabSz="2438400" rtl="0" eaLnBrk="1" fontAlgn="auto" latinLnBrk="0" hangingPunct="1">
              <a:lnSpc>
                <a:spcPct val="110000"/>
              </a:lnSpc>
              <a:spcBef>
                <a:spcPts val="0"/>
              </a:spcBef>
              <a:spcAft>
                <a:spcPts val="0"/>
              </a:spcAft>
              <a:buClrTx/>
              <a:buSzTx/>
              <a:buFont typeface="Wingdings,Sans-Serif"/>
              <a:buChar char="è"/>
              <a:tabLst/>
              <a:defRPr/>
            </a:pPr>
            <a:endParaRPr kumimoji="0" lang="en-US" sz="2400" b="0" i="0" u="none" strike="noStrike" kern="1200" cap="none" spc="0" normalizeH="0" baseline="0" noProof="0" dirty="0">
              <a:ln>
                <a:noFill/>
              </a:ln>
              <a:solidFill>
                <a:srgbClr val="000000"/>
              </a:solidFill>
              <a:effectLst/>
              <a:uLnTx/>
              <a:uFillTx/>
              <a:latin typeface="IBM Plex Sans Light"/>
              <a:ea typeface="+mn-ea"/>
              <a:cs typeface="Segoe UI"/>
            </a:endParaRPr>
          </a:p>
          <a:p>
            <a:pPr marL="0" marR="0" lvl="0" indent="0" algn="l" defTabSz="2438400" rtl="0" eaLnBrk="1" fontAlgn="auto" latinLnBrk="0" hangingPunct="1">
              <a:lnSpc>
                <a:spcPct val="11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IBM Plex Sans Light"/>
                <a:ea typeface="+mn-ea"/>
                <a:cs typeface="Segoe UI"/>
              </a:rPr>
              <a:t>Content curation:</a:t>
            </a:r>
            <a:r>
              <a:rPr kumimoji="0" lang="en-US" sz="1600" b="0" i="0" u="none" strike="noStrike" kern="1200" cap="none" spc="0" normalizeH="0" baseline="0" noProof="0" dirty="0">
                <a:ln>
                  <a:noFill/>
                </a:ln>
                <a:solidFill>
                  <a:srgbClr val="000000"/>
                </a:solidFill>
                <a:effectLst/>
                <a:uLnTx/>
                <a:uFillTx/>
                <a:latin typeface="IBM Plex Sans Light"/>
                <a:ea typeface="+mn-ea"/>
                <a:cs typeface="Segoe UI"/>
              </a:rPr>
              <a:t> Content (IBM HR knowledge to be ingested by the LLM) is cleaned up and curated prior to ingestion</a:t>
            </a:r>
            <a:endParaRPr kumimoji="0" lang="en-US" sz="1600" b="0" i="0" u="none" strike="noStrike" kern="1200" cap="none" spc="0" normalizeH="0" baseline="0" noProof="0" dirty="0">
              <a:ln>
                <a:noFill/>
              </a:ln>
              <a:solidFill>
                <a:srgbClr val="000000"/>
              </a:solidFill>
              <a:effectLst/>
              <a:uLnTx/>
              <a:uFillTx/>
              <a:latin typeface="IBM Plex Sans Light"/>
              <a:ea typeface="+mn-ea"/>
              <a:cs typeface="+mn-cs"/>
            </a:endParaRPr>
          </a:p>
          <a:p>
            <a:pPr marL="0" marR="0" lvl="0" indent="0" algn="l" defTabSz="2438400" rtl="0" eaLnBrk="1" fontAlgn="auto" latinLnBrk="0" hangingPunct="1">
              <a:lnSpc>
                <a:spcPct val="11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IBM Plex Sans Light"/>
              <a:ea typeface="+mn-ea"/>
              <a:cs typeface="Segoe UI"/>
            </a:endParaRPr>
          </a:p>
          <a:p>
            <a:pPr marL="0" marR="0" lvl="0" indent="0" algn="l" defTabSz="2438400" rtl="0" eaLnBrk="1" fontAlgn="auto" latinLnBrk="0" hangingPunct="1">
              <a:lnSpc>
                <a:spcPct val="11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IBM Plex Sans Light"/>
                <a:ea typeface="+mn-ea"/>
                <a:cs typeface="Segoe UI"/>
              </a:rPr>
              <a:t>LLM Behavioral knobs:</a:t>
            </a:r>
            <a:r>
              <a:rPr kumimoji="0" lang="en-US" sz="1600" b="0" i="0" u="none" strike="noStrike" kern="1200" cap="none" spc="0" normalizeH="0" baseline="0" noProof="0" dirty="0">
                <a:ln>
                  <a:noFill/>
                </a:ln>
                <a:solidFill>
                  <a:srgbClr val="000000"/>
                </a:solidFill>
                <a:effectLst/>
                <a:uLnTx/>
                <a:uFillTx/>
                <a:latin typeface="IBM Plex Sans Light"/>
                <a:ea typeface="+mn-ea"/>
                <a:cs typeface="Segoe UI"/>
              </a:rPr>
              <a:t> Answer discarded if below a threshold level of confidence:</a:t>
            </a:r>
          </a:p>
          <a:p>
            <a:pPr marL="0" marR="0" lvl="0" indent="0" algn="l" defTabSz="2438400" rtl="0" eaLnBrk="1" fontAlgn="auto" latinLnBrk="0" hangingPunct="1">
              <a:lnSpc>
                <a:spcPct val="11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IBM Plex Sans Light"/>
              <a:ea typeface="+mn-ea"/>
              <a:cs typeface="Segoe UI"/>
            </a:endParaRPr>
          </a:p>
          <a:p>
            <a:pPr marL="164465" marR="0" lvl="1" indent="-164465" algn="l" defTabSz="2438400" rtl="0" eaLnBrk="1" fontAlgn="auto" latinLnBrk="0" hangingPunct="1">
              <a:lnSpc>
                <a:spcPct val="110000"/>
              </a:lnSpc>
              <a:spcBef>
                <a:spcPts val="0"/>
              </a:spcBef>
              <a:spcAft>
                <a:spcPts val="0"/>
              </a:spcAft>
              <a:buClrTx/>
              <a:buSzTx/>
              <a:buFont typeface="Arial,Sans-Serif"/>
              <a:buChar char="•"/>
              <a:tabLst/>
              <a:defRPr/>
            </a:pPr>
            <a:r>
              <a:rPr kumimoji="0" lang="en-US" sz="1600" b="0" i="0" u="none" strike="noStrike" kern="1200" cap="none" spc="0" normalizeH="0" baseline="0" noProof="0" dirty="0">
                <a:ln>
                  <a:noFill/>
                </a:ln>
                <a:solidFill>
                  <a:srgbClr val="000000"/>
                </a:solidFill>
                <a:effectLst/>
                <a:uLnTx/>
                <a:uFillTx/>
                <a:latin typeface="IBM Plex Sans Light"/>
                <a:ea typeface="+mn-ea"/>
                <a:cs typeface="Segoe UI"/>
              </a:rPr>
              <a:t>Responds with no answer found message</a:t>
            </a:r>
          </a:p>
          <a:p>
            <a:pPr marL="164465" marR="0" lvl="1" indent="-164465" algn="l" defTabSz="2438400" rtl="0" eaLnBrk="1" fontAlgn="auto" latinLnBrk="0" hangingPunct="1">
              <a:lnSpc>
                <a:spcPct val="110000"/>
              </a:lnSpc>
              <a:spcBef>
                <a:spcPts val="0"/>
              </a:spcBef>
              <a:spcAft>
                <a:spcPts val="0"/>
              </a:spcAft>
              <a:buClrTx/>
              <a:buSzTx/>
              <a:buFont typeface="Arial,Sans-Serif"/>
              <a:buChar char="•"/>
              <a:tabLst/>
              <a:defRPr/>
            </a:pPr>
            <a:r>
              <a:rPr kumimoji="0" lang="en-US" sz="1600" b="0" i="0" u="none" strike="noStrike" kern="1200" cap="none" spc="0" normalizeH="0" baseline="0" noProof="0" dirty="0">
                <a:ln>
                  <a:noFill/>
                </a:ln>
                <a:solidFill>
                  <a:srgbClr val="000000"/>
                </a:solidFill>
                <a:effectLst/>
                <a:uLnTx/>
                <a:uFillTx/>
                <a:latin typeface="IBM Plex Sans Light"/>
                <a:ea typeface="+mn-ea"/>
                <a:cs typeface="Segoe UI"/>
              </a:rPr>
              <a:t>Offers to escalate to a human agent</a:t>
            </a:r>
          </a:p>
          <a:p>
            <a:pPr marL="0" marR="0" lvl="1" indent="0" algn="l" defTabSz="2438400" rtl="0" eaLnBrk="1" fontAlgn="auto" latinLnBrk="0" hangingPunct="1">
              <a:lnSpc>
                <a:spcPct val="11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IBM Plex Sans Light"/>
              <a:ea typeface="+mn-ea"/>
              <a:cs typeface="+mn-cs"/>
            </a:endParaRPr>
          </a:p>
          <a:p>
            <a:pPr marL="0" marR="0" lvl="1" indent="0" algn="l" defTabSz="2438400" rtl="0" eaLnBrk="1" fontAlgn="auto" latinLnBrk="0" hangingPunct="1">
              <a:lnSpc>
                <a:spcPct val="110000"/>
              </a:lnSpc>
              <a:spcBef>
                <a:spcPts val="0"/>
              </a:spcBef>
              <a:spcAft>
                <a:spcPts val="0"/>
              </a:spcAft>
              <a:buClrTx/>
              <a:buSzTx/>
              <a:buFont typeface="Arial,Sans-Serif"/>
              <a:buNone/>
              <a:tabLst/>
              <a:defRPr/>
            </a:pPr>
            <a:r>
              <a:rPr kumimoji="0" lang="en-US" sz="1600" b="1" i="0" u="none" strike="noStrike" kern="1200" cap="none" spc="0" normalizeH="0" baseline="0" noProof="0" dirty="0">
                <a:ln>
                  <a:noFill/>
                </a:ln>
                <a:solidFill>
                  <a:srgbClr val="000000"/>
                </a:solidFill>
                <a:effectLst/>
                <a:uLnTx/>
                <a:uFillTx/>
                <a:latin typeface="IBM Plex Sans Light"/>
                <a:ea typeface="+mn-ea"/>
                <a:cs typeface="+mn-cs"/>
              </a:rPr>
              <a:t>Advanced control :</a:t>
            </a:r>
            <a:r>
              <a:rPr kumimoji="0" lang="en-US" sz="1600" b="0" i="0" u="none" strike="noStrike" kern="1200" cap="none" spc="0" normalizeH="0" baseline="0" noProof="0" dirty="0">
                <a:ln>
                  <a:noFill/>
                </a:ln>
                <a:solidFill>
                  <a:srgbClr val="000000"/>
                </a:solidFill>
                <a:effectLst/>
                <a:uLnTx/>
                <a:uFillTx/>
                <a:latin typeface="IBM Plex Sans Light"/>
                <a:ea typeface="+mn-ea"/>
                <a:cs typeface="+mn-cs"/>
              </a:rPr>
              <a:t> Additional methods for managing hallucination and bias will be added based on the multiple rounds of testing</a:t>
            </a:r>
          </a:p>
        </p:txBody>
      </p:sp>
      <p:sp>
        <p:nvSpPr>
          <p:cNvPr id="11" name="TextBox 10">
            <a:extLst>
              <a:ext uri="{FF2B5EF4-FFF2-40B4-BE49-F238E27FC236}">
                <a16:creationId xmlns:a16="http://schemas.microsoft.com/office/drawing/2014/main" id="{21F2D4DB-4416-E3A5-1F74-0FCEB47FD23C}"/>
              </a:ext>
            </a:extLst>
          </p:cNvPr>
          <p:cNvSpPr txBox="1"/>
          <p:nvPr/>
        </p:nvSpPr>
        <p:spPr>
          <a:xfrm>
            <a:off x="0" y="6518999"/>
            <a:ext cx="7188299" cy="30777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IBM Plex Sans Light"/>
                <a:ea typeface="Aptos" panose="020B0004020202020204" pitchFamily="34" charset="0"/>
                <a:cs typeface="Aptos" panose="020B0004020202020204" pitchFamily="34" charset="0"/>
              </a:rPr>
              <a:t>w</a:t>
            </a:r>
            <a:r>
              <a:rPr kumimoji="0" lang="en-US" sz="1400" b="0" i="0" u="none" strike="noStrike" kern="0" cap="none" spc="0" normalizeH="0" baseline="0" noProof="0" dirty="0" err="1">
                <a:ln>
                  <a:noFill/>
                </a:ln>
                <a:solidFill>
                  <a:srgbClr val="000000"/>
                </a:solidFill>
                <a:effectLst/>
                <a:uLnTx/>
                <a:uFillTx/>
                <a:latin typeface="IBM Plex Sans Light"/>
                <a:ea typeface="Aptos" panose="020B0004020202020204" pitchFamily="34" charset="0"/>
                <a:cs typeface="Aptos" panose="020B0004020202020204" pitchFamily="34" charset="0"/>
              </a:rPr>
              <a:t>atsonxOrchestrate</a:t>
            </a:r>
            <a:r>
              <a:rPr kumimoji="0" lang="en-US" sz="1400" b="0" i="0" u="none" strike="noStrike" kern="0" cap="none" spc="0" normalizeH="0" baseline="0" noProof="0" dirty="0">
                <a:ln>
                  <a:noFill/>
                </a:ln>
                <a:solidFill>
                  <a:srgbClr val="000000"/>
                </a:solidFill>
                <a:effectLst/>
                <a:uLnTx/>
                <a:uFillTx/>
                <a:latin typeface="IBM Plex Sans Light"/>
                <a:ea typeface="Aptos" panose="020B0004020202020204" pitchFamily="34" charset="0"/>
                <a:cs typeface="Aptos" panose="020B0004020202020204" pitchFamily="34" charset="0"/>
              </a:rPr>
              <a:t> platform ties the static and dynamic worlds seamlessly </a:t>
            </a:r>
          </a:p>
        </p:txBody>
      </p:sp>
    </p:spTree>
    <p:extLst>
      <p:ext uri="{BB962C8B-B14F-4D97-AF65-F5344CB8AC3E}">
        <p14:creationId xmlns:p14="http://schemas.microsoft.com/office/powerpoint/2010/main" val="61793295"/>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209BC9-DAC0-DF9B-12A4-DDBB4D335119}"/>
              </a:ext>
            </a:extLst>
          </p:cNvPr>
          <p:cNvSpPr>
            <a:spLocks noGrp="1"/>
          </p:cNvSpPr>
          <p:nvPr>
            <p:ph type="title"/>
          </p:nvPr>
        </p:nvSpPr>
        <p:spPr>
          <a:xfrm>
            <a:off x="285741" y="317524"/>
            <a:ext cx="9102035" cy="651911"/>
          </a:xfrm>
        </p:spPr>
        <p:txBody>
          <a:bodyPr lIns="0" tIns="0" rIns="0" bIns="0" anchor="t"/>
          <a:lstStyle/>
          <a:p>
            <a:r>
              <a:rPr lang="en-US" sz="3600" dirty="0"/>
              <a:t>LLM Functionality in AskHR AI Assistant </a:t>
            </a:r>
            <a:endParaRPr lang="en-US" dirty="0"/>
          </a:p>
        </p:txBody>
      </p:sp>
      <p:grpSp>
        <p:nvGrpSpPr>
          <p:cNvPr id="20" name="Group 19">
            <a:extLst>
              <a:ext uri="{FF2B5EF4-FFF2-40B4-BE49-F238E27FC236}">
                <a16:creationId xmlns:a16="http://schemas.microsoft.com/office/drawing/2014/main" id="{4D350DF9-CADA-755F-6A6D-99672A7467FD}"/>
              </a:ext>
            </a:extLst>
          </p:cNvPr>
          <p:cNvGrpSpPr/>
          <p:nvPr/>
        </p:nvGrpSpPr>
        <p:grpSpPr>
          <a:xfrm>
            <a:off x="124937" y="954578"/>
            <a:ext cx="7794542" cy="4952517"/>
            <a:chOff x="34530" y="1096645"/>
            <a:chExt cx="7917236" cy="5204364"/>
          </a:xfrm>
        </p:grpSpPr>
        <p:sp>
          <p:nvSpPr>
            <p:cNvPr id="13" name="Rectangle 5" descr="7/8 slide background in cyan 20 ">
              <a:extLst>
                <a:ext uri="{FF2B5EF4-FFF2-40B4-BE49-F238E27FC236}">
                  <a16:creationId xmlns:a16="http://schemas.microsoft.com/office/drawing/2014/main" id="{41DD6C51-D01A-E76E-0A1E-1D8C2462AA31}"/>
                </a:ext>
              </a:extLst>
            </p:cNvPr>
            <p:cNvSpPr/>
            <p:nvPr/>
          </p:nvSpPr>
          <p:spPr bwMode="auto">
            <a:xfrm>
              <a:off x="228575" y="2456164"/>
              <a:ext cx="7714396" cy="3792453"/>
            </a:xfrm>
            <a:prstGeom prst="rect">
              <a:avLst/>
            </a:prstGeom>
            <a:solidFill>
              <a:srgbClr val="E4F7FE">
                <a:alpha val="49825"/>
              </a:srgb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457109" rtl="0" eaLnBrk="1" fontAlgn="base" latinLnBrk="0" hangingPunct="1">
                <a:lnSpc>
                  <a:spcPct val="100000"/>
                </a:lnSpc>
                <a:spcBef>
                  <a:spcPct val="0"/>
                </a:spcBef>
                <a:spcAft>
                  <a:spcPct val="0"/>
                </a:spcAft>
                <a:buClrTx/>
                <a:buSzTx/>
                <a:buFont typeface="IBM Plex Sans Light"/>
                <a:buNone/>
                <a:tabLst/>
                <a:defRPr/>
              </a:pPr>
              <a:endParaRPr kumimoji="0" lang="en-RO" sz="7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4" name="TextBox 3">
              <a:extLst>
                <a:ext uri="{FF2B5EF4-FFF2-40B4-BE49-F238E27FC236}">
                  <a16:creationId xmlns:a16="http://schemas.microsoft.com/office/drawing/2014/main" id="{6771BD53-56AA-CF5B-428B-85847B0BB4A9}"/>
                </a:ext>
              </a:extLst>
            </p:cNvPr>
            <p:cNvSpPr txBox="1"/>
            <p:nvPr/>
          </p:nvSpPr>
          <p:spPr>
            <a:xfrm>
              <a:off x="771113" y="1096645"/>
              <a:ext cx="5410201" cy="646855"/>
            </a:xfrm>
            <a:prstGeom prst="rect">
              <a:avLst/>
            </a:prstGeom>
            <a:noFill/>
            <a:ln>
              <a:solidFill>
                <a:schemeClr val="accent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IBM Plex Sans Light"/>
                  <a:ea typeface="+mn-ea"/>
                  <a:cs typeface="+mn-cs"/>
                </a:rPr>
                <a:t>watsonx Orchestr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IBM Plex Sans Light"/>
                  <a:ea typeface="+mn-ea"/>
                  <a:cs typeface="+mn-cs"/>
                </a:rPr>
                <a:t>User inputs question</a:t>
              </a:r>
            </a:p>
          </p:txBody>
        </p:sp>
        <p:sp>
          <p:nvSpPr>
            <p:cNvPr id="5" name="TextBox 4">
              <a:extLst>
                <a:ext uri="{FF2B5EF4-FFF2-40B4-BE49-F238E27FC236}">
                  <a16:creationId xmlns:a16="http://schemas.microsoft.com/office/drawing/2014/main" id="{0FA74947-72F0-25E1-66FC-A418EA4371EB}"/>
                </a:ext>
              </a:extLst>
            </p:cNvPr>
            <p:cNvSpPr txBox="1"/>
            <p:nvPr/>
          </p:nvSpPr>
          <p:spPr>
            <a:xfrm>
              <a:off x="1039021" y="1924142"/>
              <a:ext cx="4713515" cy="369332"/>
            </a:xfrm>
            <a:prstGeom prst="rect">
              <a:avLst/>
            </a:prstGeom>
            <a:solidFill>
              <a:schemeClr val="accent2">
                <a:lumMod val="20000"/>
                <a:lumOff val="80000"/>
              </a:schemeClr>
            </a:solidFill>
            <a:ln>
              <a:solidFill>
                <a:schemeClr val="accent1">
                  <a:lumMod val="20000"/>
                  <a:lumOff val="80000"/>
                </a:schemeClr>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IBM Plex Sans Light"/>
                  <a:ea typeface="+mn-ea"/>
                  <a:cs typeface="+mn-cs"/>
                </a:rPr>
                <a:t>Archer LLM</a:t>
              </a:r>
            </a:p>
          </p:txBody>
        </p:sp>
        <p:sp>
          <p:nvSpPr>
            <p:cNvPr id="6" name="TextBox 5">
              <a:extLst>
                <a:ext uri="{FF2B5EF4-FFF2-40B4-BE49-F238E27FC236}">
                  <a16:creationId xmlns:a16="http://schemas.microsoft.com/office/drawing/2014/main" id="{CE124CA7-4234-E4A8-DB9E-910D5BCD9EE7}"/>
                </a:ext>
              </a:extLst>
            </p:cNvPr>
            <p:cNvSpPr txBox="1"/>
            <p:nvPr/>
          </p:nvSpPr>
          <p:spPr>
            <a:xfrm>
              <a:off x="6253595" y="1929793"/>
              <a:ext cx="169817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a:ea typeface="+mn-ea"/>
                  <a:cs typeface="+mn-cs"/>
                </a:rPr>
                <a:t>Decides where to direct question</a:t>
              </a:r>
            </a:p>
          </p:txBody>
        </p:sp>
        <p:cxnSp>
          <p:nvCxnSpPr>
            <p:cNvPr id="8" name="Straight Arrow Connector 7">
              <a:extLst>
                <a:ext uri="{FF2B5EF4-FFF2-40B4-BE49-F238E27FC236}">
                  <a16:creationId xmlns:a16="http://schemas.microsoft.com/office/drawing/2014/main" id="{78C19CCE-9BD0-C427-68E3-E9325417F7D9}"/>
                </a:ext>
              </a:extLst>
            </p:cNvPr>
            <p:cNvCxnSpPr>
              <a:cxnSpLocks/>
            </p:cNvCxnSpPr>
            <p:nvPr/>
          </p:nvCxnSpPr>
          <p:spPr>
            <a:xfrm flipH="1">
              <a:off x="5762431" y="2093272"/>
              <a:ext cx="491164" cy="160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44CF28AA-E8A7-EB73-EFA4-2A79A801DF6A}"/>
                </a:ext>
              </a:extLst>
            </p:cNvPr>
            <p:cNvCxnSpPr>
              <a:cxnSpLocks/>
            </p:cNvCxnSpPr>
            <p:nvPr/>
          </p:nvCxnSpPr>
          <p:spPr>
            <a:xfrm>
              <a:off x="3437973" y="3688511"/>
              <a:ext cx="0" cy="56075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9A677DB-D605-AD52-64A2-79EB9A086099}"/>
                </a:ext>
              </a:extLst>
            </p:cNvPr>
            <p:cNvSpPr txBox="1"/>
            <p:nvPr/>
          </p:nvSpPr>
          <p:spPr>
            <a:xfrm>
              <a:off x="57277" y="2898134"/>
              <a:ext cx="682534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IBM Plex Sans Light"/>
                  <a:ea typeface="+mn-ea"/>
                  <a:cs typeface="+mn-cs"/>
                </a:rPr>
                <a:t>Does question require an automation to be triggered?</a:t>
              </a:r>
            </a:p>
          </p:txBody>
        </p:sp>
        <p:cxnSp>
          <p:nvCxnSpPr>
            <p:cNvPr id="16" name="Straight Arrow Connector 15">
              <a:extLst>
                <a:ext uri="{FF2B5EF4-FFF2-40B4-BE49-F238E27FC236}">
                  <a16:creationId xmlns:a16="http://schemas.microsoft.com/office/drawing/2014/main" id="{DDE4C7B3-F3E5-521C-9DEC-230638CCD28E}"/>
                </a:ext>
              </a:extLst>
            </p:cNvPr>
            <p:cNvCxnSpPr>
              <a:cxnSpLocks/>
            </p:cNvCxnSpPr>
            <p:nvPr/>
          </p:nvCxnSpPr>
          <p:spPr>
            <a:xfrm>
              <a:off x="3466548" y="3676910"/>
              <a:ext cx="1421947" cy="1028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F875880F-334E-66CA-37D2-A216FBA95023}"/>
                </a:ext>
              </a:extLst>
            </p:cNvPr>
            <p:cNvSpPr txBox="1"/>
            <p:nvPr/>
          </p:nvSpPr>
          <p:spPr>
            <a:xfrm>
              <a:off x="3854354" y="3337756"/>
              <a:ext cx="51020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IBM Plex Sans Light"/>
                  <a:ea typeface="+mn-ea"/>
                  <a:cs typeface="+mn-cs"/>
                </a:rPr>
                <a:t>Yes</a:t>
              </a:r>
            </a:p>
          </p:txBody>
        </p:sp>
        <p:sp>
          <p:nvSpPr>
            <p:cNvPr id="22" name="TextBox 21">
              <a:extLst>
                <a:ext uri="{FF2B5EF4-FFF2-40B4-BE49-F238E27FC236}">
                  <a16:creationId xmlns:a16="http://schemas.microsoft.com/office/drawing/2014/main" id="{8EBBA3E7-7200-30BA-D551-D838C31481C1}"/>
                </a:ext>
              </a:extLst>
            </p:cNvPr>
            <p:cNvSpPr txBox="1"/>
            <p:nvPr/>
          </p:nvSpPr>
          <p:spPr>
            <a:xfrm>
              <a:off x="4975583" y="3282122"/>
              <a:ext cx="2797628" cy="646331"/>
            </a:xfrm>
            <a:prstGeom prst="rect">
              <a:avLst/>
            </a:prstGeom>
            <a:noFill/>
            <a:ln>
              <a:solidFill>
                <a:schemeClr val="accent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IBM Plex Sans Light"/>
                  <a:ea typeface="+mn-ea"/>
                  <a:cs typeface="+mn-cs"/>
                </a:rPr>
                <a:t>Automation e.g. Transfer Employee</a:t>
              </a:r>
            </a:p>
          </p:txBody>
        </p:sp>
        <p:sp>
          <p:nvSpPr>
            <p:cNvPr id="23" name="TextBox 22">
              <a:extLst>
                <a:ext uri="{FF2B5EF4-FFF2-40B4-BE49-F238E27FC236}">
                  <a16:creationId xmlns:a16="http://schemas.microsoft.com/office/drawing/2014/main" id="{F037A7E8-EF10-0903-7944-1D36F226D22A}"/>
                </a:ext>
              </a:extLst>
            </p:cNvPr>
            <p:cNvSpPr txBox="1"/>
            <p:nvPr/>
          </p:nvSpPr>
          <p:spPr>
            <a:xfrm>
              <a:off x="4975582" y="3922199"/>
              <a:ext cx="2804493" cy="646331"/>
            </a:xfrm>
            <a:prstGeom prst="rect">
              <a:avLst/>
            </a:prstGeom>
            <a:noFill/>
            <a:ln>
              <a:solidFill>
                <a:schemeClr val="accent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IBM Plex Sans Light"/>
                  <a:ea typeface="+mn-ea"/>
                  <a:cs typeface="+mn-cs"/>
                </a:rPr>
                <a:t>Digital Labor Solutions e.g. </a:t>
              </a:r>
              <a:r>
                <a:rPr kumimoji="0" lang="en-US" sz="1800" b="0" i="0" u="none" strike="noStrike" kern="1200" cap="none" spc="0" normalizeH="0" baseline="0" noProof="0" dirty="0" err="1">
                  <a:ln>
                    <a:noFill/>
                  </a:ln>
                  <a:solidFill>
                    <a:srgbClr val="000000"/>
                  </a:solidFill>
                  <a:effectLst/>
                  <a:uLnTx/>
                  <a:uFillTx/>
                  <a:latin typeface="IBM Plex Sans Light"/>
                  <a:ea typeface="+mn-ea"/>
                  <a:cs typeface="+mn-cs"/>
                </a:rPr>
                <a:t>HiRo</a:t>
              </a:r>
              <a:endParaRPr kumimoji="0" lang="en-US" sz="18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28" name="TextBox 27">
              <a:extLst>
                <a:ext uri="{FF2B5EF4-FFF2-40B4-BE49-F238E27FC236}">
                  <a16:creationId xmlns:a16="http://schemas.microsoft.com/office/drawing/2014/main" id="{2666CBB9-AB9A-19B0-6A98-2032F58D5439}"/>
                </a:ext>
              </a:extLst>
            </p:cNvPr>
            <p:cNvSpPr txBox="1"/>
            <p:nvPr/>
          </p:nvSpPr>
          <p:spPr>
            <a:xfrm>
              <a:off x="3537167" y="3805844"/>
              <a:ext cx="51020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IBM Plex Sans Light"/>
                  <a:ea typeface="+mn-ea"/>
                  <a:cs typeface="+mn-cs"/>
                </a:rPr>
                <a:t>No</a:t>
              </a:r>
            </a:p>
          </p:txBody>
        </p:sp>
        <p:sp>
          <p:nvSpPr>
            <p:cNvPr id="30" name="TextBox 29">
              <a:extLst>
                <a:ext uri="{FF2B5EF4-FFF2-40B4-BE49-F238E27FC236}">
                  <a16:creationId xmlns:a16="http://schemas.microsoft.com/office/drawing/2014/main" id="{30A2B3C4-EE87-A0E8-B387-8BF59B398C3A}"/>
                </a:ext>
              </a:extLst>
            </p:cNvPr>
            <p:cNvSpPr txBox="1"/>
            <p:nvPr/>
          </p:nvSpPr>
          <p:spPr>
            <a:xfrm>
              <a:off x="34530" y="4292753"/>
              <a:ext cx="6825343" cy="33855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IBM Plex Sans Light"/>
                  <a:ea typeface="+mn-ea"/>
                  <a:cs typeface="+mn-cs"/>
                </a:rPr>
                <a:t>Does it require a *static response?</a:t>
              </a:r>
            </a:p>
          </p:txBody>
        </p:sp>
        <p:cxnSp>
          <p:nvCxnSpPr>
            <p:cNvPr id="38" name="Straight Arrow Connector 37">
              <a:extLst>
                <a:ext uri="{FF2B5EF4-FFF2-40B4-BE49-F238E27FC236}">
                  <a16:creationId xmlns:a16="http://schemas.microsoft.com/office/drawing/2014/main" id="{6AFFA2D0-7981-A551-270E-01CED091F477}"/>
                </a:ext>
              </a:extLst>
            </p:cNvPr>
            <p:cNvCxnSpPr>
              <a:cxnSpLocks/>
            </p:cNvCxnSpPr>
            <p:nvPr/>
          </p:nvCxnSpPr>
          <p:spPr>
            <a:xfrm>
              <a:off x="3444228" y="4948878"/>
              <a:ext cx="0" cy="5202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9" name="Straight Arrow Connector 38">
              <a:extLst>
                <a:ext uri="{FF2B5EF4-FFF2-40B4-BE49-F238E27FC236}">
                  <a16:creationId xmlns:a16="http://schemas.microsoft.com/office/drawing/2014/main" id="{26EB3F9A-1557-826E-2401-184FED7126B2}"/>
                </a:ext>
              </a:extLst>
            </p:cNvPr>
            <p:cNvCxnSpPr>
              <a:cxnSpLocks/>
            </p:cNvCxnSpPr>
            <p:nvPr/>
          </p:nvCxnSpPr>
          <p:spPr>
            <a:xfrm>
              <a:off x="3477436" y="4925901"/>
              <a:ext cx="1421947" cy="1028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0" name="TextBox 39">
              <a:extLst>
                <a:ext uri="{FF2B5EF4-FFF2-40B4-BE49-F238E27FC236}">
                  <a16:creationId xmlns:a16="http://schemas.microsoft.com/office/drawing/2014/main" id="{3170C7DF-7B32-D181-F470-272D6B19354F}"/>
                </a:ext>
              </a:extLst>
            </p:cNvPr>
            <p:cNvSpPr txBox="1"/>
            <p:nvPr/>
          </p:nvSpPr>
          <p:spPr>
            <a:xfrm>
              <a:off x="3865242" y="4572370"/>
              <a:ext cx="51020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IBM Plex Sans Light"/>
                  <a:ea typeface="+mn-ea"/>
                  <a:cs typeface="+mn-cs"/>
                </a:rPr>
                <a:t>Yes</a:t>
              </a:r>
            </a:p>
          </p:txBody>
        </p:sp>
        <p:sp>
          <p:nvSpPr>
            <p:cNvPr id="41" name="TextBox 40">
              <a:extLst>
                <a:ext uri="{FF2B5EF4-FFF2-40B4-BE49-F238E27FC236}">
                  <a16:creationId xmlns:a16="http://schemas.microsoft.com/office/drawing/2014/main" id="{0F3B0ABD-2DB1-8606-D9A6-59F917DFD010}"/>
                </a:ext>
              </a:extLst>
            </p:cNvPr>
            <p:cNvSpPr txBox="1"/>
            <p:nvPr/>
          </p:nvSpPr>
          <p:spPr>
            <a:xfrm>
              <a:off x="4972742" y="4737004"/>
              <a:ext cx="2804493" cy="369332"/>
            </a:xfrm>
            <a:prstGeom prst="rect">
              <a:avLst/>
            </a:prstGeom>
            <a:noFill/>
            <a:ln>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IBM Plex Sans Light"/>
                  <a:ea typeface="+mn-ea"/>
                  <a:cs typeface="+mn-cs"/>
                </a:rPr>
                <a:t>Provides static response</a:t>
              </a:r>
            </a:p>
          </p:txBody>
        </p:sp>
        <p:sp>
          <p:nvSpPr>
            <p:cNvPr id="43" name="TextBox 42">
              <a:extLst>
                <a:ext uri="{FF2B5EF4-FFF2-40B4-BE49-F238E27FC236}">
                  <a16:creationId xmlns:a16="http://schemas.microsoft.com/office/drawing/2014/main" id="{76553BAF-1785-EC54-1444-6E718380CC10}"/>
                </a:ext>
              </a:extLst>
            </p:cNvPr>
            <p:cNvSpPr txBox="1"/>
            <p:nvPr/>
          </p:nvSpPr>
          <p:spPr>
            <a:xfrm>
              <a:off x="3534917" y="4994475"/>
              <a:ext cx="51020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IBM Plex Sans Light"/>
                  <a:ea typeface="+mn-ea"/>
                  <a:cs typeface="+mn-cs"/>
                </a:rPr>
                <a:t>No</a:t>
              </a:r>
            </a:p>
          </p:txBody>
        </p:sp>
        <p:sp>
          <p:nvSpPr>
            <p:cNvPr id="44" name="TextBox 43">
              <a:extLst>
                <a:ext uri="{FF2B5EF4-FFF2-40B4-BE49-F238E27FC236}">
                  <a16:creationId xmlns:a16="http://schemas.microsoft.com/office/drawing/2014/main" id="{E1011C2D-854A-E007-F9EC-DAB096DCA50E}"/>
                </a:ext>
              </a:extLst>
            </p:cNvPr>
            <p:cNvSpPr txBox="1"/>
            <p:nvPr/>
          </p:nvSpPr>
          <p:spPr>
            <a:xfrm>
              <a:off x="1165579" y="5801303"/>
              <a:ext cx="4713515" cy="369332"/>
            </a:xfrm>
            <a:prstGeom prst="rect">
              <a:avLst/>
            </a:prstGeom>
            <a:solidFill>
              <a:schemeClr val="accent2">
                <a:lumMod val="20000"/>
                <a:lumOff val="80000"/>
              </a:schemeClr>
            </a:solidFill>
            <a:ln>
              <a:solidFill>
                <a:schemeClr val="accent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IBM Plex Sans Light"/>
                  <a:ea typeface="+mn-ea"/>
                  <a:cs typeface="+mn-cs"/>
                </a:rPr>
                <a:t>LLM-generated response</a:t>
              </a:r>
            </a:p>
          </p:txBody>
        </p:sp>
        <p:sp>
          <p:nvSpPr>
            <p:cNvPr id="7" name="TextBox 6">
              <a:extLst>
                <a:ext uri="{FF2B5EF4-FFF2-40B4-BE49-F238E27FC236}">
                  <a16:creationId xmlns:a16="http://schemas.microsoft.com/office/drawing/2014/main" id="{4C2CBBCE-5FB9-873F-8B7F-82333D99BE51}"/>
                </a:ext>
              </a:extLst>
            </p:cNvPr>
            <p:cNvSpPr txBox="1"/>
            <p:nvPr/>
          </p:nvSpPr>
          <p:spPr>
            <a:xfrm rot="16200000">
              <a:off x="-1413486" y="4049765"/>
              <a:ext cx="3924579" cy="5779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IBM Plex Sans Light"/>
                  <a:ea typeface="+mn-ea"/>
                  <a:cs typeface="+mn-cs"/>
                </a:rPr>
                <a:t>Domain-Specific AI Assista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IBM Plex Sans Light"/>
                  <a:ea typeface="+mn-ea"/>
                  <a:cs typeface="+mn-cs"/>
                </a:rPr>
                <a:t>Triggered through description-based routing on a question</a:t>
              </a:r>
            </a:p>
          </p:txBody>
        </p:sp>
        <p:cxnSp>
          <p:nvCxnSpPr>
            <p:cNvPr id="9" name="Straight Arrow Connector 8">
              <a:extLst>
                <a:ext uri="{FF2B5EF4-FFF2-40B4-BE49-F238E27FC236}">
                  <a16:creationId xmlns:a16="http://schemas.microsoft.com/office/drawing/2014/main" id="{12659A18-5798-14F8-9233-FC74554ACA49}"/>
                </a:ext>
              </a:extLst>
            </p:cNvPr>
            <p:cNvCxnSpPr>
              <a:cxnSpLocks/>
            </p:cNvCxnSpPr>
            <p:nvPr/>
          </p:nvCxnSpPr>
          <p:spPr>
            <a:xfrm flipH="1">
              <a:off x="3430458" y="2551606"/>
              <a:ext cx="472" cy="3449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sp>
        <p:nvSpPr>
          <p:cNvPr id="12" name="TextBox 11">
            <a:extLst>
              <a:ext uri="{FF2B5EF4-FFF2-40B4-BE49-F238E27FC236}">
                <a16:creationId xmlns:a16="http://schemas.microsoft.com/office/drawing/2014/main" id="{0680796F-3DC4-5A96-DA95-057258F41B72}"/>
              </a:ext>
            </a:extLst>
          </p:cNvPr>
          <p:cNvSpPr txBox="1"/>
          <p:nvPr/>
        </p:nvSpPr>
        <p:spPr>
          <a:xfrm>
            <a:off x="8251264" y="1970378"/>
            <a:ext cx="3604437" cy="427809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91440" tIns="45720" rIns="91440" bIns="45720" anchor="t">
            <a:spAutoFit/>
          </a:bodyPr>
          <a:lstStyle/>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IBM Plex Sans Light"/>
                <a:ea typeface="+mn-ea"/>
                <a:cs typeface="+mn-cs"/>
              </a:rPr>
              <a:t>LLM information is grounded in IBM data​</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IBM Plex Sans Light"/>
                <a:ea typeface="+mn-ea"/>
                <a:cs typeface="+mn-cs"/>
              </a:rPr>
              <a:t>When necessary, we will limit metadata by variables​</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IBM Plex Sans Light"/>
                <a:ea typeface="+mn-ea"/>
                <a:cs typeface="+mn-cs"/>
              </a:rPr>
              <a:t>Only role-appropriate  information provided/actions taken to ensure relevance and privacy​</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IBM Plex Sans Light"/>
                <a:ea typeface="+mn-ea"/>
                <a:cs typeface="+mn-cs"/>
              </a:rPr>
              <a:t>Information tagged with metadata e.g. role, location, to enable this and matched with employee profile​</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IBM Plex Sans Light"/>
                <a:ea typeface="+mn-ea"/>
                <a:cs typeface="+mn-cs"/>
              </a:rPr>
              <a:t>The user doesn’t need to know which automation, digital labor solutions or LLM is needed to answer the questions leading to a seamless interaction​</a:t>
            </a: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3" name="TextBox 2">
            <a:extLst>
              <a:ext uri="{FF2B5EF4-FFF2-40B4-BE49-F238E27FC236}">
                <a16:creationId xmlns:a16="http://schemas.microsoft.com/office/drawing/2014/main" id="{8802AB9C-D2C0-16AF-F903-431CE50C5579}"/>
              </a:ext>
            </a:extLst>
          </p:cNvPr>
          <p:cNvSpPr txBox="1"/>
          <p:nvPr/>
        </p:nvSpPr>
        <p:spPr>
          <a:xfrm>
            <a:off x="123774" y="5928453"/>
            <a:ext cx="7655991" cy="46166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Light"/>
                <a:ea typeface="+mn-ea"/>
                <a:cs typeface="+mn-cs"/>
              </a:rPr>
              <a:t>*Static response refers to a pre-programmed, non-LLM generated answer. These are used for a questions in which there is only one correct answer.</a:t>
            </a:r>
          </a:p>
        </p:txBody>
      </p:sp>
    </p:spTree>
    <p:extLst>
      <p:ext uri="{BB962C8B-B14F-4D97-AF65-F5344CB8AC3E}">
        <p14:creationId xmlns:p14="http://schemas.microsoft.com/office/powerpoint/2010/main" val="42133149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descr="Vertical 3/4 slide background in blue 10">
            <a:extLst>
              <a:ext uri="{FF2B5EF4-FFF2-40B4-BE49-F238E27FC236}">
                <a16:creationId xmlns:a16="http://schemas.microsoft.com/office/drawing/2014/main" id="{979D7D03-F029-F4F9-0C87-49175BA2BECB}"/>
              </a:ext>
            </a:extLst>
          </p:cNvPr>
          <p:cNvSpPr/>
          <p:nvPr/>
        </p:nvSpPr>
        <p:spPr bwMode="auto">
          <a:xfrm flipH="1">
            <a:off x="6096000" y="447"/>
            <a:ext cx="6095999" cy="6857107"/>
          </a:xfrm>
          <a:prstGeom prst="rect">
            <a:avLst/>
          </a:prstGeom>
          <a:solidFill>
            <a:srgbClr val="F3FAFF"/>
          </a:solidFill>
          <a:ln w="19050">
            <a:solidFill>
              <a:srgbClr val="F3FA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457109" rtl="0" eaLnBrk="1" fontAlgn="base" latinLnBrk="0" hangingPunct="1">
              <a:lnSpc>
                <a:spcPct val="100000"/>
              </a:lnSpc>
              <a:spcBef>
                <a:spcPct val="0"/>
              </a:spcBef>
              <a:spcAft>
                <a:spcPct val="0"/>
              </a:spcAft>
              <a:buClrTx/>
              <a:buSzTx/>
              <a:buFont typeface="IBM Plex Sans Light"/>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5" name="Text Placeholder 4">
            <a:extLst>
              <a:ext uri="{FF2B5EF4-FFF2-40B4-BE49-F238E27FC236}">
                <a16:creationId xmlns:a16="http://schemas.microsoft.com/office/drawing/2014/main" id="{31B24C88-7AC7-9ABA-4E16-8D9EAE986CDB}"/>
              </a:ext>
            </a:extLst>
          </p:cNvPr>
          <p:cNvSpPr txBox="1">
            <a:spLocks/>
          </p:cNvSpPr>
          <p:nvPr/>
        </p:nvSpPr>
        <p:spPr>
          <a:xfrm>
            <a:off x="267459" y="1238535"/>
            <a:ext cx="2475384" cy="47650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507" rtl="0" eaLnBrk="1" fontAlgn="auto" latinLnBrk="0" hangingPunct="1">
              <a:lnSpc>
                <a:spcPct val="12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a:rPr>
              <a:t>The ethics process will ensure that AskHR AI Assistant meets IBM’s standards, reflects its values and provides safeguards for all employees. </a:t>
            </a:r>
          </a:p>
          <a:p>
            <a:pPr marL="0" marR="0" lvl="0" indent="0" algn="l" defTabSz="914507" rtl="0" eaLnBrk="1" fontAlgn="auto" latinLnBrk="0" hangingPunct="1">
              <a:lnSpc>
                <a:spcPct val="100000"/>
              </a:lnSpc>
              <a:spcBef>
                <a:spcPts val="0"/>
              </a:spcBef>
              <a:spcAft>
                <a:spcPts val="0"/>
              </a:spcAft>
              <a:buClrTx/>
              <a:buSzTx/>
              <a:buFontTx/>
              <a:buNone/>
              <a:tabLst/>
              <a:defRPr/>
            </a:pPr>
            <a:br>
              <a:rPr kumimoji="0" lang="en-US" sz="1400" b="0" i="0" u="none" strike="noStrike" kern="0" cap="none" spc="0" normalizeH="0" baseline="0" noProof="0" dirty="0">
                <a:ln>
                  <a:noFill/>
                </a:ln>
                <a:solidFill>
                  <a:srgbClr val="000000"/>
                </a:solidFill>
                <a:effectLst/>
                <a:uLnTx/>
                <a:uFillTx/>
                <a:latin typeface="IBM Plex Sans Light"/>
                <a:ea typeface="+mn-ea"/>
                <a:cs typeface="+mn-cs"/>
              </a:rPr>
            </a:br>
            <a:endParaRPr kumimoji="0" lang="en-US" sz="1400" b="0" i="0" u="none" strike="noStrike" kern="0" cap="none" spc="0" normalizeH="0" baseline="0" noProof="0" dirty="0">
              <a:ln>
                <a:noFill/>
              </a:ln>
              <a:solidFill>
                <a:srgbClr val="000000"/>
              </a:solidFill>
              <a:effectLst/>
              <a:uLnTx/>
              <a:uFillTx/>
              <a:latin typeface="IBM Plex Sans Light"/>
              <a:ea typeface="+mn-ea"/>
              <a:cs typeface="+mn-cs"/>
            </a:endParaRPr>
          </a:p>
          <a:p>
            <a:pPr marL="0" marR="0" lvl="0" indent="0" algn="l" defTabSz="914507" rtl="0" eaLnBrk="1" fontAlgn="auto" latinLnBrk="0" hangingPunct="1">
              <a:lnSpc>
                <a:spcPct val="12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panose="02020603050405020304" pitchFamily="18" charset="0"/>
              </a:rPr>
              <a:t>The robust process consists of:</a:t>
            </a:r>
          </a:p>
          <a:p>
            <a:pPr marL="228554" marR="0" lvl="0" indent="-228554" algn="l" defTabSz="914507" rtl="0" eaLnBrk="1" fontAlgn="auto" latinLnBrk="0" hangingPunct="1">
              <a:lnSpc>
                <a:spcPct val="120000"/>
              </a:lnSpc>
              <a:spcBef>
                <a:spcPts val="0"/>
              </a:spcBef>
              <a:spcAft>
                <a:spcPts val="0"/>
              </a:spcAft>
              <a:buClrTx/>
              <a:buSzTx/>
              <a:buFont typeface="Fonte do Sistema Regular"/>
              <a:buChar char="⎯"/>
              <a:tabLst/>
              <a:defRPr/>
            </a:pPr>
            <a:r>
              <a:rPr kumimoji="0" lang="en-GB" sz="1400" b="0"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panose="02020603050405020304" pitchFamily="18" charset="0"/>
              </a:rPr>
              <a:t>Functionality testing and assessment</a:t>
            </a:r>
          </a:p>
          <a:p>
            <a:pPr marL="228554" marR="0" lvl="0" indent="-228554" algn="l" defTabSz="914507" rtl="0" eaLnBrk="1" fontAlgn="auto" latinLnBrk="0" hangingPunct="1">
              <a:lnSpc>
                <a:spcPct val="120000"/>
              </a:lnSpc>
              <a:spcBef>
                <a:spcPts val="0"/>
              </a:spcBef>
              <a:spcAft>
                <a:spcPts val="0"/>
              </a:spcAft>
              <a:buClrTx/>
              <a:buSzTx/>
              <a:buFont typeface="Fonte do Sistema Regular"/>
              <a:buChar char="⎯"/>
              <a:tabLst/>
              <a:defRPr/>
            </a:pPr>
            <a:r>
              <a:rPr kumimoji="0" lang="en-GB" sz="1400" b="0"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panose="02020603050405020304" pitchFamily="18" charset="0"/>
              </a:rPr>
              <a:t>Legal and ethics review</a:t>
            </a:r>
          </a:p>
          <a:p>
            <a:pPr marL="228554" marR="0" lvl="0" indent="-228554" algn="l" defTabSz="914507" rtl="0" eaLnBrk="1" fontAlgn="auto" latinLnBrk="0" hangingPunct="1">
              <a:lnSpc>
                <a:spcPct val="120000"/>
              </a:lnSpc>
              <a:spcBef>
                <a:spcPts val="0"/>
              </a:spcBef>
              <a:spcAft>
                <a:spcPts val="0"/>
              </a:spcAft>
              <a:buClrTx/>
              <a:buSzTx/>
              <a:buFont typeface="Fonte do Sistema Regular"/>
              <a:buChar char="⎯"/>
              <a:tabLst/>
              <a:defRPr/>
            </a:pPr>
            <a:r>
              <a:rPr kumimoji="0" lang="en-GB" sz="1400" b="0"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panose="02020603050405020304" pitchFamily="18" charset="0"/>
              </a:rPr>
              <a:t>Implementation of secure guardrails</a:t>
            </a:r>
          </a:p>
        </p:txBody>
      </p:sp>
      <p:sp>
        <p:nvSpPr>
          <p:cNvPr id="26" name="Text Placeholder 5">
            <a:extLst>
              <a:ext uri="{FF2B5EF4-FFF2-40B4-BE49-F238E27FC236}">
                <a16:creationId xmlns:a16="http://schemas.microsoft.com/office/drawing/2014/main" id="{3FE5D204-D36A-7C7E-C3B8-267B4CA591AD}"/>
              </a:ext>
            </a:extLst>
          </p:cNvPr>
          <p:cNvSpPr txBox="1">
            <a:spLocks/>
          </p:cNvSpPr>
          <p:nvPr/>
        </p:nvSpPr>
        <p:spPr>
          <a:xfrm>
            <a:off x="6407401" y="2095674"/>
            <a:ext cx="2476178" cy="47618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Secure Content:</a:t>
            </a:r>
            <a:br>
              <a:rPr kumimoji="0" lang="en-US" sz="1400" b="1"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br>
            <a:r>
              <a:rPr kumimoji="0" lang="en-GB" sz="1400" b="0"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panose="02020603050405020304" pitchFamily="18" charset="0"/>
              </a:rPr>
              <a:t>AskHR AI Assistant </a:t>
            </a:r>
            <a:r>
              <a:rPr kumimoji="0" lang="en-US" sz="14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will only use approved IBM internal data from w3 pages, IBM policies and other internal information. There are no external data sources.</a:t>
            </a:r>
            <a:br>
              <a:rPr kumimoji="0" lang="en-US" sz="14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br>
            <a:endParaRPr kumimoji="0" lang="en-US" sz="14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endParaRPr>
          </a:p>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Accuracy and Reliability: </a:t>
            </a:r>
            <a:br>
              <a:rPr kumimoji="0" lang="en-US" sz="1400" b="1"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Continuous monitoring of correctness and accuracy of answers </a:t>
            </a:r>
            <a:br>
              <a:rPr kumimoji="0" lang="en-US" sz="14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br>
            <a:endParaRPr kumimoji="0" lang="en-US" sz="14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endParaRPr>
          </a:p>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Privacy and Access: </a:t>
            </a:r>
            <a:r>
              <a:rPr kumimoji="0" lang="en-US" sz="14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Interaction with </a:t>
            </a:r>
            <a:r>
              <a:rPr kumimoji="0" lang="en-GB" sz="1400" b="0"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panose="02020603050405020304" pitchFamily="18" charset="0"/>
              </a:rPr>
              <a:t>AskHR AI Assistant </a:t>
            </a:r>
            <a:r>
              <a:rPr kumimoji="0" lang="en-US" sz="14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is validated via SSO and based on your personal access permissions. </a:t>
            </a:r>
            <a:endParaRPr kumimoji="0" lang="en-US" sz="800" b="0" i="0" u="none" strike="noStrike" kern="1200" cap="none" spc="0" normalizeH="0" baseline="0" noProof="0" dirty="0">
              <a:ln>
                <a:noFill/>
              </a:ln>
              <a:solidFill>
                <a:srgbClr val="000000"/>
              </a:solidFill>
              <a:effectLst/>
              <a:uLnTx/>
              <a:uFillTx/>
              <a:latin typeface="IBM Plex Sans Light"/>
              <a:ea typeface="+mn-ea"/>
              <a:cs typeface="+mn-cs"/>
            </a:endParaRPr>
          </a:p>
          <a:p>
            <a:pPr marL="0" marR="0" lvl="0" indent="0" algn="l" defTabSz="91450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IBM Plex Sans Light"/>
              <a:ea typeface="+mn-ea"/>
              <a:cs typeface="+mn-cs"/>
            </a:endParaRPr>
          </a:p>
        </p:txBody>
      </p:sp>
      <p:cxnSp>
        <p:nvCxnSpPr>
          <p:cNvPr id="15" name="Straight Connector 14" descr="Vertical column divider line">
            <a:extLst>
              <a:ext uri="{FF2B5EF4-FFF2-40B4-BE49-F238E27FC236}">
                <a16:creationId xmlns:a16="http://schemas.microsoft.com/office/drawing/2014/main" id="{816FB175-60BA-3D69-D46D-6F9F4961DCF6}"/>
              </a:ext>
            </a:extLst>
          </p:cNvPr>
          <p:cNvCxnSpPr/>
          <p:nvPr/>
        </p:nvCxnSpPr>
        <p:spPr bwMode="auto">
          <a:xfrm>
            <a:off x="9151036" y="283874"/>
            <a:ext cx="0" cy="571504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 name="Text Placeholder 6">
            <a:extLst>
              <a:ext uri="{FF2B5EF4-FFF2-40B4-BE49-F238E27FC236}">
                <a16:creationId xmlns:a16="http://schemas.microsoft.com/office/drawing/2014/main" id="{93865FCB-0398-4DF6-CE50-F4FE96522FF5}"/>
              </a:ext>
            </a:extLst>
          </p:cNvPr>
          <p:cNvSpPr txBox="1">
            <a:spLocks/>
          </p:cNvSpPr>
          <p:nvPr/>
        </p:nvSpPr>
        <p:spPr>
          <a:xfrm>
            <a:off x="9448364" y="2095674"/>
            <a:ext cx="2476178" cy="47618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IBM Plex Sans Light" panose="020B0403050203000203" pitchFamily="34" charset="0"/>
                <a:ea typeface="Aptos" panose="020B0004020202020204" pitchFamily="34" charset="0"/>
                <a:cs typeface="Times New Roman" panose="02020603050405020304" pitchFamily="18" charset="0"/>
              </a:rPr>
              <a:t>Starting from </a:t>
            </a:r>
            <a:r>
              <a:rPr kumimoji="0" lang="en-GB" sz="1400" b="1" i="0" u="none" strike="noStrike" kern="1200" cap="none" spc="0" normalizeH="0" baseline="0" noProof="0" dirty="0">
                <a:ln>
                  <a:noFill/>
                </a:ln>
                <a:solidFill>
                  <a:srgbClr val="000000"/>
                </a:solidFill>
                <a:effectLst/>
                <a:uLnTx/>
                <a:uFillTx/>
                <a:latin typeface="IBM Plex Sans Light" panose="020B0403050203000203" pitchFamily="34" charset="0"/>
                <a:ea typeface="Aptos" panose="020B0004020202020204" pitchFamily="34" charset="0"/>
                <a:cs typeface="Times New Roman" panose="02020603050405020304" pitchFamily="18" charset="0"/>
              </a:rPr>
              <a:t>23</a:t>
            </a:r>
            <a:r>
              <a:rPr kumimoji="0" lang="en-GB" sz="1400" b="1" i="0" u="none" strike="noStrike" kern="1200" cap="none" spc="0" normalizeH="0" baseline="30000" noProof="0" dirty="0">
                <a:ln>
                  <a:noFill/>
                </a:ln>
                <a:solidFill>
                  <a:srgbClr val="000000"/>
                </a:solidFill>
                <a:effectLst/>
                <a:uLnTx/>
                <a:uFillTx/>
                <a:latin typeface="IBM Plex Sans Light" panose="020B0403050203000203" pitchFamily="34" charset="0"/>
                <a:ea typeface="Aptos" panose="020B0004020202020204" pitchFamily="34" charset="0"/>
                <a:cs typeface="Times New Roman" panose="02020603050405020304" pitchFamily="18" charset="0"/>
              </a:rPr>
              <a:t>rd</a:t>
            </a:r>
            <a:r>
              <a:rPr kumimoji="0" lang="en-GB" sz="1400" b="1" i="0" u="none" strike="noStrike" kern="1200" cap="none" spc="0" normalizeH="0" baseline="0" noProof="0" dirty="0">
                <a:ln>
                  <a:noFill/>
                </a:ln>
                <a:solidFill>
                  <a:srgbClr val="000000"/>
                </a:solidFill>
                <a:effectLst/>
                <a:uLnTx/>
                <a:uFillTx/>
                <a:latin typeface="IBM Plex Sans Light" panose="020B0403050203000203" pitchFamily="34" charset="0"/>
                <a:ea typeface="Aptos" panose="020B0004020202020204" pitchFamily="34" charset="0"/>
                <a:cs typeface="Times New Roman" panose="02020603050405020304" pitchFamily="18" charset="0"/>
              </a:rPr>
              <a:t> Sept </a:t>
            </a:r>
            <a:r>
              <a:rPr kumimoji="0" lang="en-GB" sz="1400" b="0" i="0" u="none" strike="noStrike" kern="1200" cap="none" spc="0" normalizeH="0" baseline="0" noProof="0" dirty="0">
                <a:ln>
                  <a:noFill/>
                </a:ln>
                <a:solidFill>
                  <a:srgbClr val="000000"/>
                </a:solidFill>
                <a:effectLst/>
                <a:uLnTx/>
                <a:uFillTx/>
                <a:latin typeface="IBM Plex Sans Light" panose="020B0403050203000203" pitchFamily="34" charset="0"/>
                <a:ea typeface="Aptos" panose="020B0004020202020204" pitchFamily="34" charset="0"/>
                <a:cs typeface="Times New Roman" panose="02020603050405020304" pitchFamily="18" charset="0"/>
              </a:rPr>
              <a:t>we will be holding some learning sessions for HR about AI ethics, HR employees’ responsibilities and how to engage us in the ethics process.</a:t>
            </a:r>
          </a:p>
          <a:p>
            <a:pPr marL="0" marR="0" lvl="0" indent="0" algn="l" defTabSz="91450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endParaRPr>
          </a:p>
        </p:txBody>
      </p:sp>
      <p:sp>
        <p:nvSpPr>
          <p:cNvPr id="10" name="Title 1">
            <a:extLst>
              <a:ext uri="{FF2B5EF4-FFF2-40B4-BE49-F238E27FC236}">
                <a16:creationId xmlns:a16="http://schemas.microsoft.com/office/drawing/2014/main" id="{52C7423C-B328-D110-DA09-147269E58DF5}"/>
              </a:ext>
            </a:extLst>
          </p:cNvPr>
          <p:cNvSpPr>
            <a:spLocks noGrp="1"/>
          </p:cNvSpPr>
          <p:nvPr>
            <p:ph type="title"/>
          </p:nvPr>
        </p:nvSpPr>
        <p:spPr>
          <a:xfrm>
            <a:off x="267679" y="288445"/>
            <a:ext cx="5817230" cy="1416118"/>
          </a:xfrm>
        </p:spPr>
        <p:txBody>
          <a:bodyPr lIns="0" tIns="0" rIns="0" bIns="0" anchor="t"/>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r>
              <a:rPr lang="en-US" sz="2950" dirty="0">
                <a:effectLst/>
              </a:rPr>
              <a:t>AI Ethics</a:t>
            </a:r>
            <a:endParaRPr lang="en-US" sz="2000" dirty="0">
              <a:solidFill>
                <a:srgbClr val="FF0000"/>
              </a:solidFill>
              <a:effectLst/>
            </a:endParaRPr>
          </a:p>
        </p:txBody>
      </p:sp>
      <p:sp>
        <p:nvSpPr>
          <p:cNvPr id="13" name="CaixaDeTexto 12">
            <a:extLst>
              <a:ext uri="{FF2B5EF4-FFF2-40B4-BE49-F238E27FC236}">
                <a16:creationId xmlns:a16="http://schemas.microsoft.com/office/drawing/2014/main" id="{086E665B-EFA4-E560-6F30-64A741D1F31E}"/>
              </a:ext>
            </a:extLst>
          </p:cNvPr>
          <p:cNvSpPr txBox="1"/>
          <p:nvPr/>
        </p:nvSpPr>
        <p:spPr>
          <a:xfrm>
            <a:off x="3124982" y="1238535"/>
            <a:ext cx="2608626" cy="5041173"/>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507" rtl="0" eaLnBrk="1" fontAlgn="auto" latinLnBrk="0" hangingPunct="1">
              <a:lnSpc>
                <a:spcPct val="120000"/>
              </a:lnSpc>
              <a:spcBef>
                <a:spcPts val="0"/>
              </a:spcBef>
              <a:spcAft>
                <a:spcPts val="80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panose="02020603050405020304" pitchFamily="18" charset="0"/>
              </a:rPr>
              <a:t>All AI deployed within HR must follow this process</a:t>
            </a:r>
          </a:p>
          <a:p>
            <a:pPr marL="0" marR="0" lvl="0" indent="0" algn="l" defTabSz="914507" rtl="0" eaLnBrk="1" fontAlgn="auto" latinLnBrk="0" hangingPunct="1">
              <a:lnSpc>
                <a:spcPct val="12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panose="02020603050405020304" pitchFamily="18" charset="0"/>
            </a:endParaRPr>
          </a:p>
          <a:p>
            <a:pPr marL="0" marR="0" lvl="0" indent="0" algn="l" defTabSz="914507" rtl="0" eaLnBrk="1" fontAlgn="auto" latinLnBrk="0" hangingPunct="1">
              <a:lnSpc>
                <a:spcPct val="12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panose="02020603050405020304" pitchFamily="18" charset="0"/>
              </a:rPr>
              <a:t>Why:</a:t>
            </a:r>
          </a:p>
          <a:p>
            <a:pPr marL="228554" marR="0" lvl="0" indent="-228554" algn="l" defTabSz="914507" rtl="0" eaLnBrk="1" fontAlgn="auto" latinLnBrk="0" hangingPunct="1">
              <a:lnSpc>
                <a:spcPct val="120000"/>
              </a:lnSpc>
              <a:spcBef>
                <a:spcPts val="0"/>
              </a:spcBef>
              <a:spcAft>
                <a:spcPts val="0"/>
              </a:spcAft>
              <a:buClrTx/>
              <a:buSzTx/>
              <a:buFont typeface="Fonte do Sistema Regular"/>
              <a:buChar char="⎯"/>
              <a:tabLst/>
              <a:defRPr/>
            </a:pPr>
            <a:r>
              <a:rPr kumimoji="0" lang="en-GB" sz="1400" b="0"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panose="02020603050405020304" pitchFamily="18" charset="0"/>
              </a:rPr>
              <a:t>Ensures data privacy</a:t>
            </a:r>
          </a:p>
          <a:p>
            <a:pPr marL="228554" marR="0" lvl="0" indent="-228554" algn="l" defTabSz="914507" rtl="0" eaLnBrk="1" fontAlgn="auto" latinLnBrk="0" hangingPunct="1">
              <a:lnSpc>
                <a:spcPct val="120000"/>
              </a:lnSpc>
              <a:spcBef>
                <a:spcPts val="0"/>
              </a:spcBef>
              <a:spcAft>
                <a:spcPts val="0"/>
              </a:spcAft>
              <a:buClrTx/>
              <a:buSzTx/>
              <a:buFont typeface="Fonte do Sistema Regular"/>
              <a:buChar char="⎯"/>
              <a:tabLst/>
              <a:defRPr/>
            </a:pPr>
            <a:r>
              <a:rPr kumimoji="0" lang="en-GB" sz="1400" b="0"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panose="02020603050405020304" pitchFamily="18" charset="0"/>
              </a:rPr>
              <a:t>Provides accurate advice and guidance</a:t>
            </a:r>
          </a:p>
          <a:p>
            <a:pPr marL="228554" marR="0" lvl="0" indent="-228554" algn="l" defTabSz="914507" rtl="0" eaLnBrk="1" fontAlgn="auto" latinLnBrk="0" hangingPunct="1">
              <a:lnSpc>
                <a:spcPct val="120000"/>
              </a:lnSpc>
              <a:spcBef>
                <a:spcPts val="0"/>
              </a:spcBef>
              <a:spcAft>
                <a:spcPts val="0"/>
              </a:spcAft>
              <a:buClrTx/>
              <a:buSzTx/>
              <a:buFont typeface="Fonte do Sistema Regular"/>
              <a:buChar char="⎯"/>
              <a:tabLst/>
              <a:defRPr/>
            </a:pPr>
            <a:r>
              <a:rPr kumimoji="0" lang="en-GB" sz="1400" b="0"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panose="02020603050405020304" pitchFamily="18" charset="0"/>
              </a:rPr>
              <a:t>Meets legal and regulatory requirements</a:t>
            </a:r>
          </a:p>
          <a:p>
            <a:pPr marL="228554" marR="0" lvl="0" indent="-228554" algn="l" defTabSz="914507" rtl="0" eaLnBrk="1" fontAlgn="auto" latinLnBrk="0" hangingPunct="1">
              <a:lnSpc>
                <a:spcPct val="120000"/>
              </a:lnSpc>
              <a:spcBef>
                <a:spcPts val="0"/>
              </a:spcBef>
              <a:spcAft>
                <a:spcPts val="0"/>
              </a:spcAft>
              <a:buClrTx/>
              <a:buSzTx/>
              <a:buFont typeface="Fonte do Sistema Regular"/>
              <a:buChar char="⎯"/>
              <a:tabLst/>
              <a:defRPr/>
            </a:pPr>
            <a:r>
              <a:rPr kumimoji="0" lang="en-GB" sz="1400" b="0"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panose="02020603050405020304" pitchFamily="18" charset="0"/>
              </a:rPr>
              <a:t>Human-centric approach</a:t>
            </a:r>
          </a:p>
          <a:p>
            <a:pPr marL="228554" marR="0" lvl="0" indent="-228554" algn="l" defTabSz="914507" rtl="0" eaLnBrk="1" fontAlgn="auto" latinLnBrk="0" hangingPunct="1">
              <a:lnSpc>
                <a:spcPct val="120000"/>
              </a:lnSpc>
              <a:spcBef>
                <a:spcPts val="0"/>
              </a:spcBef>
              <a:spcAft>
                <a:spcPts val="0"/>
              </a:spcAft>
              <a:buClrTx/>
              <a:buSzTx/>
              <a:buFont typeface="Fonte do Sistema Regular"/>
              <a:buChar char="⎯"/>
              <a:tabLst/>
              <a:defRPr/>
            </a:pPr>
            <a:r>
              <a:rPr kumimoji="0" lang="en-GB" sz="1400" b="0"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panose="02020603050405020304" pitchFamily="18" charset="0"/>
              </a:rPr>
              <a:t>Open and transparent</a:t>
            </a:r>
          </a:p>
          <a:p>
            <a:pPr marL="228554" marR="0" lvl="0" indent="-228554" algn="l" defTabSz="914507" rtl="0" eaLnBrk="1" fontAlgn="auto" latinLnBrk="0" hangingPunct="1">
              <a:lnSpc>
                <a:spcPct val="120000"/>
              </a:lnSpc>
              <a:spcBef>
                <a:spcPts val="0"/>
              </a:spcBef>
              <a:spcAft>
                <a:spcPts val="0"/>
              </a:spcAft>
              <a:buClrTx/>
              <a:buSzTx/>
              <a:buFont typeface="Fonte do Sistema Regular"/>
              <a:buChar char="⎯"/>
              <a:tabLst/>
              <a:defRPr/>
            </a:pPr>
            <a:r>
              <a:rPr kumimoji="0" lang="en-GB" sz="1400" b="0"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panose="02020603050405020304" pitchFamily="18" charset="0"/>
              </a:rPr>
              <a:t>Technologically robust</a:t>
            </a:r>
          </a:p>
          <a:p>
            <a:pPr marL="0" marR="0" lvl="0" indent="0" algn="l" defTabSz="914507" rtl="0" eaLnBrk="1" fontAlgn="auto" latinLnBrk="0" hangingPunct="1">
              <a:lnSpc>
                <a:spcPct val="12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panose="02020603050405020304" pitchFamily="18" charset="0"/>
            </a:endParaRPr>
          </a:p>
          <a:p>
            <a:pPr marL="0" marR="0" lvl="0" indent="0" algn="l" defTabSz="914507" rtl="0" eaLnBrk="1" fontAlgn="auto" latinLnBrk="0" hangingPunct="1">
              <a:lnSpc>
                <a:spcPct val="12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panose="02020603050405020304" pitchFamily="18" charset="0"/>
              </a:rPr>
              <a:t>Key Partnerships:</a:t>
            </a:r>
            <a:endParaRPr kumimoji="0" lang="en-GB" sz="1400" b="0"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panose="02020603050405020304" pitchFamily="18" charset="0"/>
            </a:endParaRPr>
          </a:p>
          <a:p>
            <a:pPr marL="0" marR="0" lvl="0" indent="0" algn="l" defTabSz="914507" rtl="0" eaLnBrk="1" fontAlgn="auto" latinLnBrk="0" hangingPunct="1">
              <a:lnSpc>
                <a:spcPct val="12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panose="02020603050405020304" pitchFamily="18" charset="0"/>
              </a:rPr>
              <a:t>OPRT (Office for Privacy and Responsible Tech)</a:t>
            </a:r>
          </a:p>
          <a:p>
            <a:pPr marL="0" marR="0" lvl="0" indent="0" algn="l" defTabSz="914507" rtl="0" eaLnBrk="1" fontAlgn="auto" latinLnBrk="0" hangingPunct="1">
              <a:lnSpc>
                <a:spcPct val="12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panose="02020603050405020304" pitchFamily="18" charset="0"/>
              </a:rPr>
              <a:t>IBM Ethics board</a:t>
            </a:r>
          </a:p>
          <a:p>
            <a:pPr marL="0" marR="0" lvl="0" indent="0" algn="l" defTabSz="914507" rtl="0" eaLnBrk="1" fontAlgn="auto" latinLnBrk="0" hangingPunct="1">
              <a:lnSpc>
                <a:spcPct val="12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panose="02020603050405020304" pitchFamily="18" charset="0"/>
              </a:rPr>
              <a:t>Legal teams – HR and Global </a:t>
            </a:r>
          </a:p>
          <a:p>
            <a:pPr marL="0" marR="0" lvl="0" indent="0" algn="l" defTabSz="914507" rtl="0" eaLnBrk="1" fontAlgn="auto" latinLnBrk="0" hangingPunct="1">
              <a:lnSpc>
                <a:spcPct val="12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IBM Plex Sans Light"/>
                <a:ea typeface="Aptos" panose="020B0004020202020204" pitchFamily="34" charset="0"/>
                <a:cs typeface="Times New Roman" panose="02020603050405020304" pitchFamily="18" charset="0"/>
              </a:rPr>
              <a:t>Works Councils across EMEA</a:t>
            </a:r>
          </a:p>
        </p:txBody>
      </p:sp>
      <p:sp>
        <p:nvSpPr>
          <p:cNvPr id="22" name="CaixaDeTexto 21">
            <a:extLst>
              <a:ext uri="{FF2B5EF4-FFF2-40B4-BE49-F238E27FC236}">
                <a16:creationId xmlns:a16="http://schemas.microsoft.com/office/drawing/2014/main" id="{6EED255C-B41A-1F9E-2A3C-3397AF54C372}"/>
              </a:ext>
            </a:extLst>
          </p:cNvPr>
          <p:cNvSpPr txBox="1"/>
          <p:nvPr/>
        </p:nvSpPr>
        <p:spPr>
          <a:xfrm>
            <a:off x="6366235" y="1001585"/>
            <a:ext cx="2777764" cy="6463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Good to Know About AskHR AI Assistant</a:t>
            </a:r>
          </a:p>
        </p:txBody>
      </p:sp>
      <p:sp>
        <p:nvSpPr>
          <p:cNvPr id="23" name="CaixaDeTexto 22">
            <a:extLst>
              <a:ext uri="{FF2B5EF4-FFF2-40B4-BE49-F238E27FC236}">
                <a16:creationId xmlns:a16="http://schemas.microsoft.com/office/drawing/2014/main" id="{3E1F8347-B90E-8916-8BAC-40DE684DDE04}"/>
              </a:ext>
            </a:extLst>
          </p:cNvPr>
          <p:cNvSpPr txBox="1"/>
          <p:nvPr/>
        </p:nvSpPr>
        <p:spPr>
          <a:xfrm>
            <a:off x="9448364" y="1001585"/>
            <a:ext cx="2777764" cy="3693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Coming soon!</a:t>
            </a:r>
          </a:p>
        </p:txBody>
      </p:sp>
      <p:pic>
        <p:nvPicPr>
          <p:cNvPr id="29" name="Picture Placeholder 20" descr="DevOps, Blue 60 pictogram">
            <a:extLst>
              <a:ext uri="{FF2B5EF4-FFF2-40B4-BE49-F238E27FC236}">
                <a16:creationId xmlns:a16="http://schemas.microsoft.com/office/drawing/2014/main" id="{6BE72066-05CF-E448-A5B8-60BEAFC5A3DE}"/>
              </a:ext>
            </a:extLst>
          </p:cNvPr>
          <p:cNvPicPr>
            <a:picLocks noChangeAspect="1"/>
          </p:cNvPicPr>
          <p:nvPr/>
        </p:nvPicPr>
        <p:blipFill>
          <a:blip r:embed="rId3">
            <a:extLst>
              <a:ext uri="{96DAC541-7B7A-43D3-8B79-37D633B846F1}">
                <asvg:svgBlip xmlns:asvg="http://schemas.microsoft.com/office/drawing/2016/SVG/main" r:embed="rId4"/>
              </a:ext>
            </a:extLst>
          </a:blip>
          <a:srcRect t="87" b="87"/>
          <a:stretch>
            <a:fillRect/>
          </a:stretch>
        </p:blipFill>
        <p:spPr>
          <a:xfrm>
            <a:off x="6380882" y="288854"/>
            <a:ext cx="607918" cy="60707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pic>
      <p:pic>
        <p:nvPicPr>
          <p:cNvPr id="30" name="Picture Placeholder 22" descr="Cloud services, Blue 60 pictogram">
            <a:extLst>
              <a:ext uri="{FF2B5EF4-FFF2-40B4-BE49-F238E27FC236}">
                <a16:creationId xmlns:a16="http://schemas.microsoft.com/office/drawing/2014/main" id="{563C711E-E449-7E5B-7DDD-753144F35144}"/>
              </a:ext>
            </a:extLst>
          </p:cNvPr>
          <p:cNvPicPr>
            <a:picLocks noChangeAspect="1"/>
          </p:cNvPicPr>
          <p:nvPr/>
        </p:nvPicPr>
        <p:blipFill>
          <a:blip r:embed="rId5">
            <a:extLst>
              <a:ext uri="{96DAC541-7B7A-43D3-8B79-37D633B846F1}">
                <asvg:svgBlip xmlns:asvg="http://schemas.microsoft.com/office/drawing/2016/SVG/main" r:embed="rId6"/>
              </a:ext>
            </a:extLst>
          </a:blip>
          <a:srcRect t="87" b="87"/>
          <a:stretch>
            <a:fillRect/>
          </a:stretch>
        </p:blipFill>
        <p:spPr>
          <a:xfrm>
            <a:off x="9428089" y="288854"/>
            <a:ext cx="607918" cy="60707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pic>
      <p:sp>
        <p:nvSpPr>
          <p:cNvPr id="31" name="CaixaDeTexto 30">
            <a:extLst>
              <a:ext uri="{FF2B5EF4-FFF2-40B4-BE49-F238E27FC236}">
                <a16:creationId xmlns:a16="http://schemas.microsoft.com/office/drawing/2014/main" id="{BBEF50D1-4F6B-E9E3-5690-332172228AA8}"/>
              </a:ext>
            </a:extLst>
          </p:cNvPr>
          <p:cNvSpPr txBox="1"/>
          <p:nvPr/>
        </p:nvSpPr>
        <p:spPr>
          <a:xfrm>
            <a:off x="8520591" y="-520632"/>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222188" marR="0" lvl="0" indent="-223330" algn="l" defTabSz="1218956" rtl="0" eaLnBrk="1" fontAlgn="auto" latinLnBrk="0" hangingPunct="1">
              <a:lnSpc>
                <a:spcPct val="100000"/>
              </a:lnSpc>
              <a:spcBef>
                <a:spcPts val="1450"/>
              </a:spcBef>
              <a:spcAft>
                <a:spcPts val="0"/>
              </a:spcAft>
              <a:buClrTx/>
              <a:buSzPct val="100000"/>
              <a:buFontTx/>
              <a:buChar char="–"/>
              <a:tabLst/>
              <a:defRPr/>
            </a:pPr>
            <a:endParaRPr kumimoji="0" lang="pt-BR" sz="9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Tree>
    <p:extLst>
      <p:ext uri="{BB962C8B-B14F-4D97-AF65-F5344CB8AC3E}">
        <p14:creationId xmlns:p14="http://schemas.microsoft.com/office/powerpoint/2010/main" val="285415802"/>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 Placeholder 3">
            <a:extLst>
              <a:ext uri="{FF2B5EF4-FFF2-40B4-BE49-F238E27FC236}">
                <a16:creationId xmlns:a16="http://schemas.microsoft.com/office/drawing/2014/main" id="{5BE17797-2888-E7F4-A6D1-B24D1A0313B7}"/>
              </a:ext>
            </a:extLst>
          </p:cNvPr>
          <p:cNvSpPr txBox="1">
            <a:spLocks/>
          </p:cNvSpPr>
          <p:nvPr/>
        </p:nvSpPr>
        <p:spPr>
          <a:xfrm>
            <a:off x="4779670" y="1784875"/>
            <a:ext cx="3523791" cy="592128"/>
          </a:xfrm>
          <a:prstGeom prst="rect">
            <a:avLst/>
          </a:prstGeom>
          <a:solidFill>
            <a:srgbClr val="BAE6FF"/>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623103" rtl="0" eaLnBrk="0" fontAlgn="auto" latinLnBrk="0" hangingPunct="1">
              <a:lnSpc>
                <a:spcPct val="110000"/>
              </a:lnSpc>
              <a:spcBef>
                <a:spcPts val="0"/>
              </a:spcBef>
              <a:spcAft>
                <a:spcPts val="0"/>
              </a:spcAft>
              <a:buClrTx/>
              <a:buSzPct val="100000"/>
              <a:buFontTx/>
              <a:buNone/>
              <a:tabLst/>
              <a:defRPr/>
            </a:pPr>
            <a:r>
              <a:rPr kumimoji="0" lang="en-GB" sz="16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 </a:t>
            </a:r>
            <a:endParaRPr kumimoji="0" lang="en-US" sz="9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50" name="Text Placeholder 3">
            <a:extLst>
              <a:ext uri="{FF2B5EF4-FFF2-40B4-BE49-F238E27FC236}">
                <a16:creationId xmlns:a16="http://schemas.microsoft.com/office/drawing/2014/main" id="{245DF136-616D-F8C4-D832-6A80CBB62CA3}"/>
              </a:ext>
            </a:extLst>
          </p:cNvPr>
          <p:cNvSpPr txBox="1">
            <a:spLocks/>
          </p:cNvSpPr>
          <p:nvPr/>
        </p:nvSpPr>
        <p:spPr>
          <a:xfrm>
            <a:off x="8361200" y="1829898"/>
            <a:ext cx="3513810" cy="592128"/>
          </a:xfrm>
          <a:prstGeom prst="rect">
            <a:avLst/>
          </a:prstGeom>
          <a:solidFill>
            <a:srgbClr val="E5F6FF"/>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623103" rtl="0" eaLnBrk="0" fontAlgn="auto" latinLnBrk="0" hangingPunct="1">
              <a:lnSpc>
                <a:spcPct val="110000"/>
              </a:lnSpc>
              <a:spcBef>
                <a:spcPts val="0"/>
              </a:spcBef>
              <a:spcAft>
                <a:spcPts val="0"/>
              </a:spcAft>
              <a:buClrTx/>
              <a:buSzPct val="100000"/>
              <a:buFontTx/>
              <a:buNone/>
              <a:tabLst/>
              <a:defRPr/>
            </a:pPr>
            <a:endParaRPr kumimoji="0" lang="en-US" sz="9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49" name="Text Placeholder 3">
            <a:extLst>
              <a:ext uri="{FF2B5EF4-FFF2-40B4-BE49-F238E27FC236}">
                <a16:creationId xmlns:a16="http://schemas.microsoft.com/office/drawing/2014/main" id="{2F58108A-D2D4-25D7-5CFD-D71D6B0BB407}"/>
              </a:ext>
            </a:extLst>
          </p:cNvPr>
          <p:cNvSpPr txBox="1">
            <a:spLocks/>
          </p:cNvSpPr>
          <p:nvPr/>
        </p:nvSpPr>
        <p:spPr>
          <a:xfrm>
            <a:off x="1170944" y="1778667"/>
            <a:ext cx="3523791" cy="592128"/>
          </a:xfrm>
          <a:prstGeom prst="rect">
            <a:avLst/>
          </a:prstGeom>
          <a:solidFill>
            <a:srgbClr val="82CFFF"/>
          </a:solidFill>
          <a:ln w="12700">
            <a:no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623103" rtl="0" eaLnBrk="0" fontAlgn="auto" latinLnBrk="0" hangingPunct="1">
              <a:lnSpc>
                <a:spcPct val="110000"/>
              </a:lnSpc>
              <a:spcBef>
                <a:spcPts val="0"/>
              </a:spcBef>
              <a:spcAft>
                <a:spcPts val="0"/>
              </a:spcAft>
              <a:buClrTx/>
              <a:buSzPct val="100000"/>
              <a:buFontTx/>
              <a:buNone/>
              <a:tabLst/>
              <a:defRPr/>
            </a:pPr>
            <a:endParaRPr kumimoji="0" lang="en-US" sz="9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pic>
        <p:nvPicPr>
          <p:cNvPr id="25" name="Picture 34" descr="Calendly full logo transparent PNG - StickPNG">
            <a:extLst>
              <a:ext uri="{FF2B5EF4-FFF2-40B4-BE49-F238E27FC236}">
                <a16:creationId xmlns:a16="http://schemas.microsoft.com/office/drawing/2014/main" id="{278C3637-30BD-AE0F-D5EF-59CE278299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2543" y="4951960"/>
            <a:ext cx="864952" cy="864952"/>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Servicenow Logo PNG vector in SVG, PDF, AI, CDR format">
            <a:extLst>
              <a:ext uri="{FF2B5EF4-FFF2-40B4-BE49-F238E27FC236}">
                <a16:creationId xmlns:a16="http://schemas.microsoft.com/office/drawing/2014/main" id="{D80DDFB9-A88C-31EA-60DE-EAD797C00C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25596" y="4399506"/>
            <a:ext cx="1093909" cy="821063"/>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Eightfold Talent Intelligence Platform Now Available on SAP® App Center">
            <a:extLst>
              <a:ext uri="{FF2B5EF4-FFF2-40B4-BE49-F238E27FC236}">
                <a16:creationId xmlns:a16="http://schemas.microsoft.com/office/drawing/2014/main" id="{E39DEC38-206E-88B2-0986-891B80557D7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04567" y="4514465"/>
            <a:ext cx="1323748" cy="69324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First Advantage - IHR">
            <a:extLst>
              <a:ext uri="{FF2B5EF4-FFF2-40B4-BE49-F238E27FC236}">
                <a16:creationId xmlns:a16="http://schemas.microsoft.com/office/drawing/2014/main" id="{2EA824F7-7A13-BF3D-854B-72332AA338E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09095" y="5464356"/>
            <a:ext cx="1587085" cy="95225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Greenhouse Announces Spring 2024 Packaged Product Release">
            <a:extLst>
              <a:ext uri="{FF2B5EF4-FFF2-40B4-BE49-F238E27FC236}">
                <a16:creationId xmlns:a16="http://schemas.microsoft.com/office/drawing/2014/main" id="{7B16FAC9-DE48-60BE-3587-5039BCE4139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56175" y="5767827"/>
            <a:ext cx="1177543" cy="61759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9B8D14D-BF01-C14C-70DA-050BEB3BEE99}"/>
              </a:ext>
            </a:extLst>
          </p:cNvPr>
          <p:cNvSpPr>
            <a:spLocks noGrp="1"/>
          </p:cNvSpPr>
          <p:nvPr>
            <p:ph type="title"/>
          </p:nvPr>
        </p:nvSpPr>
        <p:spPr>
          <a:xfrm>
            <a:off x="287299" y="284956"/>
            <a:ext cx="8274881" cy="953294"/>
          </a:xfrm>
        </p:spPr>
        <p:txBody>
          <a:bodyPr/>
          <a:lstStyle/>
          <a:p>
            <a:r>
              <a:rPr lang="en-US" sz="2400" dirty="0">
                <a:solidFill>
                  <a:schemeClr val="tx1"/>
                </a:solidFill>
              </a:rPr>
              <a:t>watsonx </a:t>
            </a:r>
            <a:r>
              <a:rPr lang="en-US" sz="2400" dirty="0" err="1">
                <a:solidFill>
                  <a:schemeClr val="tx1"/>
                </a:solidFill>
              </a:rPr>
              <a:t>Orchestrate’s</a:t>
            </a:r>
            <a:r>
              <a:rPr lang="en-US" sz="2400" dirty="0">
                <a:solidFill>
                  <a:schemeClr val="tx1"/>
                </a:solidFill>
              </a:rPr>
              <a:t> Assistant for HR</a:t>
            </a:r>
          </a:p>
        </p:txBody>
      </p:sp>
      <p:sp>
        <p:nvSpPr>
          <p:cNvPr id="3" name="Slide Number Placeholder 2">
            <a:extLst>
              <a:ext uri="{FF2B5EF4-FFF2-40B4-BE49-F238E27FC236}">
                <a16:creationId xmlns:a16="http://schemas.microsoft.com/office/drawing/2014/main" id="{10FF2067-FC10-4850-A5FF-9B3D4AE02796}"/>
              </a:ext>
            </a:extLst>
          </p:cNvPr>
          <p:cNvSpPr>
            <a:spLocks noGrp="1"/>
          </p:cNvSpPr>
          <p:nvPr>
            <p:ph type="sldNum" sz="quarter" idx="10"/>
          </p:nvPr>
        </p:nvSpPr>
        <p:spPr/>
        <p:txBody>
          <a:bodyPr/>
          <a:lstStyle/>
          <a:p>
            <a:pPr marL="0" marR="0" lvl="0" indent="0" algn="l" defTabSz="914324"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800" b="0" i="0" u="none" strike="noStrike" kern="1200" cap="none" spc="0" normalizeH="0" baseline="0" noProof="0">
                <a:ln>
                  <a:noFill/>
                </a:ln>
                <a:solidFill>
                  <a:srgbClr val="000000"/>
                </a:solidFill>
                <a:effectLst/>
                <a:uLnTx/>
                <a:uFillTx/>
                <a:latin typeface="IBM Plex Sans Light"/>
                <a:ea typeface="+mn-ea"/>
                <a:cs typeface="+mn-cs"/>
                <a:sym typeface="IBM Plex Sans"/>
              </a:rPr>
              <a:pPr marL="0" marR="0" lvl="0" indent="0" algn="l" defTabSz="914324"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1200" cap="none" spc="0" normalizeH="0" baseline="0" noProof="0">
              <a:ln>
                <a:noFill/>
              </a:ln>
              <a:solidFill>
                <a:srgbClr val="000000"/>
              </a:solidFill>
              <a:effectLst/>
              <a:uLnTx/>
              <a:uFillTx/>
              <a:latin typeface="IBM Plex Sans Light"/>
              <a:ea typeface="+mn-ea"/>
              <a:cs typeface="+mn-cs"/>
              <a:sym typeface="IBM Plex Sans"/>
            </a:endParaRPr>
          </a:p>
        </p:txBody>
      </p:sp>
      <p:sp>
        <p:nvSpPr>
          <p:cNvPr id="4" name="Text Placeholder 3">
            <a:extLst>
              <a:ext uri="{FF2B5EF4-FFF2-40B4-BE49-F238E27FC236}">
                <a16:creationId xmlns:a16="http://schemas.microsoft.com/office/drawing/2014/main" id="{764815AE-DFAD-FCD5-3E17-EF4D2F50C66F}"/>
              </a:ext>
            </a:extLst>
          </p:cNvPr>
          <p:cNvSpPr>
            <a:spLocks noGrp="1"/>
          </p:cNvSpPr>
          <p:nvPr>
            <p:ph type="body" sz="quarter" idx="11"/>
          </p:nvPr>
        </p:nvSpPr>
        <p:spPr>
          <a:xfrm>
            <a:off x="4739715" y="1800890"/>
            <a:ext cx="1101393" cy="592128"/>
          </a:xfrm>
          <a:noFill/>
          <a:ln>
            <a:noFill/>
          </a:ln>
        </p:spPr>
        <p:txBody>
          <a:bodyPr/>
          <a:lstStyle/>
          <a:p>
            <a:pPr algn="ctr" defTabSz="623103" eaLnBrk="0">
              <a:buSzPct val="100000"/>
              <a:defRPr/>
            </a:pPr>
            <a:r>
              <a:rPr lang="en-GB" sz="1600" kern="1300" dirty="0">
                <a:latin typeface="+mn-lt"/>
                <a:cs typeface="Calibri" panose="020F0502020204030204" pitchFamily="34" charset="0"/>
              </a:rPr>
              <a:t>84% </a:t>
            </a:r>
          </a:p>
          <a:p>
            <a:pPr algn="ctr" defTabSz="623103" eaLnBrk="0">
              <a:buSzPct val="100000"/>
              <a:defRPr/>
            </a:pPr>
            <a:r>
              <a:rPr lang="en-GB" sz="900" kern="1300" dirty="0">
                <a:latin typeface="+mn-lt"/>
                <a:cs typeface="Calibri" panose="020F0502020204030204" pitchFamily="34" charset="0"/>
              </a:rPr>
              <a:t>decrease in            time to hire</a:t>
            </a:r>
            <a:r>
              <a:rPr lang="en-GB" sz="900" kern="1300" baseline="30000" dirty="0">
                <a:latin typeface="+mn-lt"/>
                <a:cs typeface="Calibri" panose="020F0502020204030204" pitchFamily="34" charset="0"/>
              </a:rPr>
              <a:t>1</a:t>
            </a:r>
            <a:endParaRPr lang="en-US" sz="900" dirty="0"/>
          </a:p>
        </p:txBody>
      </p:sp>
      <p:sp>
        <p:nvSpPr>
          <p:cNvPr id="6" name="Footer Placeholder 5">
            <a:extLst>
              <a:ext uri="{FF2B5EF4-FFF2-40B4-BE49-F238E27FC236}">
                <a16:creationId xmlns:a16="http://schemas.microsoft.com/office/drawing/2014/main" id="{4F87EDA1-33FC-9B96-B490-75FCFEF87517}"/>
              </a:ext>
            </a:extLst>
          </p:cNvPr>
          <p:cNvSpPr>
            <a:spLocks noGrp="1"/>
          </p:cNvSpPr>
          <p:nvPr>
            <p:ph type="ftr" sz="quarter" idx="13"/>
          </p:nvPr>
        </p:nvSpPr>
        <p:spPr/>
        <p:txBody>
          <a:bodyPr/>
          <a:lstStyle/>
          <a:p>
            <a:pPr marL="0" marR="0" lvl="0" indent="0" algn="l" defTabSz="91432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IBM Plex Sans Light"/>
                <a:ea typeface="+mn-ea"/>
                <a:cs typeface="+mn-cs"/>
              </a:rPr>
              <a:t> </a:t>
            </a:r>
          </a:p>
        </p:txBody>
      </p:sp>
      <p:sp>
        <p:nvSpPr>
          <p:cNvPr id="7" name="Text Placeholder 3">
            <a:extLst>
              <a:ext uri="{FF2B5EF4-FFF2-40B4-BE49-F238E27FC236}">
                <a16:creationId xmlns:a16="http://schemas.microsoft.com/office/drawing/2014/main" id="{7D2C57FB-F78D-41FC-CD11-AF5D59EEA5DF}"/>
              </a:ext>
            </a:extLst>
          </p:cNvPr>
          <p:cNvSpPr txBox="1">
            <a:spLocks/>
          </p:cNvSpPr>
          <p:nvPr/>
        </p:nvSpPr>
        <p:spPr>
          <a:xfrm>
            <a:off x="8466017" y="1816791"/>
            <a:ext cx="1101393" cy="592128"/>
          </a:xfrm>
          <a:prstGeom prst="rect">
            <a:avLst/>
          </a:prstGeom>
          <a:no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623103" rtl="0" eaLnBrk="0" fontAlgn="auto" latinLnBrk="0" hangingPunct="1">
              <a:lnSpc>
                <a:spcPct val="110000"/>
              </a:lnSpc>
              <a:spcBef>
                <a:spcPts val="0"/>
              </a:spcBef>
              <a:spcAft>
                <a:spcPts val="0"/>
              </a:spcAft>
              <a:buClrTx/>
              <a:buSzPct val="100000"/>
              <a:buFontTx/>
              <a:buNone/>
              <a:tabLst/>
              <a:defRPr/>
            </a:pPr>
            <a:r>
              <a:rPr kumimoji="0" lang="en-GB" sz="16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12K </a:t>
            </a:r>
          </a:p>
          <a:p>
            <a:pPr marL="0" marR="0" lvl="0" indent="0" algn="ctr" defTabSz="623103" rtl="0" eaLnBrk="0" fontAlgn="auto" latinLnBrk="0" hangingPunct="1">
              <a:lnSpc>
                <a:spcPct val="110000"/>
              </a:lnSpc>
              <a:spcBef>
                <a:spcPts val="0"/>
              </a:spcBef>
              <a:spcAft>
                <a:spcPts val="0"/>
              </a:spcAft>
              <a:buClrTx/>
              <a:buSzPct val="100000"/>
              <a:buFontTx/>
              <a:buNone/>
              <a:tabLst/>
              <a:defRPr/>
            </a:pPr>
            <a:r>
              <a:rPr kumimoji="0" lang="en-GB" sz="9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hours saved for learning admins</a:t>
            </a:r>
            <a:r>
              <a:rPr kumimoji="0" lang="en-GB" sz="900" b="0" i="0" u="none" strike="noStrike" kern="1300" cap="none" spc="0" normalizeH="0" baseline="30000" noProof="0" dirty="0">
                <a:ln>
                  <a:noFill/>
                </a:ln>
                <a:solidFill>
                  <a:srgbClr val="000000"/>
                </a:solidFill>
                <a:effectLst/>
                <a:uLnTx/>
                <a:uFillTx/>
                <a:latin typeface="IBM Plex Sans Light"/>
                <a:ea typeface="+mj-ea"/>
                <a:cs typeface="Calibri" panose="020F0502020204030204" pitchFamily="34" charset="0"/>
                <a:sym typeface="IBM Plex Sans Light"/>
              </a:rPr>
              <a:t>4</a:t>
            </a:r>
            <a:endParaRPr kumimoji="0" lang="en-US" sz="9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8" name="Text Placeholder 3">
            <a:extLst>
              <a:ext uri="{FF2B5EF4-FFF2-40B4-BE49-F238E27FC236}">
                <a16:creationId xmlns:a16="http://schemas.microsoft.com/office/drawing/2014/main" id="{81C62ADA-B86F-ED74-C188-ACE5E58CEBDA}"/>
              </a:ext>
            </a:extLst>
          </p:cNvPr>
          <p:cNvSpPr txBox="1">
            <a:spLocks/>
          </p:cNvSpPr>
          <p:nvPr/>
        </p:nvSpPr>
        <p:spPr>
          <a:xfrm>
            <a:off x="1241839" y="1788794"/>
            <a:ext cx="1101393" cy="592128"/>
          </a:xfrm>
          <a:prstGeom prst="rect">
            <a:avLst/>
          </a:prstGeom>
          <a:no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623103" rtl="0" eaLnBrk="0" fontAlgn="auto" latinLnBrk="0" hangingPunct="1">
              <a:lnSpc>
                <a:spcPct val="110000"/>
              </a:lnSpc>
              <a:spcBef>
                <a:spcPts val="0"/>
              </a:spcBef>
              <a:spcAft>
                <a:spcPts val="0"/>
              </a:spcAft>
              <a:buClrTx/>
              <a:buSzPct val="100000"/>
              <a:buFontTx/>
              <a:buNone/>
              <a:tabLst/>
              <a:defRPr/>
            </a:pPr>
            <a:r>
              <a:rPr kumimoji="0" lang="en-GB" sz="16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33K</a:t>
            </a:r>
          </a:p>
          <a:p>
            <a:pPr marL="0" marR="0" lvl="0" indent="0" algn="ctr" defTabSz="623103" rtl="0" eaLnBrk="0" fontAlgn="auto" latinLnBrk="0" hangingPunct="1">
              <a:lnSpc>
                <a:spcPct val="110000"/>
              </a:lnSpc>
              <a:spcBef>
                <a:spcPts val="0"/>
              </a:spcBef>
              <a:spcAft>
                <a:spcPts val="0"/>
              </a:spcAft>
              <a:buClrTx/>
              <a:buSzPct val="100000"/>
              <a:buFontTx/>
              <a:buNone/>
              <a:tabLst/>
              <a:defRPr/>
            </a:pPr>
            <a:r>
              <a:rPr kumimoji="0" lang="en-GB" sz="9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hours saved by self-serviced queries</a:t>
            </a:r>
            <a:r>
              <a:rPr kumimoji="0" lang="en-GB" sz="900" b="0" i="0" u="none" strike="noStrike" kern="1300" cap="none" spc="0" normalizeH="0" baseline="30000" noProof="0" dirty="0">
                <a:ln>
                  <a:noFill/>
                </a:ln>
                <a:solidFill>
                  <a:srgbClr val="000000"/>
                </a:solidFill>
                <a:effectLst/>
                <a:uLnTx/>
                <a:uFillTx/>
                <a:latin typeface="IBM Plex Sans Light"/>
                <a:ea typeface="+mj-ea"/>
                <a:cs typeface="Calibri" panose="020F0502020204030204" pitchFamily="34" charset="0"/>
                <a:sym typeface="IBM Plex Sans Light"/>
              </a:rPr>
              <a:t>7</a:t>
            </a:r>
            <a:r>
              <a:rPr kumimoji="0" lang="en-GB" sz="9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 </a:t>
            </a:r>
            <a:endParaRPr kumimoji="0" lang="en-US" sz="9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10" name="Text Placeholder 3">
            <a:extLst>
              <a:ext uri="{FF2B5EF4-FFF2-40B4-BE49-F238E27FC236}">
                <a16:creationId xmlns:a16="http://schemas.microsoft.com/office/drawing/2014/main" id="{B0650BF6-BC63-40A5-A698-D1AAC15D53CA}"/>
              </a:ext>
            </a:extLst>
          </p:cNvPr>
          <p:cNvSpPr txBox="1">
            <a:spLocks/>
          </p:cNvSpPr>
          <p:nvPr/>
        </p:nvSpPr>
        <p:spPr>
          <a:xfrm>
            <a:off x="8358611" y="2516935"/>
            <a:ext cx="3519524" cy="1669434"/>
          </a:xfrm>
          <a:prstGeom prst="rect">
            <a:avLst/>
          </a:prstGeom>
          <a:solidFill>
            <a:srgbClr val="E5F6FF"/>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116635" marR="0" lvl="0" indent="0" algn="l" defTabSz="1218712" rtl="0" eaLnBrk="1" fontAlgn="auto" latinLnBrk="0" hangingPunct="1">
              <a:lnSpc>
                <a:spcPct val="11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291190" marR="0" lvl="0" indent="-171382" algn="l" defTabSz="1218712"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Initiate pre-employment checks</a:t>
            </a:r>
          </a:p>
          <a:p>
            <a:pPr marL="291190" marR="0" lvl="0" indent="-171382" algn="l" defTabSz="1218712"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Recommend learning for knowledge gaps</a:t>
            </a:r>
          </a:p>
          <a:p>
            <a:pPr marL="291190" marR="0" lvl="0" indent="-171382" algn="l" defTabSz="1218712"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Initiate employee onboarding profile creation</a:t>
            </a:r>
          </a:p>
          <a:p>
            <a:pPr marL="291190" marR="0" lvl="0" indent="-171382" algn="l" defTabSz="1218712"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Create IT requests</a:t>
            </a:r>
          </a:p>
          <a:p>
            <a:pPr marL="119809" marR="0" lvl="0" indent="0" algn="l" defTabSz="1218712" rtl="0" eaLnBrk="1" fontAlgn="auto" latinLnBrk="0" hangingPunct="1">
              <a:lnSpc>
                <a:spcPct val="11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291190" marR="0" lvl="0" indent="-171382" algn="l" defTabSz="121871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291190" marR="0" lvl="0" indent="-171382" algn="l" defTabSz="121871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291190" marR="0" lvl="0" indent="-171382" algn="l" defTabSz="121871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335908" marR="0" lvl="1" indent="-171382" algn="l" defTabSz="1218712" rtl="0" eaLnBrk="1" fontAlgn="auto" latinLnBrk="0" hangingPunct="1">
              <a:lnSpc>
                <a:spcPct val="110000"/>
              </a:lnSpc>
              <a:spcBef>
                <a:spcPts val="0"/>
              </a:spcBef>
              <a:spcAft>
                <a:spcPts val="0"/>
              </a:spcAft>
              <a:buClrTx/>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11" name="Text Placeholder 3">
            <a:extLst>
              <a:ext uri="{FF2B5EF4-FFF2-40B4-BE49-F238E27FC236}">
                <a16:creationId xmlns:a16="http://schemas.microsoft.com/office/drawing/2014/main" id="{2DE23D93-648D-BB94-D6FA-45ED27144ECC}"/>
              </a:ext>
            </a:extLst>
          </p:cNvPr>
          <p:cNvSpPr txBox="1">
            <a:spLocks/>
          </p:cNvSpPr>
          <p:nvPr/>
        </p:nvSpPr>
        <p:spPr>
          <a:xfrm>
            <a:off x="4782795" y="2488969"/>
            <a:ext cx="3519524" cy="1669435"/>
          </a:xfrm>
          <a:prstGeom prst="rect">
            <a:avLst/>
          </a:prstGeom>
          <a:solidFill>
            <a:srgbClr val="BAE6FF"/>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87278" marR="0" lvl="0" indent="0" algn="l" defTabSz="1218712" rtl="0" eaLnBrk="1" fontAlgn="auto" latinLnBrk="0" hangingPunct="1">
              <a:lnSpc>
                <a:spcPct val="11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258659" marR="0" lvl="0" indent="-171382" algn="l" defTabSz="1218712"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Create job requisition </a:t>
            </a:r>
          </a:p>
          <a:p>
            <a:pPr marL="258659" marR="0" lvl="0" indent="-171382" algn="l" defTabSz="1218712"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Find candidates for job requisition </a:t>
            </a:r>
          </a:p>
          <a:p>
            <a:pPr marL="258659" marR="0" lvl="0" indent="-171382" algn="l" defTabSz="1218712"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Schedule interview for a candidate </a:t>
            </a:r>
          </a:p>
          <a:p>
            <a:pPr marL="258659" marR="0" lvl="0" indent="-171382" algn="l" defTabSz="1218712"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Interview transcript summarization</a:t>
            </a:r>
          </a:p>
          <a:p>
            <a:pPr marL="258659" marR="0" lvl="0" indent="-171382" algn="l" defTabSz="1218712"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Email rejection letter to candidate</a:t>
            </a:r>
          </a:p>
          <a:p>
            <a:pPr marL="258659" marR="0" lvl="0" indent="-171382" algn="l" defTabSz="1218712"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Create offer packages</a:t>
            </a:r>
          </a:p>
          <a:p>
            <a:pPr marL="87278" marR="0" lvl="0" indent="0" algn="l" defTabSz="1218712" rtl="0" eaLnBrk="1" fontAlgn="auto" latinLnBrk="0" hangingPunct="1">
              <a:lnSpc>
                <a:spcPct val="11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15" name="Text Placeholder 3">
            <a:extLst>
              <a:ext uri="{FF2B5EF4-FFF2-40B4-BE49-F238E27FC236}">
                <a16:creationId xmlns:a16="http://schemas.microsoft.com/office/drawing/2014/main" id="{6326F004-E773-F7B4-10A5-74954D985F60}"/>
              </a:ext>
            </a:extLst>
          </p:cNvPr>
          <p:cNvSpPr txBox="1">
            <a:spLocks/>
          </p:cNvSpPr>
          <p:nvPr/>
        </p:nvSpPr>
        <p:spPr>
          <a:xfrm>
            <a:off x="1178338" y="1091655"/>
            <a:ext cx="3798406" cy="592128"/>
          </a:xfrm>
          <a:prstGeom prst="homePlate">
            <a:avLst/>
          </a:prstGeom>
          <a:solidFill>
            <a:srgbClr val="82CFFF"/>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1218712" rtl="0" eaLnBrk="1" fontAlgn="auto" latinLnBrk="0" hangingPunct="1">
              <a:lnSpc>
                <a:spcPct val="11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EMPLOYEE SUPPORT (AskHR)</a:t>
            </a:r>
          </a:p>
        </p:txBody>
      </p:sp>
      <p:sp>
        <p:nvSpPr>
          <p:cNvPr id="16" name="Text Placeholder 3">
            <a:extLst>
              <a:ext uri="{FF2B5EF4-FFF2-40B4-BE49-F238E27FC236}">
                <a16:creationId xmlns:a16="http://schemas.microsoft.com/office/drawing/2014/main" id="{BF62FD9D-3288-A98C-C5CA-B766D7405D96}"/>
              </a:ext>
            </a:extLst>
          </p:cNvPr>
          <p:cNvSpPr txBox="1">
            <a:spLocks/>
          </p:cNvSpPr>
          <p:nvPr/>
        </p:nvSpPr>
        <p:spPr>
          <a:xfrm>
            <a:off x="8323736" y="1097838"/>
            <a:ext cx="3798406" cy="592128"/>
          </a:xfrm>
          <a:prstGeom prst="chevron">
            <a:avLst/>
          </a:prstGeom>
          <a:solidFill>
            <a:srgbClr val="E5F6FF"/>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1218712" rtl="0" eaLnBrk="1" fontAlgn="auto" latinLnBrk="0" hangingPunct="1">
              <a:lnSpc>
                <a:spcPct val="11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ONBOARDING</a:t>
            </a:r>
          </a:p>
        </p:txBody>
      </p:sp>
      <p:sp>
        <p:nvSpPr>
          <p:cNvPr id="17" name="Text Placeholder 3">
            <a:extLst>
              <a:ext uri="{FF2B5EF4-FFF2-40B4-BE49-F238E27FC236}">
                <a16:creationId xmlns:a16="http://schemas.microsoft.com/office/drawing/2014/main" id="{AA460F2C-D0AE-161E-D4CB-A7738FE359AA}"/>
              </a:ext>
            </a:extLst>
          </p:cNvPr>
          <p:cNvSpPr txBox="1">
            <a:spLocks/>
          </p:cNvSpPr>
          <p:nvPr/>
        </p:nvSpPr>
        <p:spPr>
          <a:xfrm>
            <a:off x="4782797" y="1103877"/>
            <a:ext cx="3713915" cy="592128"/>
          </a:xfrm>
          <a:prstGeom prst="chevron">
            <a:avLst/>
          </a:prstGeom>
          <a:solidFill>
            <a:srgbClr val="BAE6FF"/>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1218712" rtl="0" eaLnBrk="1" fontAlgn="auto" latinLnBrk="0" hangingPunct="1">
              <a:lnSpc>
                <a:spcPct val="11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TALENT RECRUITMENT</a:t>
            </a:r>
          </a:p>
        </p:txBody>
      </p:sp>
      <p:sp>
        <p:nvSpPr>
          <p:cNvPr id="18" name="TextBox 17">
            <a:extLst>
              <a:ext uri="{FF2B5EF4-FFF2-40B4-BE49-F238E27FC236}">
                <a16:creationId xmlns:a16="http://schemas.microsoft.com/office/drawing/2014/main" id="{26BC8139-7D5D-CEC0-884B-C69C48BE2F02}"/>
              </a:ext>
            </a:extLst>
          </p:cNvPr>
          <p:cNvSpPr txBox="1"/>
          <p:nvPr/>
        </p:nvSpPr>
        <p:spPr>
          <a:xfrm>
            <a:off x="208557" y="1091655"/>
            <a:ext cx="747951" cy="5921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1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Use Case</a:t>
            </a:r>
          </a:p>
        </p:txBody>
      </p:sp>
      <p:sp>
        <p:nvSpPr>
          <p:cNvPr id="19" name="TextBox 18">
            <a:extLst>
              <a:ext uri="{FF2B5EF4-FFF2-40B4-BE49-F238E27FC236}">
                <a16:creationId xmlns:a16="http://schemas.microsoft.com/office/drawing/2014/main" id="{D3030F00-D23F-23A2-A822-69A48BA5BA72}"/>
              </a:ext>
            </a:extLst>
          </p:cNvPr>
          <p:cNvSpPr txBox="1"/>
          <p:nvPr/>
        </p:nvSpPr>
        <p:spPr>
          <a:xfrm>
            <a:off x="208557" y="1735858"/>
            <a:ext cx="747951" cy="5921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1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Metrics</a:t>
            </a:r>
          </a:p>
        </p:txBody>
      </p:sp>
      <p:sp>
        <p:nvSpPr>
          <p:cNvPr id="20" name="TextBox 19">
            <a:extLst>
              <a:ext uri="{FF2B5EF4-FFF2-40B4-BE49-F238E27FC236}">
                <a16:creationId xmlns:a16="http://schemas.microsoft.com/office/drawing/2014/main" id="{1CBA5BF8-5624-3A71-D7A4-013D3953118F}"/>
              </a:ext>
            </a:extLst>
          </p:cNvPr>
          <p:cNvSpPr txBox="1"/>
          <p:nvPr/>
        </p:nvSpPr>
        <p:spPr>
          <a:xfrm>
            <a:off x="218182" y="2719337"/>
            <a:ext cx="747951" cy="5921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1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Skill</a:t>
            </a:r>
            <a:br>
              <a:rPr kumimoji="0" lang="en-US" sz="1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1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Templates</a:t>
            </a:r>
          </a:p>
        </p:txBody>
      </p:sp>
      <p:sp>
        <p:nvSpPr>
          <p:cNvPr id="21" name="TextBox 20">
            <a:extLst>
              <a:ext uri="{FF2B5EF4-FFF2-40B4-BE49-F238E27FC236}">
                <a16:creationId xmlns:a16="http://schemas.microsoft.com/office/drawing/2014/main" id="{EDBF2F72-F839-FAA2-F8B2-A674844782B4}"/>
              </a:ext>
            </a:extLst>
          </p:cNvPr>
          <p:cNvSpPr txBox="1"/>
          <p:nvPr/>
        </p:nvSpPr>
        <p:spPr>
          <a:xfrm>
            <a:off x="40879" y="5132965"/>
            <a:ext cx="955714" cy="5921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1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Pre-built Application Integrations</a:t>
            </a:r>
          </a:p>
        </p:txBody>
      </p:sp>
      <p:sp>
        <p:nvSpPr>
          <p:cNvPr id="22" name="TextBox 21">
            <a:extLst>
              <a:ext uri="{FF2B5EF4-FFF2-40B4-BE49-F238E27FC236}">
                <a16:creationId xmlns:a16="http://schemas.microsoft.com/office/drawing/2014/main" id="{363AE82B-54B2-D866-2F9A-0A0D008CF0BF}"/>
              </a:ext>
            </a:extLst>
          </p:cNvPr>
          <p:cNvSpPr txBox="1"/>
          <p:nvPr/>
        </p:nvSpPr>
        <p:spPr>
          <a:xfrm>
            <a:off x="1600577" y="3584823"/>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144" marR="0" lvl="0" indent="-223285" algn="l" defTabSz="1218712" rtl="0" eaLnBrk="1" fontAlgn="auto" latinLnBrk="0" hangingPunct="1">
              <a:lnSpc>
                <a:spcPct val="100000"/>
              </a:lnSpc>
              <a:spcBef>
                <a:spcPts val="1450"/>
              </a:spcBef>
              <a:spcAft>
                <a:spcPts val="0"/>
              </a:spcAft>
              <a:buClrTx/>
              <a:buSzPct val="100000"/>
              <a:buFontTx/>
              <a:buChar char="–"/>
              <a:tabLst/>
              <a:defRPr/>
            </a:pPr>
            <a:endPar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23" name="TextBox 22">
            <a:extLst>
              <a:ext uri="{FF2B5EF4-FFF2-40B4-BE49-F238E27FC236}">
                <a16:creationId xmlns:a16="http://schemas.microsoft.com/office/drawing/2014/main" id="{2AD0B98A-1D95-EA53-7839-26946427F5E4}"/>
              </a:ext>
            </a:extLst>
          </p:cNvPr>
          <p:cNvSpPr txBox="1"/>
          <p:nvPr/>
        </p:nvSpPr>
        <p:spPr>
          <a:xfrm>
            <a:off x="3458688" y="602242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144" marR="0" lvl="0" indent="-223285" algn="l" defTabSz="1218712" rtl="0" eaLnBrk="1" fontAlgn="auto" latinLnBrk="0" hangingPunct="1">
              <a:lnSpc>
                <a:spcPct val="100000"/>
              </a:lnSpc>
              <a:spcBef>
                <a:spcPts val="1450"/>
              </a:spcBef>
              <a:spcAft>
                <a:spcPts val="0"/>
              </a:spcAft>
              <a:buClrTx/>
              <a:buSzPct val="100000"/>
              <a:buFontTx/>
              <a:buChar char="–"/>
              <a:tabLst/>
              <a:defRPr/>
            </a:pPr>
            <a:endPar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28" name="TextBox 27">
            <a:extLst>
              <a:ext uri="{FF2B5EF4-FFF2-40B4-BE49-F238E27FC236}">
                <a16:creationId xmlns:a16="http://schemas.microsoft.com/office/drawing/2014/main" id="{899B6004-F9AA-9C0C-7649-7496D53683CD}"/>
              </a:ext>
            </a:extLst>
          </p:cNvPr>
          <p:cNvSpPr txBox="1"/>
          <p:nvPr/>
        </p:nvSpPr>
        <p:spPr>
          <a:xfrm>
            <a:off x="6919338" y="3460164"/>
            <a:ext cx="0" cy="0"/>
          </a:xfrm>
          <a:prstGeom prst="rect">
            <a:avLst/>
          </a:prstGeom>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144" marR="0" lvl="0" indent="-223285" algn="l" defTabSz="1218712" rtl="0" eaLnBrk="1" fontAlgn="auto" latinLnBrk="0" hangingPunct="1">
              <a:lnSpc>
                <a:spcPct val="100000"/>
              </a:lnSpc>
              <a:spcBef>
                <a:spcPts val="1450"/>
              </a:spcBef>
              <a:spcAft>
                <a:spcPts val="0"/>
              </a:spcAft>
              <a:buClrTx/>
              <a:buSzPct val="100000"/>
              <a:buFontTx/>
              <a:buChar char="–"/>
              <a:tabLst/>
              <a:defRPr/>
            </a:pPr>
            <a:endPar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30" name="Text Placeholder 3">
            <a:extLst>
              <a:ext uri="{FF2B5EF4-FFF2-40B4-BE49-F238E27FC236}">
                <a16:creationId xmlns:a16="http://schemas.microsoft.com/office/drawing/2014/main" id="{BA211585-9583-B438-A346-1CC30C1ED53A}"/>
              </a:ext>
            </a:extLst>
          </p:cNvPr>
          <p:cNvSpPr txBox="1">
            <a:spLocks/>
          </p:cNvSpPr>
          <p:nvPr/>
        </p:nvSpPr>
        <p:spPr>
          <a:xfrm>
            <a:off x="1178337" y="2476748"/>
            <a:ext cx="3519524" cy="1669435"/>
          </a:xfrm>
          <a:prstGeom prst="rect">
            <a:avLst/>
          </a:prstGeom>
          <a:solidFill>
            <a:srgbClr val="82CFFF"/>
          </a:solidFill>
          <a:ln w="12700">
            <a:no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87278" marR="0" lvl="0" indent="0" algn="l" defTabSz="1218712" rtl="0" eaLnBrk="1" fontAlgn="auto" latinLnBrk="0" hangingPunct="1">
              <a:lnSpc>
                <a:spcPct val="11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291190" marR="0" lvl="0" indent="-171382" algn="l" defTabSz="1218712"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Time off management</a:t>
            </a:r>
          </a:p>
          <a:p>
            <a:pPr marL="291190" marR="0" lvl="0" indent="-171382" algn="l" defTabSz="1218712"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Employee management</a:t>
            </a:r>
          </a:p>
          <a:p>
            <a:pPr marL="291190" marR="0" lvl="0" indent="-171382" algn="l" defTabSz="1218712"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Profile management</a:t>
            </a:r>
          </a:p>
          <a:p>
            <a:pPr marL="291190" marR="0" lvl="0" indent="-171382" algn="l" defTabSz="1218712"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Support</a:t>
            </a:r>
          </a:p>
          <a:p>
            <a:pPr marL="291190" marR="0" lvl="0" indent="-171382" algn="l" defTabSz="1218712"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Employee verification</a:t>
            </a:r>
          </a:p>
          <a:p>
            <a:pPr marL="291190" marR="0" lvl="0" indent="-171382" algn="l" defTabSz="1218712"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Benefits</a:t>
            </a:r>
          </a:p>
          <a:p>
            <a:pPr marL="291190" marR="0" lvl="0" indent="-171382" algn="l" defTabSz="1218712"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Compensation</a:t>
            </a:r>
          </a:p>
          <a:p>
            <a:pPr marL="149959" marR="0" lvl="0" indent="-149959" algn="l" defTabSz="121871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31" name="Text Placeholder 3">
            <a:extLst>
              <a:ext uri="{FF2B5EF4-FFF2-40B4-BE49-F238E27FC236}">
                <a16:creationId xmlns:a16="http://schemas.microsoft.com/office/drawing/2014/main" id="{4F81071C-6367-C872-BCE8-5656714D56D3}"/>
              </a:ext>
            </a:extLst>
          </p:cNvPr>
          <p:cNvSpPr txBox="1">
            <a:spLocks/>
          </p:cNvSpPr>
          <p:nvPr/>
        </p:nvSpPr>
        <p:spPr>
          <a:xfrm>
            <a:off x="1125019" y="4488376"/>
            <a:ext cx="10740709" cy="1939185"/>
          </a:xfrm>
          <a:prstGeom prst="roundRect">
            <a:avLst/>
          </a:prstGeom>
          <a:ln w="635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712" rtl="0" eaLnBrk="1" fontAlgn="auto" latinLnBrk="0" hangingPunct="1">
              <a:lnSpc>
                <a:spcPct val="11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p>
          <a:p>
            <a:pPr marL="0" marR="0" lvl="0" indent="0" algn="l" defTabSz="1218712" rtl="0" eaLnBrk="1" fontAlgn="auto" latinLnBrk="0" hangingPunct="1">
              <a:lnSpc>
                <a:spcPct val="11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pic>
        <p:nvPicPr>
          <p:cNvPr id="45" name="Picture 2" descr="Download Microsoft Outlook Logo in SVG Vector or PNG File Format - Logo.wine">
            <a:extLst>
              <a:ext uri="{FF2B5EF4-FFF2-40B4-BE49-F238E27FC236}">
                <a16:creationId xmlns:a16="http://schemas.microsoft.com/office/drawing/2014/main" id="{4E231E3C-85A3-18D8-C934-A2F430DE4F5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36888" y="5850324"/>
            <a:ext cx="802643" cy="535095"/>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Gmail (New Logo 2020)&quot; Photographic Print by Brands ✔️ | Redbubble">
            <a:extLst>
              <a:ext uri="{FF2B5EF4-FFF2-40B4-BE49-F238E27FC236}">
                <a16:creationId xmlns:a16="http://schemas.microsoft.com/office/drawing/2014/main" id="{F4F6E38C-C679-3382-E9C3-32181378619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6474" b="6472"/>
          <a:stretch/>
        </p:blipFill>
        <p:spPr bwMode="auto">
          <a:xfrm>
            <a:off x="2484018" y="4761543"/>
            <a:ext cx="355341" cy="412454"/>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4CFECA0-7EB8-DB69-63B5-F858F4003AD0}"/>
              </a:ext>
            </a:extLst>
          </p:cNvPr>
          <p:cNvSpPr txBox="1"/>
          <p:nvPr/>
        </p:nvSpPr>
        <p:spPr>
          <a:xfrm>
            <a:off x="8829671" y="5548213"/>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144" marR="0" lvl="0" indent="-223285" algn="l" defTabSz="1218712" rtl="0" eaLnBrk="1" fontAlgn="auto" latinLnBrk="0" hangingPunct="1">
              <a:lnSpc>
                <a:spcPct val="100000"/>
              </a:lnSpc>
              <a:spcBef>
                <a:spcPts val="1450"/>
              </a:spcBef>
              <a:spcAft>
                <a:spcPts val="0"/>
              </a:spcAft>
              <a:buClrTx/>
              <a:buSzPct val="100000"/>
              <a:buFontTx/>
              <a:buChar char="–"/>
              <a:tabLst/>
              <a:defRPr/>
            </a:pPr>
            <a:endPar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pic>
        <p:nvPicPr>
          <p:cNvPr id="12" name="Picture 11">
            <a:extLst>
              <a:ext uri="{FF2B5EF4-FFF2-40B4-BE49-F238E27FC236}">
                <a16:creationId xmlns:a16="http://schemas.microsoft.com/office/drawing/2014/main" id="{FC4E3917-9798-4168-007D-506A4D0AE083}"/>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10715178" y="5110814"/>
            <a:ext cx="825599" cy="32035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Sap SuccessFactors Logo Download Vector">
            <a:extLst>
              <a:ext uri="{FF2B5EF4-FFF2-40B4-BE49-F238E27FC236}">
                <a16:creationId xmlns:a16="http://schemas.microsoft.com/office/drawing/2014/main" id="{14F24379-5C09-EBAF-6877-3E97586D7D4D}"/>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8788846" y="5074782"/>
            <a:ext cx="1936750" cy="24069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1 Interview as a Service Platform, Interview Outsourcing Service">
            <a:extLst>
              <a:ext uri="{FF2B5EF4-FFF2-40B4-BE49-F238E27FC236}">
                <a16:creationId xmlns:a16="http://schemas.microsoft.com/office/drawing/2014/main" id="{A0D99193-3AE0-73F7-B274-F90F48A8F49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170286" y="4641965"/>
            <a:ext cx="1406193" cy="44023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oftwareReviews">
            <a:extLst>
              <a:ext uri="{FF2B5EF4-FFF2-40B4-BE49-F238E27FC236}">
                <a16:creationId xmlns:a16="http://schemas.microsoft.com/office/drawing/2014/main" id="{84AD0680-0F1F-9F47-3625-B2D4702B1E1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448277" y="5182030"/>
            <a:ext cx="1052534" cy="49399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ThisWay Global's CEO, Angela Hood, Showcases the Power of IBM's watsonx  Orchestrate in Talent Acquisition at IBM TechXchange Conference">
            <a:extLst>
              <a:ext uri="{FF2B5EF4-FFF2-40B4-BE49-F238E27FC236}">
                <a16:creationId xmlns:a16="http://schemas.microsoft.com/office/drawing/2014/main" id="{40C49589-DBD6-F5BF-592D-3AF1E60D240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359227" y="5344115"/>
            <a:ext cx="1186464" cy="364863"/>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8" descr="Mailchimp new logo transparent PNG - StickPNG">
            <a:extLst>
              <a:ext uri="{FF2B5EF4-FFF2-40B4-BE49-F238E27FC236}">
                <a16:creationId xmlns:a16="http://schemas.microsoft.com/office/drawing/2014/main" id="{73616CAA-9D37-9EF4-614F-B751473F054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085288" y="4713514"/>
            <a:ext cx="476893" cy="47689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Webex Logo PNG Vectors Free Download">
            <a:extLst>
              <a:ext uri="{FF2B5EF4-FFF2-40B4-BE49-F238E27FC236}">
                <a16:creationId xmlns:a16="http://schemas.microsoft.com/office/drawing/2014/main" id="{FB5DA51B-CCA2-18C5-52AC-4DCB1CFD75F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674117" y="5188250"/>
            <a:ext cx="544961" cy="39237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0" descr="Microsoft Teams Logo Icon (2024) - Free Download PNG, SVG, AI">
            <a:extLst>
              <a:ext uri="{FF2B5EF4-FFF2-40B4-BE49-F238E27FC236}">
                <a16:creationId xmlns:a16="http://schemas.microsoft.com/office/drawing/2014/main" id="{6CA0C7C3-AC59-5E3E-6988-05A2542363F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252911" y="5782382"/>
            <a:ext cx="475955" cy="44341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2D1F8A28-FDEF-0281-DEA6-64DC922E30B0}"/>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467622" y="4718937"/>
            <a:ext cx="758789" cy="21643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02B3E85F-BDA3-3371-8221-FF0F8C580E8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462480" y="5794810"/>
            <a:ext cx="1619657" cy="23153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ireRight | HR Background Screening Partner | Rival">
            <a:extLst>
              <a:ext uri="{FF2B5EF4-FFF2-40B4-BE49-F238E27FC236}">
                <a16:creationId xmlns:a16="http://schemas.microsoft.com/office/drawing/2014/main" id="{51DF2200-8E67-CF71-1AE8-07703D32428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573976" y="4532093"/>
            <a:ext cx="1327782" cy="59012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Careers | iCIMS Careers">
            <a:extLst>
              <a:ext uri="{FF2B5EF4-FFF2-40B4-BE49-F238E27FC236}">
                <a16:creationId xmlns:a16="http://schemas.microsoft.com/office/drawing/2014/main" id="{D8F2AD6C-F3A6-FF6E-A520-A64E7D6F626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743951" y="5875794"/>
            <a:ext cx="821909" cy="43075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6">
            <a:extLst>
              <a:ext uri="{FF2B5EF4-FFF2-40B4-BE49-F238E27FC236}">
                <a16:creationId xmlns:a16="http://schemas.microsoft.com/office/drawing/2014/main" id="{60236983-62E3-DA53-23F5-F8344C473905}"/>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512985" y="6145954"/>
            <a:ext cx="792914" cy="250643"/>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7CC5D5EB-610A-0E8C-532A-AE55BB2BB300}"/>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336322" y="5391700"/>
            <a:ext cx="955714" cy="172081"/>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6" descr="Free High-Quality Box Logo Png for Creative Design">
            <a:extLst>
              <a:ext uri="{FF2B5EF4-FFF2-40B4-BE49-F238E27FC236}">
                <a16:creationId xmlns:a16="http://schemas.microsoft.com/office/drawing/2014/main" id="{75A19612-6CF6-0E63-31BB-73D42607BD4D}"/>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1071602" y="5636825"/>
            <a:ext cx="574748" cy="574748"/>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Zendesk logo - Social media &amp; Logos Icons">
            <a:extLst>
              <a:ext uri="{FF2B5EF4-FFF2-40B4-BE49-F238E27FC236}">
                <a16:creationId xmlns:a16="http://schemas.microsoft.com/office/drawing/2014/main" id="{E0E0FBFB-0C12-3F6A-7510-CF7A97FEDEC3}"/>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7651181" y="5217137"/>
            <a:ext cx="1201660" cy="600830"/>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Dropbox logo and symbol, meaning, history, PNG">
            <a:extLst>
              <a:ext uri="{FF2B5EF4-FFF2-40B4-BE49-F238E27FC236}">
                <a16:creationId xmlns:a16="http://schemas.microsoft.com/office/drawing/2014/main" id="{198CEA5E-B7A8-5179-D5E3-B60B5FDD3B73}"/>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087310" y="5762676"/>
            <a:ext cx="1027969" cy="578233"/>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a:extLst>
              <a:ext uri="{FF2B5EF4-FFF2-40B4-BE49-F238E27FC236}">
                <a16:creationId xmlns:a16="http://schemas.microsoft.com/office/drawing/2014/main" id="{BE3F7A70-09E9-62D6-3208-E51CCC5DD738}"/>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285558" y="5535709"/>
            <a:ext cx="961768" cy="190450"/>
          </a:xfrm>
          <a:prstGeom prst="rect">
            <a:avLst/>
          </a:prstGeom>
          <a:noFill/>
          <a:extLst>
            <a:ext uri="{909E8E84-426E-40DD-AFC4-6F175D3DCCD1}">
              <a14:hiddenFill xmlns:a14="http://schemas.microsoft.com/office/drawing/2010/main">
                <a:solidFill>
                  <a:srgbClr val="FFFFFF"/>
                </a:solidFill>
              </a14:hiddenFill>
            </a:ext>
          </a:extLst>
        </p:spPr>
      </p:pic>
      <p:pic>
        <p:nvPicPr>
          <p:cNvPr id="1055" name="Picture 31">
            <a:extLst>
              <a:ext uri="{FF2B5EF4-FFF2-40B4-BE49-F238E27FC236}">
                <a16:creationId xmlns:a16="http://schemas.microsoft.com/office/drawing/2014/main" id="{128EF3C6-CF58-6EA8-5306-8477C350595A}"/>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6052089" y="5262129"/>
            <a:ext cx="391678" cy="391678"/>
          </a:xfrm>
          <a:prstGeom prst="rect">
            <a:avLst/>
          </a:prstGeom>
          <a:noFill/>
          <a:extLst>
            <a:ext uri="{909E8E84-426E-40DD-AFC4-6F175D3DCCD1}">
              <a14:hiddenFill xmlns:a14="http://schemas.microsoft.com/office/drawing/2010/main">
                <a:solidFill>
                  <a:srgbClr val="FFFFFF"/>
                </a:solidFill>
              </a14:hiddenFill>
            </a:ext>
          </a:extLst>
        </p:spPr>
      </p:pic>
      <p:pic>
        <p:nvPicPr>
          <p:cNvPr id="1057" name="Picture 33" descr="Hello Microsoft Entra ID, good bye Azure Active Directory - Born SQL">
            <a:extLst>
              <a:ext uri="{FF2B5EF4-FFF2-40B4-BE49-F238E27FC236}">
                <a16:creationId xmlns:a16="http://schemas.microsoft.com/office/drawing/2014/main" id="{2F5B1395-C4EB-1525-08A1-E22841CCE23E}"/>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053852" y="4613726"/>
            <a:ext cx="1222843" cy="395741"/>
          </a:xfrm>
          <a:prstGeom prst="rect">
            <a:avLst/>
          </a:prstGeom>
          <a:noFill/>
          <a:extLst>
            <a:ext uri="{909E8E84-426E-40DD-AFC4-6F175D3DCCD1}">
              <a14:hiddenFill xmlns:a14="http://schemas.microsoft.com/office/drawing/2010/main">
                <a:solidFill>
                  <a:srgbClr val="FFFFFF"/>
                </a:solidFill>
              </a14:hiddenFill>
            </a:ext>
          </a:extLst>
        </p:spPr>
      </p:pic>
      <p:sp>
        <p:nvSpPr>
          <p:cNvPr id="40" name="Text Placeholder 3">
            <a:extLst>
              <a:ext uri="{FF2B5EF4-FFF2-40B4-BE49-F238E27FC236}">
                <a16:creationId xmlns:a16="http://schemas.microsoft.com/office/drawing/2014/main" id="{86400E71-E175-B6DC-DE15-B5168D38BC40}"/>
              </a:ext>
            </a:extLst>
          </p:cNvPr>
          <p:cNvSpPr txBox="1">
            <a:spLocks/>
          </p:cNvSpPr>
          <p:nvPr/>
        </p:nvSpPr>
        <p:spPr>
          <a:xfrm>
            <a:off x="5948781" y="1807817"/>
            <a:ext cx="1101393" cy="592128"/>
          </a:xfrm>
          <a:prstGeom prst="rect">
            <a:avLst/>
          </a:prstGeom>
          <a:noFill/>
          <a:ln w="12700">
            <a:no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623103" rtl="0" eaLnBrk="0" fontAlgn="auto" latinLnBrk="0" hangingPunct="1">
              <a:lnSpc>
                <a:spcPct val="110000"/>
              </a:lnSpc>
              <a:spcBef>
                <a:spcPts val="0"/>
              </a:spcBef>
              <a:spcAft>
                <a:spcPts val="0"/>
              </a:spcAft>
              <a:buClrTx/>
              <a:buSzPct val="100000"/>
              <a:buFontTx/>
              <a:buNone/>
              <a:tabLst/>
              <a:defRPr/>
            </a:pPr>
            <a:r>
              <a:rPr kumimoji="0" lang="en-GB" sz="16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30% </a:t>
            </a:r>
          </a:p>
          <a:p>
            <a:pPr marL="0" marR="0" lvl="0" indent="0" algn="ctr" defTabSz="623103" rtl="0" eaLnBrk="0" fontAlgn="auto" latinLnBrk="0" hangingPunct="1">
              <a:lnSpc>
                <a:spcPct val="110000"/>
              </a:lnSpc>
              <a:spcBef>
                <a:spcPts val="0"/>
              </a:spcBef>
              <a:spcAft>
                <a:spcPts val="0"/>
              </a:spcAft>
              <a:buClrTx/>
              <a:buSzPct val="100000"/>
              <a:buFontTx/>
              <a:buNone/>
              <a:tabLst/>
              <a:defRPr/>
            </a:pPr>
            <a:r>
              <a:rPr kumimoji="0" lang="en-GB" sz="9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increase in            hires per month</a:t>
            </a:r>
            <a:r>
              <a:rPr kumimoji="0" lang="en-GB" sz="900" b="0" i="0" u="none" strike="noStrike" kern="1300" cap="none" spc="0" normalizeH="0" baseline="30000" noProof="0" dirty="0">
                <a:ln>
                  <a:noFill/>
                </a:ln>
                <a:solidFill>
                  <a:srgbClr val="000000"/>
                </a:solidFill>
                <a:effectLst/>
                <a:uLnTx/>
                <a:uFillTx/>
                <a:latin typeface="IBM Plex Sans Light"/>
                <a:ea typeface="+mj-ea"/>
                <a:cs typeface="Calibri" panose="020F0502020204030204" pitchFamily="34" charset="0"/>
                <a:sym typeface="IBM Plex Sans Light"/>
              </a:rPr>
              <a:t>2</a:t>
            </a:r>
            <a:endParaRPr kumimoji="0" lang="en-US" sz="9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41" name="Text Placeholder 3">
            <a:extLst>
              <a:ext uri="{FF2B5EF4-FFF2-40B4-BE49-F238E27FC236}">
                <a16:creationId xmlns:a16="http://schemas.microsoft.com/office/drawing/2014/main" id="{F5C7F24F-520E-2D2B-01F4-0CEDE64C4D34}"/>
              </a:ext>
            </a:extLst>
          </p:cNvPr>
          <p:cNvSpPr txBox="1">
            <a:spLocks/>
          </p:cNvSpPr>
          <p:nvPr/>
        </p:nvSpPr>
        <p:spPr>
          <a:xfrm>
            <a:off x="7135108" y="1796268"/>
            <a:ext cx="1101393" cy="592128"/>
          </a:xfrm>
          <a:prstGeom prst="rect">
            <a:avLst/>
          </a:prstGeom>
          <a:noFill/>
          <a:ln w="12700">
            <a:no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623103" rtl="0" eaLnBrk="0" fontAlgn="auto" latinLnBrk="0" hangingPunct="1">
              <a:lnSpc>
                <a:spcPct val="110000"/>
              </a:lnSpc>
              <a:spcBef>
                <a:spcPts val="0"/>
              </a:spcBef>
              <a:spcAft>
                <a:spcPts val="0"/>
              </a:spcAft>
              <a:buClrTx/>
              <a:buSzPct val="100000"/>
              <a:buFontTx/>
              <a:buNone/>
              <a:tabLst/>
              <a:defRPr/>
            </a:pPr>
            <a:r>
              <a:rPr kumimoji="0" lang="en-GB" sz="16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30% </a:t>
            </a:r>
          </a:p>
          <a:p>
            <a:pPr marL="0" marR="0" lvl="0" indent="0" algn="ctr" defTabSz="623103" rtl="0" eaLnBrk="0" fontAlgn="auto" latinLnBrk="0" hangingPunct="1">
              <a:lnSpc>
                <a:spcPct val="110000"/>
              </a:lnSpc>
              <a:spcBef>
                <a:spcPts val="0"/>
              </a:spcBef>
              <a:spcAft>
                <a:spcPts val="0"/>
              </a:spcAft>
              <a:buClrTx/>
              <a:buSzPct val="100000"/>
              <a:buFontTx/>
              <a:buNone/>
              <a:tabLst/>
              <a:defRPr/>
            </a:pPr>
            <a:r>
              <a:rPr kumimoji="0" lang="en-GB" sz="9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decrease in            year 1 turnover</a:t>
            </a:r>
            <a:r>
              <a:rPr kumimoji="0" lang="en-GB" sz="900" b="0" i="0" u="none" strike="noStrike" kern="1300" cap="none" spc="0" normalizeH="0" baseline="30000" noProof="0" dirty="0">
                <a:ln>
                  <a:noFill/>
                </a:ln>
                <a:solidFill>
                  <a:srgbClr val="000000"/>
                </a:solidFill>
                <a:effectLst/>
                <a:uLnTx/>
                <a:uFillTx/>
                <a:latin typeface="IBM Plex Sans Light"/>
                <a:ea typeface="+mj-ea"/>
                <a:cs typeface="Calibri" panose="020F0502020204030204" pitchFamily="34" charset="0"/>
                <a:sym typeface="IBM Plex Sans Light"/>
              </a:rPr>
              <a:t>3</a:t>
            </a:r>
            <a:endParaRPr kumimoji="0" lang="en-US" sz="9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42" name="Text Placeholder 3">
            <a:extLst>
              <a:ext uri="{FF2B5EF4-FFF2-40B4-BE49-F238E27FC236}">
                <a16:creationId xmlns:a16="http://schemas.microsoft.com/office/drawing/2014/main" id="{9D13A3ED-1DFE-1B86-CE45-9595B5B5A6AA}"/>
              </a:ext>
            </a:extLst>
          </p:cNvPr>
          <p:cNvSpPr txBox="1">
            <a:spLocks/>
          </p:cNvSpPr>
          <p:nvPr/>
        </p:nvSpPr>
        <p:spPr>
          <a:xfrm>
            <a:off x="10773618" y="1830865"/>
            <a:ext cx="1101393" cy="592128"/>
          </a:xfrm>
          <a:prstGeom prst="rect">
            <a:avLst/>
          </a:prstGeom>
          <a:no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623103" rtl="0" eaLnBrk="0" fontAlgn="auto" latinLnBrk="0" hangingPunct="1">
              <a:lnSpc>
                <a:spcPct val="110000"/>
              </a:lnSpc>
              <a:spcBef>
                <a:spcPts val="0"/>
              </a:spcBef>
              <a:spcAft>
                <a:spcPts val="0"/>
              </a:spcAft>
              <a:buClrTx/>
              <a:buSzPct val="100000"/>
              <a:buFontTx/>
              <a:buNone/>
              <a:tabLst/>
              <a:defRPr/>
            </a:pPr>
            <a:r>
              <a:rPr kumimoji="0" lang="en-GB" sz="16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88% </a:t>
            </a:r>
          </a:p>
          <a:p>
            <a:pPr marL="0" marR="0" lvl="0" indent="0" algn="ctr" defTabSz="623103" rtl="0" eaLnBrk="0" fontAlgn="auto" latinLnBrk="0" hangingPunct="1">
              <a:lnSpc>
                <a:spcPct val="110000"/>
              </a:lnSpc>
              <a:spcBef>
                <a:spcPts val="0"/>
              </a:spcBef>
              <a:spcAft>
                <a:spcPts val="0"/>
              </a:spcAft>
              <a:buClrTx/>
              <a:buSzPct val="100000"/>
              <a:buFontTx/>
              <a:buNone/>
              <a:tabLst/>
              <a:defRPr/>
            </a:pPr>
            <a:r>
              <a:rPr kumimoji="0" lang="en-GB" sz="9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reduction in onboard forms completion</a:t>
            </a:r>
            <a:r>
              <a:rPr kumimoji="0" lang="en-GB" sz="900" b="0" i="0" u="none" strike="noStrike" kern="1300" cap="none" spc="0" normalizeH="0" baseline="30000" noProof="0" dirty="0">
                <a:ln>
                  <a:noFill/>
                </a:ln>
                <a:solidFill>
                  <a:srgbClr val="000000"/>
                </a:solidFill>
                <a:effectLst/>
                <a:uLnTx/>
                <a:uFillTx/>
                <a:latin typeface="IBM Plex Sans Light"/>
                <a:ea typeface="+mj-ea"/>
                <a:cs typeface="Calibri" panose="020F0502020204030204" pitchFamily="34" charset="0"/>
                <a:sym typeface="IBM Plex Sans Light"/>
              </a:rPr>
              <a:t>6</a:t>
            </a:r>
            <a:endParaRPr kumimoji="0" lang="en-US" sz="9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44" name="Text Placeholder 3">
            <a:extLst>
              <a:ext uri="{FF2B5EF4-FFF2-40B4-BE49-F238E27FC236}">
                <a16:creationId xmlns:a16="http://schemas.microsoft.com/office/drawing/2014/main" id="{FE09E8DA-7705-702A-BD1A-810ECDC1405B}"/>
              </a:ext>
            </a:extLst>
          </p:cNvPr>
          <p:cNvSpPr txBox="1">
            <a:spLocks/>
          </p:cNvSpPr>
          <p:nvPr/>
        </p:nvSpPr>
        <p:spPr>
          <a:xfrm>
            <a:off x="9730089" y="1830865"/>
            <a:ext cx="1101393" cy="592128"/>
          </a:xfrm>
          <a:prstGeom prst="rect">
            <a:avLst/>
          </a:prstGeom>
          <a:no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623103" rtl="0" eaLnBrk="0" fontAlgn="auto" latinLnBrk="0" hangingPunct="1">
              <a:lnSpc>
                <a:spcPct val="110000"/>
              </a:lnSpc>
              <a:spcBef>
                <a:spcPts val="0"/>
              </a:spcBef>
              <a:spcAft>
                <a:spcPts val="0"/>
              </a:spcAft>
              <a:buClrTx/>
              <a:buSzPct val="100000"/>
              <a:buFontTx/>
              <a:buNone/>
              <a:tabLst/>
              <a:defRPr/>
            </a:pPr>
            <a:r>
              <a:rPr kumimoji="0" lang="en-GB" sz="16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10% </a:t>
            </a:r>
          </a:p>
          <a:p>
            <a:pPr marL="0" marR="0" lvl="0" indent="0" algn="ctr" defTabSz="623103" rtl="0" eaLnBrk="0" fontAlgn="auto" latinLnBrk="0" hangingPunct="1">
              <a:lnSpc>
                <a:spcPct val="110000"/>
              </a:lnSpc>
              <a:spcBef>
                <a:spcPts val="0"/>
              </a:spcBef>
              <a:spcAft>
                <a:spcPts val="0"/>
              </a:spcAft>
              <a:buClrTx/>
              <a:buSzPct val="100000"/>
              <a:buFontTx/>
              <a:buNone/>
              <a:tabLst/>
              <a:defRPr/>
            </a:pPr>
            <a:r>
              <a:rPr kumimoji="0" lang="en-GB" sz="9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decrease in errors from manual work</a:t>
            </a:r>
            <a:r>
              <a:rPr kumimoji="0" lang="en-GB" sz="900" b="0" i="0" u="none" strike="noStrike" kern="1300" cap="none" spc="0" normalizeH="0" baseline="30000" noProof="0" dirty="0">
                <a:ln>
                  <a:noFill/>
                </a:ln>
                <a:solidFill>
                  <a:srgbClr val="000000"/>
                </a:solidFill>
                <a:effectLst/>
                <a:uLnTx/>
                <a:uFillTx/>
                <a:latin typeface="IBM Plex Sans Light"/>
                <a:ea typeface="+mj-ea"/>
                <a:cs typeface="Calibri" panose="020F0502020204030204" pitchFamily="34" charset="0"/>
                <a:sym typeface="IBM Plex Sans Light"/>
              </a:rPr>
              <a:t>5</a:t>
            </a:r>
            <a:endParaRPr kumimoji="0" lang="en-US" sz="9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46" name="Text Placeholder 3">
            <a:extLst>
              <a:ext uri="{FF2B5EF4-FFF2-40B4-BE49-F238E27FC236}">
                <a16:creationId xmlns:a16="http://schemas.microsoft.com/office/drawing/2014/main" id="{2C16732E-F849-C49B-5CDB-5B161831DF1C}"/>
              </a:ext>
            </a:extLst>
          </p:cNvPr>
          <p:cNvSpPr txBox="1">
            <a:spLocks/>
          </p:cNvSpPr>
          <p:nvPr/>
        </p:nvSpPr>
        <p:spPr>
          <a:xfrm>
            <a:off x="2436511" y="1792105"/>
            <a:ext cx="1101393" cy="592128"/>
          </a:xfrm>
          <a:prstGeom prst="rect">
            <a:avLst/>
          </a:prstGeom>
          <a:no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623103" rtl="0" eaLnBrk="0" fontAlgn="auto" latinLnBrk="0" hangingPunct="1">
              <a:lnSpc>
                <a:spcPct val="110000"/>
              </a:lnSpc>
              <a:spcBef>
                <a:spcPts val="0"/>
              </a:spcBef>
              <a:spcAft>
                <a:spcPts val="0"/>
              </a:spcAft>
              <a:buClrTx/>
              <a:buSzPct val="100000"/>
              <a:buFontTx/>
              <a:buNone/>
              <a:tabLst/>
              <a:defRPr/>
            </a:pPr>
            <a:r>
              <a:rPr kumimoji="0" lang="en-GB" sz="16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61%</a:t>
            </a:r>
          </a:p>
          <a:p>
            <a:pPr marL="0" marR="0" lvl="0" indent="0" algn="ctr" defTabSz="623103" rtl="0" eaLnBrk="0" fontAlgn="auto" latinLnBrk="0" hangingPunct="1">
              <a:lnSpc>
                <a:spcPct val="110000"/>
              </a:lnSpc>
              <a:spcBef>
                <a:spcPts val="0"/>
              </a:spcBef>
              <a:spcAft>
                <a:spcPts val="0"/>
              </a:spcAft>
              <a:buClrTx/>
              <a:buSzPct val="100000"/>
              <a:buFontTx/>
              <a:buNone/>
              <a:tabLst/>
              <a:defRPr/>
            </a:pPr>
            <a:r>
              <a:rPr kumimoji="0" lang="en-GB" sz="9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reduction in       tickets raised</a:t>
            </a:r>
            <a:r>
              <a:rPr kumimoji="0" lang="en-GB" sz="900" b="0" i="0" u="none" strike="noStrike" kern="1300" cap="none" spc="0" normalizeH="0" baseline="30000" noProof="0" dirty="0">
                <a:ln>
                  <a:noFill/>
                </a:ln>
                <a:solidFill>
                  <a:srgbClr val="000000"/>
                </a:solidFill>
                <a:effectLst/>
                <a:uLnTx/>
                <a:uFillTx/>
                <a:latin typeface="IBM Plex Sans Light"/>
                <a:ea typeface="+mj-ea"/>
                <a:cs typeface="Calibri" panose="020F0502020204030204" pitchFamily="34" charset="0"/>
                <a:sym typeface="IBM Plex Sans Light"/>
              </a:rPr>
              <a:t>8</a:t>
            </a:r>
            <a:endParaRPr kumimoji="0" lang="en-US" sz="9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47" name="Text Placeholder 3">
            <a:extLst>
              <a:ext uri="{FF2B5EF4-FFF2-40B4-BE49-F238E27FC236}">
                <a16:creationId xmlns:a16="http://schemas.microsoft.com/office/drawing/2014/main" id="{05010C0F-1801-37AD-D116-1D64E8A0BF5E}"/>
              </a:ext>
            </a:extLst>
          </p:cNvPr>
          <p:cNvSpPr txBox="1">
            <a:spLocks/>
          </p:cNvSpPr>
          <p:nvPr/>
        </p:nvSpPr>
        <p:spPr>
          <a:xfrm>
            <a:off x="3644867" y="1796268"/>
            <a:ext cx="1101393" cy="592128"/>
          </a:xfrm>
          <a:prstGeom prst="rect">
            <a:avLst/>
          </a:prstGeom>
          <a:no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623103" rtl="0" eaLnBrk="0" fontAlgn="auto" latinLnBrk="0" hangingPunct="1">
              <a:lnSpc>
                <a:spcPct val="110000"/>
              </a:lnSpc>
              <a:spcBef>
                <a:spcPts val="0"/>
              </a:spcBef>
              <a:spcAft>
                <a:spcPts val="0"/>
              </a:spcAft>
              <a:buClrTx/>
              <a:buSzPct val="100000"/>
              <a:buFontTx/>
              <a:buNone/>
              <a:tabLst/>
              <a:defRPr/>
            </a:pPr>
            <a:r>
              <a:rPr kumimoji="0" lang="en-GB" sz="16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5M</a:t>
            </a:r>
          </a:p>
          <a:p>
            <a:pPr marL="0" marR="0" lvl="0" indent="0" algn="ctr" defTabSz="623103" rtl="0" eaLnBrk="0" fontAlgn="auto" latinLnBrk="0" hangingPunct="1">
              <a:lnSpc>
                <a:spcPct val="110000"/>
              </a:lnSpc>
              <a:spcBef>
                <a:spcPts val="0"/>
              </a:spcBef>
              <a:spcAft>
                <a:spcPts val="0"/>
              </a:spcAft>
              <a:buClrTx/>
              <a:buSzPct val="100000"/>
              <a:buFontTx/>
              <a:buNone/>
              <a:tabLst/>
              <a:defRPr/>
            </a:pPr>
            <a:r>
              <a:rPr kumimoji="0" lang="en-GB" sz="8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improvement in productivity</a:t>
            </a:r>
            <a:r>
              <a:rPr kumimoji="0" lang="en-GB" sz="800" b="0" i="0" u="none" strike="noStrike" kern="1300" cap="none" spc="0" normalizeH="0" baseline="30000" noProof="0" dirty="0">
                <a:ln>
                  <a:noFill/>
                </a:ln>
                <a:solidFill>
                  <a:srgbClr val="000000"/>
                </a:solidFill>
                <a:effectLst/>
                <a:uLnTx/>
                <a:uFillTx/>
                <a:latin typeface="IBM Plex Sans Light"/>
                <a:ea typeface="+mj-ea"/>
                <a:cs typeface="Calibri" panose="020F0502020204030204" pitchFamily="34" charset="0"/>
                <a:sym typeface="IBM Plex Sans Light"/>
              </a:rPr>
              <a:t>8</a:t>
            </a:r>
            <a:endParaRPr kumimoji="0" lang="en-US" sz="8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Tree>
    <p:extLst>
      <p:ext uri="{BB962C8B-B14F-4D97-AF65-F5344CB8AC3E}">
        <p14:creationId xmlns:p14="http://schemas.microsoft.com/office/powerpoint/2010/main" val="529787891"/>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98442-96CE-CBDC-88D3-F9ACB3434E28}"/>
              </a:ext>
            </a:extLst>
          </p:cNvPr>
          <p:cNvSpPr>
            <a:spLocks noGrp="1"/>
          </p:cNvSpPr>
          <p:nvPr>
            <p:ph type="title"/>
          </p:nvPr>
        </p:nvSpPr>
        <p:spPr>
          <a:xfrm>
            <a:off x="174155" y="155790"/>
            <a:ext cx="10150051" cy="417522"/>
          </a:xfrm>
        </p:spPr>
        <p:txBody>
          <a:bodyPr/>
          <a:lstStyle/>
          <a:p>
            <a:r>
              <a:rPr lang="en-US" sz="2200" dirty="0"/>
              <a:t>Taxonomy for domain specific Assistants</a:t>
            </a:r>
          </a:p>
        </p:txBody>
      </p:sp>
      <p:sp>
        <p:nvSpPr>
          <p:cNvPr id="4" name="Text Placeholder 3">
            <a:extLst>
              <a:ext uri="{FF2B5EF4-FFF2-40B4-BE49-F238E27FC236}">
                <a16:creationId xmlns:a16="http://schemas.microsoft.com/office/drawing/2014/main" id="{D791C8D2-FFCA-3F60-7FF4-5A0E2DA5FBB8}"/>
              </a:ext>
            </a:extLst>
          </p:cNvPr>
          <p:cNvSpPr txBox="1">
            <a:spLocks/>
          </p:cNvSpPr>
          <p:nvPr/>
        </p:nvSpPr>
        <p:spPr>
          <a:xfrm>
            <a:off x="3402827" y="4417499"/>
            <a:ext cx="1819136" cy="730025"/>
          </a:xfrm>
          <a:prstGeom prst="rect">
            <a:avLst/>
          </a:prstGeom>
          <a:solidFill>
            <a:schemeClr val="accent4">
              <a:lumMod val="20000"/>
              <a:lumOff val="80000"/>
            </a:schemeClr>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88882" marR="0" lvl="0" indent="0" algn="l" defTabSz="1218956" rtl="0" eaLnBrk="1" fontAlgn="auto" latinLnBrk="0" hangingPunct="1">
              <a:lnSpc>
                <a:spcPct val="11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Time off management</a:t>
            </a: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Employee management</a:t>
            </a: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Profile management</a:t>
            </a:r>
          </a:p>
        </p:txBody>
      </p:sp>
      <p:sp>
        <p:nvSpPr>
          <p:cNvPr id="5" name="Text Placeholder 3">
            <a:extLst>
              <a:ext uri="{FF2B5EF4-FFF2-40B4-BE49-F238E27FC236}">
                <a16:creationId xmlns:a16="http://schemas.microsoft.com/office/drawing/2014/main" id="{5C79F142-A086-E8E4-39CC-38C460D20FBC}"/>
              </a:ext>
            </a:extLst>
          </p:cNvPr>
          <p:cNvSpPr txBox="1">
            <a:spLocks/>
          </p:cNvSpPr>
          <p:nvPr/>
        </p:nvSpPr>
        <p:spPr>
          <a:xfrm>
            <a:off x="3402827" y="1324350"/>
            <a:ext cx="3199983" cy="592205"/>
          </a:xfrm>
          <a:prstGeom prst="chevron">
            <a:avLst/>
          </a:prstGeom>
          <a:solidFill>
            <a:schemeClr val="accent4">
              <a:lumMod val="20000"/>
              <a:lumOff val="80000"/>
            </a:schemeClr>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1218956" rtl="0" eaLnBrk="1" fontAlgn="auto" latinLnBrk="0" hangingPunct="1">
              <a:lnSpc>
                <a:spcPct val="110000"/>
              </a:lnSpc>
              <a:spcBef>
                <a:spcPts val="0"/>
              </a:spcBef>
              <a:spcAft>
                <a:spcPts val="0"/>
              </a:spcAft>
              <a:buClrTx/>
              <a:buSzTx/>
              <a:buFontTx/>
              <a:buNone/>
              <a:tabLst/>
              <a:defRPr/>
            </a:pPr>
            <a:r>
              <a:rPr kumimoji="0" lang="en-US" sz="1400" b="0" i="1" u="none" strike="noStrike" kern="0" cap="none" spc="0" normalizeH="0" baseline="0" noProof="0" dirty="0">
                <a:ln>
                  <a:noFill/>
                </a:ln>
                <a:solidFill>
                  <a:srgbClr val="000000"/>
                </a:solidFill>
                <a:effectLst/>
                <a:uLnTx/>
                <a:uFillTx/>
                <a:latin typeface="IBM Plex Sans Light"/>
                <a:ea typeface="+mj-ea"/>
                <a:cs typeface="+mj-cs"/>
                <a:sym typeface="IBM Plex Sans Light"/>
              </a:rPr>
              <a:t>Employee support </a:t>
            </a:r>
            <a:r>
              <a:rPr kumimoji="0" lang="en-US" sz="14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assistant</a:t>
            </a:r>
          </a:p>
        </p:txBody>
      </p:sp>
      <p:sp>
        <p:nvSpPr>
          <p:cNvPr id="9" name="TextBox 8">
            <a:extLst>
              <a:ext uri="{FF2B5EF4-FFF2-40B4-BE49-F238E27FC236}">
                <a16:creationId xmlns:a16="http://schemas.microsoft.com/office/drawing/2014/main" id="{8FF866D2-EE82-4C2C-9D2E-93CFBFB903DA}"/>
              </a:ext>
            </a:extLst>
          </p:cNvPr>
          <p:cNvSpPr txBox="1"/>
          <p:nvPr/>
        </p:nvSpPr>
        <p:spPr>
          <a:xfrm>
            <a:off x="2240987" y="1322222"/>
            <a:ext cx="748048" cy="59220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US" sz="1200" b="0" i="1" u="none" strike="noStrike" kern="0" cap="none" spc="0" normalizeH="0" baseline="0" noProof="0" dirty="0">
                <a:ln>
                  <a:noFill/>
                </a:ln>
                <a:solidFill>
                  <a:srgbClr val="000000"/>
                </a:solidFill>
                <a:effectLst/>
                <a:uLnTx/>
                <a:uFillTx/>
                <a:latin typeface="IBM Plex Sans Light"/>
                <a:ea typeface="+mn-ea"/>
                <a:cs typeface="+mn-cs"/>
                <a:sym typeface="IBM Plex Sans Light"/>
              </a:rPr>
              <a:t>Use Case </a:t>
            </a:r>
            <a:r>
              <a:rPr kumimoji="0" lang="en-US" sz="1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Assistant</a:t>
            </a:r>
          </a:p>
        </p:txBody>
      </p:sp>
      <p:sp>
        <p:nvSpPr>
          <p:cNvPr id="11" name="TextBox 10">
            <a:extLst>
              <a:ext uri="{FF2B5EF4-FFF2-40B4-BE49-F238E27FC236}">
                <a16:creationId xmlns:a16="http://schemas.microsoft.com/office/drawing/2014/main" id="{C0AEE7DB-B769-354D-6054-FF29D04E68E0}"/>
              </a:ext>
            </a:extLst>
          </p:cNvPr>
          <p:cNvSpPr txBox="1"/>
          <p:nvPr/>
        </p:nvSpPr>
        <p:spPr>
          <a:xfrm>
            <a:off x="2240987" y="4415370"/>
            <a:ext cx="748048" cy="59220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US" sz="1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High value use c</a:t>
            </a:r>
            <a:r>
              <a:rPr kumimoji="0" lang="en-US" sz="1200" b="0" i="0" u="none" strike="noStrike" kern="0" cap="none" spc="0" normalizeH="0" baseline="0" noProof="0" dirty="0" err="1">
                <a:ln>
                  <a:noFill/>
                </a:ln>
                <a:solidFill>
                  <a:srgbClr val="000000"/>
                </a:solidFill>
                <a:effectLst/>
                <a:uLnTx/>
                <a:uFillTx/>
                <a:latin typeface="IBM Plex Sans Light"/>
                <a:ea typeface="+mn-ea"/>
                <a:cs typeface="+mn-cs"/>
                <a:sym typeface="IBM Plex Sans Light"/>
              </a:rPr>
              <a:t>ase</a:t>
            </a:r>
            <a:r>
              <a:rPr kumimoji="0" lang="en-US" sz="1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a:t>
            </a:r>
            <a:r>
              <a:rPr kumimoji="0" lang="en-US" sz="1200" b="1" i="0" u="none" strike="noStrike" kern="0" cap="none" spc="0" normalizeH="0" baseline="0" noProof="0" dirty="0">
                <a:ln>
                  <a:noFill/>
                </a:ln>
                <a:solidFill>
                  <a:srgbClr val="000000"/>
                </a:solidFill>
                <a:effectLst/>
                <a:uLnTx/>
                <a:uFillTx/>
                <a:latin typeface="IBM Plex Sans Light"/>
                <a:ea typeface="+mn-ea"/>
                <a:cs typeface="+mn-cs"/>
                <a:sym typeface="IBM Plex Sans Light"/>
              </a:rPr>
              <a:t>tasks</a:t>
            </a:r>
          </a:p>
        </p:txBody>
      </p:sp>
      <p:sp>
        <p:nvSpPr>
          <p:cNvPr id="12" name="TextBox 11">
            <a:extLst>
              <a:ext uri="{FF2B5EF4-FFF2-40B4-BE49-F238E27FC236}">
                <a16:creationId xmlns:a16="http://schemas.microsoft.com/office/drawing/2014/main" id="{9994B76F-1D5F-C891-65CB-52B5E6269B33}"/>
              </a:ext>
            </a:extLst>
          </p:cNvPr>
          <p:cNvSpPr txBox="1"/>
          <p:nvPr/>
        </p:nvSpPr>
        <p:spPr>
          <a:xfrm>
            <a:off x="2131524" y="599342"/>
            <a:ext cx="966973" cy="59220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US" sz="1200" b="0" i="0" u="none" strike="noStrike" kern="0" cap="none" spc="0" normalizeH="0" baseline="0" noProof="0" dirty="0">
                <a:ln>
                  <a:noFill/>
                </a:ln>
                <a:solidFill>
                  <a:srgbClr val="FF0000"/>
                </a:solidFill>
                <a:effectLst/>
                <a:uLnTx/>
                <a:uFillTx/>
                <a:latin typeface="IBM Plex Sans Light"/>
                <a:ea typeface="+mn-ea"/>
                <a:cs typeface="+mn-cs"/>
                <a:sym typeface="IBM Plex Sans Light"/>
              </a:rPr>
              <a:t>Domain</a:t>
            </a:r>
            <a:r>
              <a:rPr kumimoji="0" lang="en-US" sz="1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Specific Assistant</a:t>
            </a:r>
          </a:p>
        </p:txBody>
      </p:sp>
      <p:sp>
        <p:nvSpPr>
          <p:cNvPr id="13" name="Text Placeholder 3">
            <a:extLst>
              <a:ext uri="{FF2B5EF4-FFF2-40B4-BE49-F238E27FC236}">
                <a16:creationId xmlns:a16="http://schemas.microsoft.com/office/drawing/2014/main" id="{0205656F-7A8F-A7FF-08BA-65C2DDDE6CAB}"/>
              </a:ext>
            </a:extLst>
          </p:cNvPr>
          <p:cNvSpPr txBox="1">
            <a:spLocks/>
          </p:cNvSpPr>
          <p:nvPr/>
        </p:nvSpPr>
        <p:spPr>
          <a:xfrm>
            <a:off x="3402828" y="646277"/>
            <a:ext cx="7289469" cy="592205"/>
          </a:xfrm>
          <a:prstGeom prst="chevron">
            <a:avLst/>
          </a:prstGeom>
          <a:solidFill>
            <a:schemeClr val="bg2">
              <a:lumMod val="75000"/>
            </a:schemeClr>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1218956" rtl="0" eaLnBrk="1" fontAlgn="auto" latinLnBrk="0" hangingPunct="1">
              <a:lnSpc>
                <a:spcPct val="11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w</a:t>
            </a:r>
            <a:r>
              <a:rPr kumimoji="0" lang="en-US" sz="1400" b="0" i="0" u="none" strike="noStrike" kern="0" cap="none" spc="0" normalizeH="0" baseline="0" noProof="0" dirty="0" err="1">
                <a:ln>
                  <a:noFill/>
                </a:ln>
                <a:solidFill>
                  <a:srgbClr val="000000"/>
                </a:solidFill>
                <a:effectLst/>
                <a:uLnTx/>
                <a:uFillTx/>
                <a:latin typeface="IBM Plex Sans Light"/>
                <a:ea typeface="+mj-ea"/>
                <a:cs typeface="+mj-cs"/>
                <a:sym typeface="IBM Plex Sans Light"/>
              </a:rPr>
              <a:t>atsonx</a:t>
            </a:r>
            <a:r>
              <a:rPr kumimoji="0" lang="en-US" sz="14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ssistant for *</a:t>
            </a:r>
            <a:r>
              <a:rPr kumimoji="0" lang="en-US" sz="1400" b="0" i="0" u="none" strike="noStrike" kern="0" cap="none" spc="0" normalizeH="0" baseline="0" noProof="0" dirty="0">
                <a:ln>
                  <a:noFill/>
                </a:ln>
                <a:solidFill>
                  <a:srgbClr val="FF0000"/>
                </a:solidFill>
                <a:effectLst/>
                <a:uLnTx/>
                <a:uFillTx/>
                <a:latin typeface="IBM Plex Sans Light"/>
                <a:ea typeface="+mj-ea"/>
                <a:cs typeface="+mj-cs"/>
                <a:sym typeface="IBM Plex Sans Light"/>
              </a:rPr>
              <a:t>HR</a:t>
            </a:r>
          </a:p>
        </p:txBody>
      </p:sp>
      <p:sp>
        <p:nvSpPr>
          <p:cNvPr id="63" name="TextBox 62">
            <a:extLst>
              <a:ext uri="{FF2B5EF4-FFF2-40B4-BE49-F238E27FC236}">
                <a16:creationId xmlns:a16="http://schemas.microsoft.com/office/drawing/2014/main" id="{08FE7215-A016-389D-D31F-82AC62DF4A3C}"/>
              </a:ext>
            </a:extLst>
          </p:cNvPr>
          <p:cNvSpPr txBox="1"/>
          <p:nvPr/>
        </p:nvSpPr>
        <p:spPr>
          <a:xfrm>
            <a:off x="2131524" y="2507309"/>
            <a:ext cx="966973" cy="59220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US" sz="1200" b="1" i="0" u="none" strike="noStrike" kern="0" cap="none" spc="0" normalizeH="0" baseline="0" noProof="0" dirty="0">
                <a:ln>
                  <a:noFill/>
                </a:ln>
                <a:solidFill>
                  <a:srgbClr val="000000"/>
                </a:solidFill>
                <a:effectLst/>
                <a:uLnTx/>
                <a:uFillTx/>
                <a:latin typeface="IBM Plex Sans Light"/>
                <a:ea typeface="+mn-ea"/>
                <a:cs typeface="+mn-cs"/>
                <a:sym typeface="IBM Plex Sans Light"/>
              </a:rPr>
              <a:t>Use case description</a:t>
            </a:r>
          </a:p>
        </p:txBody>
      </p:sp>
      <p:sp>
        <p:nvSpPr>
          <p:cNvPr id="65" name="TextBox 64">
            <a:extLst>
              <a:ext uri="{FF2B5EF4-FFF2-40B4-BE49-F238E27FC236}">
                <a16:creationId xmlns:a16="http://schemas.microsoft.com/office/drawing/2014/main" id="{4280A651-82F9-F524-C2CB-01F6358515DB}"/>
              </a:ext>
            </a:extLst>
          </p:cNvPr>
          <p:cNvSpPr txBox="1"/>
          <p:nvPr/>
        </p:nvSpPr>
        <p:spPr>
          <a:xfrm>
            <a:off x="2978170" y="895444"/>
            <a:ext cx="244607" cy="200043"/>
          </a:xfrm>
          <a:prstGeom prst="rect">
            <a:avLst/>
          </a:prstGeom>
          <a:noFill/>
        </p:spPr>
        <p:txBody>
          <a:bodyPr wrap="none" lIns="45714" tIns="45714" rIns="45714" bIns="45714" rtlCol="0">
            <a:spAutoFit/>
          </a:bodyPr>
          <a:lstStyle/>
          <a:p>
            <a:pPr marL="0" marR="0" lvl="0" indent="0" algn="l" defTabSz="914507" rtl="0" eaLnBrk="1" fontAlgn="auto" latinLnBrk="0" hangingPunct="1">
              <a:lnSpc>
                <a:spcPct val="100000"/>
              </a:lnSpc>
              <a:spcBef>
                <a:spcPts val="55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NPI</a:t>
            </a:r>
          </a:p>
        </p:txBody>
      </p:sp>
      <p:sp>
        <p:nvSpPr>
          <p:cNvPr id="66" name="TextBox 65">
            <a:extLst>
              <a:ext uri="{FF2B5EF4-FFF2-40B4-BE49-F238E27FC236}">
                <a16:creationId xmlns:a16="http://schemas.microsoft.com/office/drawing/2014/main" id="{A29B2040-F12F-7489-CADD-F1D6A32157DF}"/>
              </a:ext>
            </a:extLst>
          </p:cNvPr>
          <p:cNvSpPr txBox="1"/>
          <p:nvPr/>
        </p:nvSpPr>
        <p:spPr>
          <a:xfrm>
            <a:off x="2978170" y="1487649"/>
            <a:ext cx="239797" cy="200043"/>
          </a:xfrm>
          <a:prstGeom prst="rect">
            <a:avLst/>
          </a:prstGeom>
          <a:noFill/>
        </p:spPr>
        <p:txBody>
          <a:bodyPr wrap="none" lIns="45714" tIns="45714" rIns="45714" bIns="45714" rtlCol="0">
            <a:spAutoFit/>
          </a:bodyPr>
          <a:lstStyle/>
          <a:p>
            <a:pPr marL="0" marR="0" lvl="0" indent="0" algn="l" defTabSz="914507" rtl="0" eaLnBrk="1" fontAlgn="auto" latinLnBrk="0" hangingPunct="1">
              <a:lnSpc>
                <a:spcPct val="100000"/>
              </a:lnSpc>
              <a:spcBef>
                <a:spcPts val="55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NFI</a:t>
            </a:r>
          </a:p>
        </p:txBody>
      </p:sp>
      <p:sp>
        <p:nvSpPr>
          <p:cNvPr id="3" name="Text Placeholder 3">
            <a:extLst>
              <a:ext uri="{FF2B5EF4-FFF2-40B4-BE49-F238E27FC236}">
                <a16:creationId xmlns:a16="http://schemas.microsoft.com/office/drawing/2014/main" id="{7B566A9E-D9BC-5E93-898F-C03D089F2EA2}"/>
              </a:ext>
            </a:extLst>
          </p:cNvPr>
          <p:cNvSpPr txBox="1">
            <a:spLocks/>
          </p:cNvSpPr>
          <p:nvPr/>
        </p:nvSpPr>
        <p:spPr>
          <a:xfrm>
            <a:off x="6814272" y="1324350"/>
            <a:ext cx="3199983" cy="592205"/>
          </a:xfrm>
          <a:prstGeom prst="chevron">
            <a:avLst/>
          </a:prstGeom>
          <a:solidFill>
            <a:schemeClr val="accent4">
              <a:lumMod val="60000"/>
              <a:lumOff val="40000"/>
            </a:schemeClr>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1218956" rtl="0" eaLnBrk="1" fontAlgn="auto" latinLnBrk="0" hangingPunct="1">
              <a:lnSpc>
                <a:spcPct val="110000"/>
              </a:lnSpc>
              <a:spcBef>
                <a:spcPts val="0"/>
              </a:spcBef>
              <a:spcAft>
                <a:spcPts val="0"/>
              </a:spcAft>
              <a:buClrTx/>
              <a:buSzTx/>
              <a:buFontTx/>
              <a:buNone/>
              <a:tabLst/>
              <a:defRPr/>
            </a:pPr>
            <a:r>
              <a:rPr kumimoji="0" lang="en-US" sz="1400" b="0" i="1" u="none" strike="noStrike" kern="0" cap="none" spc="0" normalizeH="0" baseline="0" noProof="0" dirty="0">
                <a:ln>
                  <a:noFill/>
                </a:ln>
                <a:solidFill>
                  <a:srgbClr val="000000"/>
                </a:solidFill>
                <a:effectLst/>
                <a:uLnTx/>
                <a:uFillTx/>
                <a:latin typeface="IBM Plex Sans Light"/>
                <a:ea typeface="+mj-ea"/>
                <a:cs typeface="+mj-cs"/>
                <a:sym typeface="IBM Plex Sans Light"/>
              </a:rPr>
              <a:t>Talent acquisition</a:t>
            </a:r>
            <a:r>
              <a:rPr kumimoji="0" lang="en-US" sz="14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ssistant</a:t>
            </a:r>
          </a:p>
        </p:txBody>
      </p:sp>
      <p:sp>
        <p:nvSpPr>
          <p:cNvPr id="36" name="Text Placeholder 3">
            <a:extLst>
              <a:ext uri="{FF2B5EF4-FFF2-40B4-BE49-F238E27FC236}">
                <a16:creationId xmlns:a16="http://schemas.microsoft.com/office/drawing/2014/main" id="{9200B723-E2AC-321D-3FFF-BA0536BC1039}"/>
              </a:ext>
            </a:extLst>
          </p:cNvPr>
          <p:cNvSpPr txBox="1">
            <a:spLocks/>
          </p:cNvSpPr>
          <p:nvPr/>
        </p:nvSpPr>
        <p:spPr>
          <a:xfrm>
            <a:off x="6922808" y="3713832"/>
            <a:ext cx="1101536" cy="592205"/>
          </a:xfrm>
          <a:prstGeom prst="rect">
            <a:avLst/>
          </a:prstGeom>
          <a:solidFill>
            <a:schemeClr val="accent4">
              <a:lumMod val="60000"/>
              <a:lumOff val="40000"/>
            </a:schemeClr>
          </a:solidFill>
          <a:ln>
            <a:noFill/>
          </a:ln>
        </p:spPr>
        <p:txBody>
          <a:bodyPr vert="horz" lIns="0" tIns="0" rIns="0" bIns="0" rtlCol="0" anchor="ctr"/>
          <a:lstStyle>
            <a:defPPr>
              <a:defRPr lang="en-US"/>
            </a:defPPr>
            <a:lvl1pPr marL="0" algn="r"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ctr" defTabSz="623228" rtl="0" eaLnBrk="0" fontAlgn="auto" latinLnBrk="0" hangingPunct="1">
              <a:lnSpc>
                <a:spcPct val="100000"/>
              </a:lnSpc>
              <a:spcBef>
                <a:spcPts val="0"/>
              </a:spcBef>
              <a:spcAft>
                <a:spcPts val="0"/>
              </a:spcAft>
              <a:buClrTx/>
              <a:buSzPct val="100000"/>
              <a:buFontTx/>
              <a:buNone/>
              <a:tabLst/>
              <a:defRPr/>
            </a:pPr>
            <a:r>
              <a:rPr kumimoji="0" lang="en-GB" sz="1600" b="0" i="0" u="none" strike="noStrike" kern="1300" cap="none" spc="0" normalizeH="0" baseline="0" noProof="0" dirty="0">
                <a:ln>
                  <a:noFill/>
                </a:ln>
                <a:solidFill>
                  <a:srgbClr val="000000"/>
                </a:solidFill>
                <a:effectLst/>
                <a:uLnTx/>
                <a:uFillTx/>
                <a:latin typeface="IBM Plex Sans Light"/>
                <a:ea typeface="+mn-ea"/>
                <a:cs typeface="Calibri" panose="020F0502020204030204" pitchFamily="34" charset="0"/>
              </a:rPr>
              <a:t>84% </a:t>
            </a:r>
          </a:p>
          <a:p>
            <a:pPr marL="0" marR="0" lvl="0" indent="0" algn="ctr" defTabSz="623228" rtl="0" eaLnBrk="0" fontAlgn="auto" latinLnBrk="0" hangingPunct="1">
              <a:lnSpc>
                <a:spcPct val="100000"/>
              </a:lnSpc>
              <a:spcBef>
                <a:spcPts val="0"/>
              </a:spcBef>
              <a:spcAft>
                <a:spcPts val="0"/>
              </a:spcAft>
              <a:buClrTx/>
              <a:buSzPct val="100000"/>
              <a:buFontTx/>
              <a:buNone/>
              <a:tabLst/>
              <a:defRPr/>
            </a:pPr>
            <a:r>
              <a:rPr kumimoji="0" lang="en-GB" sz="900" b="0" i="0" u="none" strike="noStrike" kern="1300" cap="none" spc="0" normalizeH="0" baseline="0" noProof="0" dirty="0">
                <a:ln>
                  <a:noFill/>
                </a:ln>
                <a:solidFill>
                  <a:srgbClr val="000000"/>
                </a:solidFill>
                <a:effectLst/>
                <a:uLnTx/>
                <a:uFillTx/>
                <a:latin typeface="IBM Plex Sans Light"/>
                <a:ea typeface="+mn-ea"/>
                <a:cs typeface="Calibri" panose="020F0502020204030204" pitchFamily="34" charset="0"/>
              </a:rPr>
              <a:t>decrease in            time to hire</a:t>
            </a:r>
            <a:r>
              <a:rPr kumimoji="0" lang="en-GB" sz="900" b="0" i="0" u="none" strike="noStrike" kern="1300" cap="none" spc="0" normalizeH="0" baseline="30000" noProof="0" dirty="0">
                <a:ln>
                  <a:noFill/>
                </a:ln>
                <a:solidFill>
                  <a:srgbClr val="000000"/>
                </a:solidFill>
                <a:effectLst/>
                <a:uLnTx/>
                <a:uFillTx/>
                <a:latin typeface="IBM Plex Sans Light"/>
                <a:ea typeface="+mn-ea"/>
                <a:cs typeface="Calibri" panose="020F0502020204030204" pitchFamily="34" charset="0"/>
              </a:rPr>
              <a:t>1</a:t>
            </a:r>
            <a:endPar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
        <p:nvSpPr>
          <p:cNvPr id="38" name="Text Placeholder 3">
            <a:extLst>
              <a:ext uri="{FF2B5EF4-FFF2-40B4-BE49-F238E27FC236}">
                <a16:creationId xmlns:a16="http://schemas.microsoft.com/office/drawing/2014/main" id="{21FE1012-C6D5-B2F6-BDEF-C52B6DE88684}"/>
              </a:ext>
            </a:extLst>
          </p:cNvPr>
          <p:cNvSpPr txBox="1">
            <a:spLocks/>
          </p:cNvSpPr>
          <p:nvPr/>
        </p:nvSpPr>
        <p:spPr>
          <a:xfrm>
            <a:off x="3455912" y="3713832"/>
            <a:ext cx="1101536" cy="592205"/>
          </a:xfrm>
          <a:prstGeom prst="rect">
            <a:avLst/>
          </a:prstGeom>
          <a:solidFill>
            <a:schemeClr val="accent4">
              <a:lumMod val="20000"/>
              <a:lumOff val="80000"/>
            </a:schemeClr>
          </a:solidFill>
          <a:ln w="12700">
            <a:no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623228" rtl="0" eaLnBrk="0" fontAlgn="auto" latinLnBrk="0" hangingPunct="1">
              <a:lnSpc>
                <a:spcPct val="110000"/>
              </a:lnSpc>
              <a:spcBef>
                <a:spcPts val="0"/>
              </a:spcBef>
              <a:spcAft>
                <a:spcPts val="0"/>
              </a:spcAft>
              <a:buClrTx/>
              <a:buSzPct val="100000"/>
              <a:buFontTx/>
              <a:buNone/>
              <a:tabLst/>
              <a:defRPr/>
            </a:pPr>
            <a:r>
              <a:rPr kumimoji="0" lang="en-GB" sz="16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33K</a:t>
            </a:r>
          </a:p>
          <a:p>
            <a:pPr marL="0" marR="0" lvl="0" indent="0" algn="ctr" defTabSz="623228" rtl="0" eaLnBrk="0" fontAlgn="auto" latinLnBrk="0" hangingPunct="1">
              <a:lnSpc>
                <a:spcPct val="110000"/>
              </a:lnSpc>
              <a:spcBef>
                <a:spcPts val="0"/>
              </a:spcBef>
              <a:spcAft>
                <a:spcPts val="0"/>
              </a:spcAft>
              <a:buClrTx/>
              <a:buSzPct val="100000"/>
              <a:buFontTx/>
              <a:buNone/>
              <a:tabLst/>
              <a:defRPr/>
            </a:pPr>
            <a:r>
              <a:rPr kumimoji="0" lang="en-GB" sz="9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hours saved by self-serviced queries</a:t>
            </a:r>
            <a:r>
              <a:rPr kumimoji="0" lang="en-GB" sz="900" b="0" i="0" u="none" strike="noStrike" kern="1300" cap="none" spc="0" normalizeH="0" baseline="30000" noProof="0" dirty="0">
                <a:ln>
                  <a:noFill/>
                </a:ln>
                <a:solidFill>
                  <a:srgbClr val="000000"/>
                </a:solidFill>
                <a:effectLst/>
                <a:uLnTx/>
                <a:uFillTx/>
                <a:latin typeface="IBM Plex Sans Light"/>
                <a:ea typeface="+mj-ea"/>
                <a:cs typeface="Calibri" panose="020F0502020204030204" pitchFamily="34" charset="0"/>
                <a:sym typeface="IBM Plex Sans Light"/>
              </a:rPr>
              <a:t>7</a:t>
            </a:r>
            <a:r>
              <a:rPr kumimoji="0" lang="en-GB" sz="9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 </a:t>
            </a:r>
            <a:endParaRPr kumimoji="0" lang="en-US" sz="9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39" name="TextBox 38">
            <a:extLst>
              <a:ext uri="{FF2B5EF4-FFF2-40B4-BE49-F238E27FC236}">
                <a16:creationId xmlns:a16="http://schemas.microsoft.com/office/drawing/2014/main" id="{A31893C6-F842-75E1-43DD-37818D3AC76B}"/>
              </a:ext>
            </a:extLst>
          </p:cNvPr>
          <p:cNvSpPr txBox="1"/>
          <p:nvPr/>
        </p:nvSpPr>
        <p:spPr>
          <a:xfrm>
            <a:off x="2244255" y="3663176"/>
            <a:ext cx="748048" cy="59220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US" sz="1200" b="1" i="0" u="none" strike="noStrike" kern="0" cap="none" spc="0" normalizeH="0" baseline="0" noProof="0" dirty="0">
                <a:ln>
                  <a:noFill/>
                </a:ln>
                <a:solidFill>
                  <a:srgbClr val="000000"/>
                </a:solidFill>
                <a:effectLst/>
                <a:uLnTx/>
                <a:uFillTx/>
                <a:latin typeface="IBM Plex Sans Light"/>
                <a:ea typeface="+mn-ea"/>
                <a:cs typeface="+mn-cs"/>
                <a:sym typeface="IBM Plex Sans Light"/>
              </a:rPr>
              <a:t>ROI</a:t>
            </a:r>
          </a:p>
        </p:txBody>
      </p:sp>
      <p:sp>
        <p:nvSpPr>
          <p:cNvPr id="40" name="Text Placeholder 3">
            <a:extLst>
              <a:ext uri="{FF2B5EF4-FFF2-40B4-BE49-F238E27FC236}">
                <a16:creationId xmlns:a16="http://schemas.microsoft.com/office/drawing/2014/main" id="{75430B0E-5108-BE7C-746F-03E2DD6FD0C8}"/>
              </a:ext>
            </a:extLst>
          </p:cNvPr>
          <p:cNvSpPr txBox="1">
            <a:spLocks/>
          </p:cNvSpPr>
          <p:nvPr/>
        </p:nvSpPr>
        <p:spPr>
          <a:xfrm>
            <a:off x="7944604" y="3713832"/>
            <a:ext cx="1101536" cy="592205"/>
          </a:xfrm>
          <a:prstGeom prst="rect">
            <a:avLst/>
          </a:prstGeom>
          <a:solidFill>
            <a:schemeClr val="accent4">
              <a:lumMod val="60000"/>
              <a:lumOff val="40000"/>
            </a:schemeClr>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623228" rtl="0" eaLnBrk="0" fontAlgn="auto" latinLnBrk="0" hangingPunct="1">
              <a:lnSpc>
                <a:spcPct val="110000"/>
              </a:lnSpc>
              <a:spcBef>
                <a:spcPts val="0"/>
              </a:spcBef>
              <a:spcAft>
                <a:spcPts val="0"/>
              </a:spcAft>
              <a:buClrTx/>
              <a:buSzPct val="100000"/>
              <a:buFontTx/>
              <a:buNone/>
              <a:tabLst/>
              <a:defRPr/>
            </a:pPr>
            <a:r>
              <a:rPr kumimoji="0" lang="en-GB" sz="16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30% </a:t>
            </a:r>
          </a:p>
          <a:p>
            <a:pPr marL="0" marR="0" lvl="0" indent="0" algn="ctr" defTabSz="623228" rtl="0" eaLnBrk="0" fontAlgn="auto" latinLnBrk="0" hangingPunct="1">
              <a:lnSpc>
                <a:spcPct val="110000"/>
              </a:lnSpc>
              <a:spcBef>
                <a:spcPts val="0"/>
              </a:spcBef>
              <a:spcAft>
                <a:spcPts val="0"/>
              </a:spcAft>
              <a:buClrTx/>
              <a:buSzPct val="100000"/>
              <a:buFontTx/>
              <a:buNone/>
              <a:tabLst/>
              <a:defRPr/>
            </a:pPr>
            <a:r>
              <a:rPr kumimoji="0" lang="en-GB" sz="9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increase in            hires per month</a:t>
            </a:r>
            <a:r>
              <a:rPr kumimoji="0" lang="en-GB" sz="900" b="0" i="0" u="none" strike="noStrike" kern="1300" cap="none" spc="0" normalizeH="0" baseline="30000" noProof="0" dirty="0">
                <a:ln>
                  <a:noFill/>
                </a:ln>
                <a:solidFill>
                  <a:srgbClr val="000000"/>
                </a:solidFill>
                <a:effectLst/>
                <a:uLnTx/>
                <a:uFillTx/>
                <a:latin typeface="IBM Plex Sans Light"/>
                <a:ea typeface="+mj-ea"/>
                <a:cs typeface="Calibri" panose="020F0502020204030204" pitchFamily="34" charset="0"/>
                <a:sym typeface="IBM Plex Sans Light"/>
              </a:rPr>
              <a:t>2</a:t>
            </a:r>
            <a:endParaRPr kumimoji="0" lang="en-US" sz="9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41" name="Text Placeholder 3">
            <a:extLst>
              <a:ext uri="{FF2B5EF4-FFF2-40B4-BE49-F238E27FC236}">
                <a16:creationId xmlns:a16="http://schemas.microsoft.com/office/drawing/2014/main" id="{FCC61510-E3E6-EF2B-60D0-EB77C92A6CE2}"/>
              </a:ext>
            </a:extLst>
          </p:cNvPr>
          <p:cNvSpPr txBox="1">
            <a:spLocks/>
          </p:cNvSpPr>
          <p:nvPr/>
        </p:nvSpPr>
        <p:spPr>
          <a:xfrm>
            <a:off x="8966399" y="3713832"/>
            <a:ext cx="1101536" cy="592205"/>
          </a:xfrm>
          <a:prstGeom prst="rect">
            <a:avLst/>
          </a:prstGeom>
          <a:solidFill>
            <a:schemeClr val="accent4">
              <a:lumMod val="60000"/>
              <a:lumOff val="40000"/>
            </a:schemeClr>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623228" rtl="0" eaLnBrk="0" fontAlgn="auto" latinLnBrk="0" hangingPunct="1">
              <a:lnSpc>
                <a:spcPct val="110000"/>
              </a:lnSpc>
              <a:spcBef>
                <a:spcPts val="0"/>
              </a:spcBef>
              <a:spcAft>
                <a:spcPts val="0"/>
              </a:spcAft>
              <a:buClrTx/>
              <a:buSzPct val="100000"/>
              <a:buFontTx/>
              <a:buNone/>
              <a:tabLst/>
              <a:defRPr/>
            </a:pPr>
            <a:r>
              <a:rPr kumimoji="0" lang="en-GB" sz="16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30% </a:t>
            </a:r>
          </a:p>
          <a:p>
            <a:pPr marL="0" marR="0" lvl="0" indent="0" algn="ctr" defTabSz="623228" rtl="0" eaLnBrk="0" fontAlgn="auto" latinLnBrk="0" hangingPunct="1">
              <a:lnSpc>
                <a:spcPct val="110000"/>
              </a:lnSpc>
              <a:spcBef>
                <a:spcPts val="0"/>
              </a:spcBef>
              <a:spcAft>
                <a:spcPts val="0"/>
              </a:spcAft>
              <a:buClrTx/>
              <a:buSzPct val="100000"/>
              <a:buFontTx/>
              <a:buNone/>
              <a:tabLst/>
              <a:defRPr/>
            </a:pPr>
            <a:r>
              <a:rPr kumimoji="0" lang="en-GB" sz="9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decrease in            year 1 turnover</a:t>
            </a:r>
            <a:r>
              <a:rPr kumimoji="0" lang="en-GB" sz="900" b="0" i="0" u="none" strike="noStrike" kern="1300" cap="none" spc="0" normalizeH="0" baseline="30000" noProof="0" dirty="0">
                <a:ln>
                  <a:noFill/>
                </a:ln>
                <a:solidFill>
                  <a:srgbClr val="000000"/>
                </a:solidFill>
                <a:effectLst/>
                <a:uLnTx/>
                <a:uFillTx/>
                <a:latin typeface="IBM Plex Sans Light"/>
                <a:ea typeface="+mj-ea"/>
                <a:cs typeface="Calibri" panose="020F0502020204030204" pitchFamily="34" charset="0"/>
                <a:sym typeface="IBM Plex Sans Light"/>
              </a:rPr>
              <a:t>3</a:t>
            </a:r>
            <a:endParaRPr kumimoji="0" lang="en-US" sz="9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44" name="Text Placeholder 3">
            <a:extLst>
              <a:ext uri="{FF2B5EF4-FFF2-40B4-BE49-F238E27FC236}">
                <a16:creationId xmlns:a16="http://schemas.microsoft.com/office/drawing/2014/main" id="{E43E9AA3-EFC1-C764-8F95-20C28E5C9B7C}"/>
              </a:ext>
            </a:extLst>
          </p:cNvPr>
          <p:cNvSpPr txBox="1">
            <a:spLocks/>
          </p:cNvSpPr>
          <p:nvPr/>
        </p:nvSpPr>
        <p:spPr>
          <a:xfrm>
            <a:off x="4479010" y="3713832"/>
            <a:ext cx="1101536" cy="592205"/>
          </a:xfrm>
          <a:prstGeom prst="rect">
            <a:avLst/>
          </a:prstGeom>
          <a:solidFill>
            <a:schemeClr val="accent4">
              <a:lumMod val="20000"/>
              <a:lumOff val="80000"/>
            </a:schemeClr>
          </a:solidFill>
          <a:ln w="12700">
            <a:no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623228" rtl="0" eaLnBrk="0" fontAlgn="auto" latinLnBrk="0" hangingPunct="1">
              <a:lnSpc>
                <a:spcPct val="110000"/>
              </a:lnSpc>
              <a:spcBef>
                <a:spcPts val="0"/>
              </a:spcBef>
              <a:spcAft>
                <a:spcPts val="0"/>
              </a:spcAft>
              <a:buClrTx/>
              <a:buSzPct val="100000"/>
              <a:buFontTx/>
              <a:buNone/>
              <a:tabLst/>
              <a:defRPr/>
            </a:pPr>
            <a:r>
              <a:rPr kumimoji="0" lang="en-GB" sz="16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61%</a:t>
            </a:r>
          </a:p>
          <a:p>
            <a:pPr marL="0" marR="0" lvl="0" indent="0" algn="ctr" defTabSz="623228" rtl="0" eaLnBrk="0" fontAlgn="auto" latinLnBrk="0" hangingPunct="1">
              <a:lnSpc>
                <a:spcPct val="110000"/>
              </a:lnSpc>
              <a:spcBef>
                <a:spcPts val="0"/>
              </a:spcBef>
              <a:spcAft>
                <a:spcPts val="0"/>
              </a:spcAft>
              <a:buClrTx/>
              <a:buSzPct val="100000"/>
              <a:buFontTx/>
              <a:buNone/>
              <a:tabLst/>
              <a:defRPr/>
            </a:pPr>
            <a:r>
              <a:rPr kumimoji="0" lang="en-GB" sz="9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reduction in       tickets raised</a:t>
            </a:r>
            <a:r>
              <a:rPr kumimoji="0" lang="en-GB" sz="900" b="0" i="0" u="none" strike="noStrike" kern="1300" cap="none" spc="0" normalizeH="0" baseline="30000" noProof="0" dirty="0">
                <a:ln>
                  <a:noFill/>
                </a:ln>
                <a:solidFill>
                  <a:srgbClr val="000000"/>
                </a:solidFill>
                <a:effectLst/>
                <a:uLnTx/>
                <a:uFillTx/>
                <a:latin typeface="IBM Plex Sans Light"/>
                <a:ea typeface="+mj-ea"/>
                <a:cs typeface="Calibri" panose="020F0502020204030204" pitchFamily="34" charset="0"/>
                <a:sym typeface="IBM Plex Sans Light"/>
              </a:rPr>
              <a:t>8</a:t>
            </a:r>
            <a:endParaRPr kumimoji="0" lang="en-US" sz="9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45" name="Text Placeholder 3">
            <a:extLst>
              <a:ext uri="{FF2B5EF4-FFF2-40B4-BE49-F238E27FC236}">
                <a16:creationId xmlns:a16="http://schemas.microsoft.com/office/drawing/2014/main" id="{C825D30B-AAEB-E500-5B22-CD8D5354B20D}"/>
              </a:ext>
            </a:extLst>
          </p:cNvPr>
          <p:cNvSpPr txBox="1">
            <a:spLocks/>
          </p:cNvSpPr>
          <p:nvPr/>
        </p:nvSpPr>
        <p:spPr>
          <a:xfrm>
            <a:off x="5502108" y="3713832"/>
            <a:ext cx="1101536" cy="592205"/>
          </a:xfrm>
          <a:prstGeom prst="rect">
            <a:avLst/>
          </a:prstGeom>
          <a:solidFill>
            <a:schemeClr val="accent4">
              <a:lumMod val="20000"/>
              <a:lumOff val="80000"/>
            </a:schemeClr>
          </a:solidFill>
          <a:ln w="12700">
            <a:no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623228" rtl="0" eaLnBrk="0" fontAlgn="auto" latinLnBrk="0" hangingPunct="1">
              <a:lnSpc>
                <a:spcPct val="110000"/>
              </a:lnSpc>
              <a:spcBef>
                <a:spcPts val="0"/>
              </a:spcBef>
              <a:spcAft>
                <a:spcPts val="0"/>
              </a:spcAft>
              <a:buClrTx/>
              <a:buSzPct val="100000"/>
              <a:buFontTx/>
              <a:buNone/>
              <a:tabLst/>
              <a:defRPr/>
            </a:pPr>
            <a:r>
              <a:rPr kumimoji="0" lang="en-GB" sz="16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5M</a:t>
            </a:r>
          </a:p>
          <a:p>
            <a:pPr marL="0" marR="0" lvl="0" indent="0" algn="ctr" defTabSz="623228" rtl="0" eaLnBrk="0" fontAlgn="auto" latinLnBrk="0" hangingPunct="1">
              <a:lnSpc>
                <a:spcPct val="110000"/>
              </a:lnSpc>
              <a:spcBef>
                <a:spcPts val="0"/>
              </a:spcBef>
              <a:spcAft>
                <a:spcPts val="0"/>
              </a:spcAft>
              <a:buClrTx/>
              <a:buSzPct val="100000"/>
              <a:buFontTx/>
              <a:buNone/>
              <a:tabLst/>
              <a:defRPr/>
            </a:pPr>
            <a:r>
              <a:rPr kumimoji="0" lang="en-GB" sz="8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improvement in productivity</a:t>
            </a:r>
            <a:r>
              <a:rPr kumimoji="0" lang="en-GB" sz="800" b="0" i="0" u="none" strike="noStrike" kern="1300" cap="none" spc="0" normalizeH="0" baseline="30000" noProof="0" dirty="0">
                <a:ln>
                  <a:noFill/>
                </a:ln>
                <a:solidFill>
                  <a:srgbClr val="000000"/>
                </a:solidFill>
                <a:effectLst/>
                <a:uLnTx/>
                <a:uFillTx/>
                <a:latin typeface="IBM Plex Sans Light"/>
                <a:ea typeface="+mj-ea"/>
                <a:cs typeface="Calibri" panose="020F0502020204030204" pitchFamily="34" charset="0"/>
                <a:sym typeface="IBM Plex Sans Light"/>
              </a:rPr>
              <a:t>8</a:t>
            </a:r>
            <a:endParaRPr kumimoji="0" lang="en-US" sz="8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48" name="TextBox 47">
            <a:extLst>
              <a:ext uri="{FF2B5EF4-FFF2-40B4-BE49-F238E27FC236}">
                <a16:creationId xmlns:a16="http://schemas.microsoft.com/office/drawing/2014/main" id="{D4E03E36-64F3-4422-7F90-580184663A97}"/>
              </a:ext>
            </a:extLst>
          </p:cNvPr>
          <p:cNvSpPr txBox="1"/>
          <p:nvPr/>
        </p:nvSpPr>
        <p:spPr>
          <a:xfrm>
            <a:off x="10014255" y="1464962"/>
            <a:ext cx="507953" cy="646331"/>
          </a:xfrm>
          <a:prstGeom prst="rect">
            <a:avLst/>
          </a:prstGeom>
          <a:noFill/>
        </p:spPr>
        <p:txBody>
          <a:bodyPr wrap="square">
            <a:spAutoFit/>
          </a:body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a:t>
            </a:r>
            <a:endParaRPr kumimoji="0" lang="en-US" sz="18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49" name="TextBox 48">
            <a:extLst>
              <a:ext uri="{FF2B5EF4-FFF2-40B4-BE49-F238E27FC236}">
                <a16:creationId xmlns:a16="http://schemas.microsoft.com/office/drawing/2014/main" id="{96AF96D3-4537-7A26-63FC-A3A8BABF5235}"/>
              </a:ext>
            </a:extLst>
          </p:cNvPr>
          <p:cNvSpPr txBox="1"/>
          <p:nvPr/>
        </p:nvSpPr>
        <p:spPr>
          <a:xfrm>
            <a:off x="6662960" y="1462873"/>
            <a:ext cx="319998" cy="369332"/>
          </a:xfrm>
          <a:prstGeom prst="rect">
            <a:avLst/>
          </a:prstGeom>
          <a:noFill/>
        </p:spPr>
        <p:txBody>
          <a:bodyPr wrap="square">
            <a:spAutoFit/>
          </a:body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a:t>
            </a:r>
            <a:endParaRPr kumimoji="0" lang="en-US" sz="18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50" name="TextBox 49">
            <a:extLst>
              <a:ext uri="{FF2B5EF4-FFF2-40B4-BE49-F238E27FC236}">
                <a16:creationId xmlns:a16="http://schemas.microsoft.com/office/drawing/2014/main" id="{608CA814-14DF-FA91-B3C6-5D5B7610AE6A}"/>
              </a:ext>
            </a:extLst>
          </p:cNvPr>
          <p:cNvSpPr txBox="1"/>
          <p:nvPr/>
        </p:nvSpPr>
        <p:spPr>
          <a:xfrm>
            <a:off x="2240987" y="1901819"/>
            <a:ext cx="748048" cy="59220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US" sz="1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Persona(s)</a:t>
            </a:r>
          </a:p>
        </p:txBody>
      </p:sp>
      <p:sp>
        <p:nvSpPr>
          <p:cNvPr id="51" name="Text Placeholder 3">
            <a:extLst>
              <a:ext uri="{FF2B5EF4-FFF2-40B4-BE49-F238E27FC236}">
                <a16:creationId xmlns:a16="http://schemas.microsoft.com/office/drawing/2014/main" id="{75382673-F0F6-5F99-3346-B8E06651FB43}"/>
              </a:ext>
            </a:extLst>
          </p:cNvPr>
          <p:cNvSpPr txBox="1">
            <a:spLocks/>
          </p:cNvSpPr>
          <p:nvPr/>
        </p:nvSpPr>
        <p:spPr>
          <a:xfrm>
            <a:off x="3455912" y="2009833"/>
            <a:ext cx="3146899" cy="460240"/>
          </a:xfrm>
          <a:prstGeom prst="rect">
            <a:avLst/>
          </a:prstGeom>
          <a:solidFill>
            <a:schemeClr val="accent4">
              <a:lumMod val="20000"/>
              <a:lumOff val="80000"/>
            </a:schemeClr>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335975" marR="0" lvl="1" indent="-171416" algn="l" defTabSz="1218956"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Employees and managers</a:t>
            </a:r>
          </a:p>
          <a:p>
            <a:pPr marL="335975" marR="0" lvl="1" indent="-171416" algn="l" defTabSz="1218956"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Executives</a:t>
            </a:r>
          </a:p>
        </p:txBody>
      </p:sp>
      <p:sp>
        <p:nvSpPr>
          <p:cNvPr id="52" name="Text Placeholder 3">
            <a:extLst>
              <a:ext uri="{FF2B5EF4-FFF2-40B4-BE49-F238E27FC236}">
                <a16:creationId xmlns:a16="http://schemas.microsoft.com/office/drawing/2014/main" id="{205AE4B9-746D-581D-0C7B-B6B34910BF51}"/>
              </a:ext>
            </a:extLst>
          </p:cNvPr>
          <p:cNvSpPr txBox="1">
            <a:spLocks/>
          </p:cNvSpPr>
          <p:nvPr/>
        </p:nvSpPr>
        <p:spPr>
          <a:xfrm>
            <a:off x="3455912" y="2591638"/>
            <a:ext cx="3146899" cy="460240"/>
          </a:xfrm>
          <a:prstGeom prst="rect">
            <a:avLst/>
          </a:prstGeom>
          <a:solidFill>
            <a:schemeClr val="accent4">
              <a:lumMod val="20000"/>
              <a:lumOff val="80000"/>
            </a:schemeClr>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164559" marR="0" lvl="1" indent="0" algn="l" defTabSz="1218956" rtl="0" eaLnBrk="1" fontAlgn="auto" latinLnBrk="0" hangingPunct="1">
              <a:lnSpc>
                <a:spcPct val="110000"/>
              </a:lnSpc>
              <a:spcBef>
                <a:spcPts val="0"/>
              </a:spcBef>
              <a:spcAft>
                <a:spcPts val="0"/>
              </a:spcAft>
              <a:buClrTx/>
              <a:buSzPct val="100000"/>
              <a:buFontTx/>
              <a:buNone/>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Employees resolve HR related matters efficiently without being an HR expert</a:t>
            </a:r>
          </a:p>
        </p:txBody>
      </p:sp>
      <p:sp>
        <p:nvSpPr>
          <p:cNvPr id="53" name="Text Placeholder 3">
            <a:extLst>
              <a:ext uri="{FF2B5EF4-FFF2-40B4-BE49-F238E27FC236}">
                <a16:creationId xmlns:a16="http://schemas.microsoft.com/office/drawing/2014/main" id="{51E8C034-2CA4-5546-7B03-C166E19B208C}"/>
              </a:ext>
            </a:extLst>
          </p:cNvPr>
          <p:cNvSpPr txBox="1">
            <a:spLocks/>
          </p:cNvSpPr>
          <p:nvPr/>
        </p:nvSpPr>
        <p:spPr>
          <a:xfrm>
            <a:off x="6922809" y="2009833"/>
            <a:ext cx="3145126" cy="460240"/>
          </a:xfrm>
          <a:prstGeom prst="rect">
            <a:avLst/>
          </a:prstGeom>
          <a:solidFill>
            <a:schemeClr val="accent4">
              <a:lumMod val="60000"/>
              <a:lumOff val="40000"/>
            </a:schemeClr>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335975" marR="0" lvl="1" indent="-171416" algn="l" defTabSz="1218956"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Talent recruiter and hiring manager</a:t>
            </a:r>
          </a:p>
          <a:p>
            <a:pPr marL="335975" marR="0" lvl="1" indent="-171416" algn="l" defTabSz="1218956"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Candidate</a:t>
            </a:r>
          </a:p>
        </p:txBody>
      </p:sp>
      <p:sp>
        <p:nvSpPr>
          <p:cNvPr id="56" name="TextBox 55">
            <a:extLst>
              <a:ext uri="{FF2B5EF4-FFF2-40B4-BE49-F238E27FC236}">
                <a16:creationId xmlns:a16="http://schemas.microsoft.com/office/drawing/2014/main" id="{E7E93075-4364-D0C0-BFED-B48684EC41F5}"/>
              </a:ext>
            </a:extLst>
          </p:cNvPr>
          <p:cNvSpPr txBox="1"/>
          <p:nvPr/>
        </p:nvSpPr>
        <p:spPr>
          <a:xfrm>
            <a:off x="2131524" y="3008143"/>
            <a:ext cx="966973" cy="59220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US" sz="1200" b="1" i="0" u="none" strike="noStrike" kern="0" cap="none" spc="0" normalizeH="0" baseline="0" noProof="0" dirty="0">
                <a:ln>
                  <a:noFill/>
                </a:ln>
                <a:solidFill>
                  <a:srgbClr val="000000"/>
                </a:solidFill>
                <a:effectLst/>
                <a:uLnTx/>
                <a:uFillTx/>
                <a:latin typeface="IBM Plex Sans Light"/>
                <a:ea typeface="+mn-ea"/>
                <a:cs typeface="+mn-cs"/>
                <a:sym typeface="IBM Plex Sans Light"/>
              </a:rPr>
              <a:t>O</a:t>
            </a:r>
            <a:r>
              <a:rPr kumimoji="0" lang="en-US" sz="1200" b="1" i="0" u="none" strike="noStrike" kern="0" cap="none" spc="0" normalizeH="0" baseline="0" noProof="0" dirty="0" err="1">
                <a:ln>
                  <a:noFill/>
                </a:ln>
                <a:solidFill>
                  <a:srgbClr val="000000"/>
                </a:solidFill>
                <a:effectLst/>
                <a:uLnTx/>
                <a:uFillTx/>
                <a:latin typeface="IBM Plex Sans Light"/>
                <a:ea typeface="+mn-ea"/>
                <a:cs typeface="+mn-cs"/>
                <a:sym typeface="IBM Plex Sans Light"/>
              </a:rPr>
              <a:t>utcome</a:t>
            </a:r>
            <a:endParaRPr kumimoji="0" lang="en-US" sz="1200" b="1"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57" name="Text Placeholder 3">
            <a:extLst>
              <a:ext uri="{FF2B5EF4-FFF2-40B4-BE49-F238E27FC236}">
                <a16:creationId xmlns:a16="http://schemas.microsoft.com/office/drawing/2014/main" id="{4B3402FB-599C-9699-48A3-444AD6B1B3A2}"/>
              </a:ext>
            </a:extLst>
          </p:cNvPr>
          <p:cNvSpPr txBox="1">
            <a:spLocks/>
          </p:cNvSpPr>
          <p:nvPr/>
        </p:nvSpPr>
        <p:spPr>
          <a:xfrm>
            <a:off x="3455912" y="3169831"/>
            <a:ext cx="3146899" cy="430517"/>
          </a:xfrm>
          <a:prstGeom prst="rect">
            <a:avLst/>
          </a:prstGeom>
          <a:solidFill>
            <a:schemeClr val="accent4">
              <a:lumMod val="20000"/>
              <a:lumOff val="80000"/>
            </a:schemeClr>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164559" marR="0" lvl="1" indent="0" algn="l" defTabSz="1218956" rtl="0" eaLnBrk="1" fontAlgn="auto" latinLnBrk="0" hangingPunct="1">
              <a:lnSpc>
                <a:spcPct val="110000"/>
              </a:lnSpc>
              <a:spcBef>
                <a:spcPts val="0"/>
              </a:spcBef>
              <a:spcAft>
                <a:spcPts val="0"/>
              </a:spcAft>
              <a:buClrTx/>
              <a:buSzPct val="100000"/>
              <a:buFontTx/>
              <a:buNone/>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Instant and frictionless e</a:t>
            </a:r>
            <a:r>
              <a:rPr kumimoji="0" lang="en-US" sz="1200" b="0" i="0" u="none" strike="noStrike" kern="0" cap="none" spc="0" normalizeH="0" baseline="0" noProof="0" dirty="0" err="1">
                <a:ln>
                  <a:noFill/>
                </a:ln>
                <a:solidFill>
                  <a:srgbClr val="000000"/>
                </a:solidFill>
                <a:effectLst/>
                <a:uLnTx/>
                <a:uFillTx/>
                <a:latin typeface="IBM Plex Sans Light"/>
                <a:ea typeface="+mj-ea"/>
                <a:cs typeface="+mj-cs"/>
                <a:sym typeface="IBM Plex Sans Light"/>
              </a:rPr>
              <a:t>mployee</a:t>
            </a: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self serve</a:t>
            </a:r>
          </a:p>
        </p:txBody>
      </p:sp>
      <p:sp>
        <p:nvSpPr>
          <p:cNvPr id="58" name="Text Placeholder 3">
            <a:extLst>
              <a:ext uri="{FF2B5EF4-FFF2-40B4-BE49-F238E27FC236}">
                <a16:creationId xmlns:a16="http://schemas.microsoft.com/office/drawing/2014/main" id="{6D568D98-5C58-08A3-2700-93EFB089BFE9}"/>
              </a:ext>
            </a:extLst>
          </p:cNvPr>
          <p:cNvSpPr txBox="1">
            <a:spLocks/>
          </p:cNvSpPr>
          <p:nvPr/>
        </p:nvSpPr>
        <p:spPr>
          <a:xfrm>
            <a:off x="6922809" y="3176216"/>
            <a:ext cx="3145126" cy="424132"/>
          </a:xfrm>
          <a:prstGeom prst="rect">
            <a:avLst/>
          </a:prstGeom>
          <a:solidFill>
            <a:schemeClr val="accent4">
              <a:lumMod val="60000"/>
              <a:lumOff val="40000"/>
            </a:schemeClr>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164559" marR="0" lvl="1" indent="0" algn="l" defTabSz="1218956" rtl="0" eaLnBrk="1" fontAlgn="auto" latinLnBrk="0" hangingPunct="1">
              <a:lnSpc>
                <a:spcPct val="110000"/>
              </a:lnSpc>
              <a:spcBef>
                <a:spcPts val="0"/>
              </a:spcBef>
              <a:spcAft>
                <a:spcPts val="0"/>
              </a:spcAft>
              <a:buClrTx/>
              <a:buSzPct val="100000"/>
              <a:buFontTx/>
              <a:buNone/>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New t</a:t>
            </a:r>
            <a:r>
              <a:rPr kumimoji="0" lang="en-US" sz="1200" b="0" i="0" u="none" strike="noStrike" kern="0" cap="none" spc="0" normalizeH="0" baseline="0" noProof="0" dirty="0" err="1">
                <a:ln>
                  <a:noFill/>
                </a:ln>
                <a:solidFill>
                  <a:srgbClr val="000000"/>
                </a:solidFill>
                <a:effectLst/>
                <a:uLnTx/>
                <a:uFillTx/>
                <a:latin typeface="IBM Plex Sans Light"/>
                <a:ea typeface="+mj-ea"/>
                <a:cs typeface="+mj-cs"/>
                <a:sym typeface="IBM Plex Sans Light"/>
              </a:rPr>
              <a:t>alent</a:t>
            </a: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recruited and retained</a:t>
            </a:r>
          </a:p>
        </p:txBody>
      </p:sp>
      <p:sp>
        <p:nvSpPr>
          <p:cNvPr id="62" name="Text Placeholder 3">
            <a:extLst>
              <a:ext uri="{FF2B5EF4-FFF2-40B4-BE49-F238E27FC236}">
                <a16:creationId xmlns:a16="http://schemas.microsoft.com/office/drawing/2014/main" id="{23931FB5-4CC0-4503-C0AF-013B5245DEBB}"/>
              </a:ext>
            </a:extLst>
          </p:cNvPr>
          <p:cNvSpPr txBox="1">
            <a:spLocks/>
          </p:cNvSpPr>
          <p:nvPr/>
        </p:nvSpPr>
        <p:spPr>
          <a:xfrm>
            <a:off x="6921036" y="2572434"/>
            <a:ext cx="3146899" cy="460240"/>
          </a:xfrm>
          <a:prstGeom prst="rect">
            <a:avLst/>
          </a:prstGeom>
          <a:solidFill>
            <a:schemeClr val="accent4">
              <a:lumMod val="60000"/>
              <a:lumOff val="40000"/>
            </a:schemeClr>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164559" marR="0" lvl="1" indent="0" algn="l" defTabSz="1218956" rtl="0" eaLnBrk="1" fontAlgn="auto" latinLnBrk="0" hangingPunct="1">
              <a:lnSpc>
                <a:spcPct val="110000"/>
              </a:lnSpc>
              <a:spcBef>
                <a:spcPts val="0"/>
              </a:spcBef>
              <a:spcAft>
                <a:spcPts val="0"/>
              </a:spcAft>
              <a:buClrTx/>
              <a:buSzPct val="100000"/>
              <a:buFontTx/>
              <a:buNone/>
              <a:tabLst/>
              <a:defRPr/>
            </a:pPr>
            <a:r>
              <a:rPr kumimoji="0" lang="en-US" sz="1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Recruiters can quickly source, interview, and help hire new talent</a:t>
            </a:r>
          </a:p>
        </p:txBody>
      </p:sp>
      <p:sp>
        <p:nvSpPr>
          <p:cNvPr id="14" name="Text Placeholder 3">
            <a:extLst>
              <a:ext uri="{FF2B5EF4-FFF2-40B4-BE49-F238E27FC236}">
                <a16:creationId xmlns:a16="http://schemas.microsoft.com/office/drawing/2014/main" id="{F9C13AC1-76D4-6568-A941-2790025A745B}"/>
              </a:ext>
            </a:extLst>
          </p:cNvPr>
          <p:cNvSpPr txBox="1">
            <a:spLocks/>
          </p:cNvSpPr>
          <p:nvPr/>
        </p:nvSpPr>
        <p:spPr>
          <a:xfrm>
            <a:off x="5002819" y="4417499"/>
            <a:ext cx="1605200" cy="730025"/>
          </a:xfrm>
          <a:prstGeom prst="rect">
            <a:avLst/>
          </a:prstGeom>
          <a:solidFill>
            <a:schemeClr val="accent4">
              <a:lumMod val="20000"/>
              <a:lumOff val="80000"/>
            </a:schemeClr>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88882" marR="0" lvl="0" indent="0" algn="l" defTabSz="1218956" rtl="0" eaLnBrk="1" fontAlgn="auto" latinLnBrk="0" hangingPunct="1">
              <a:lnSpc>
                <a:spcPct val="11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Support</a:t>
            </a: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Employee verification</a:t>
            </a: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Benefits</a:t>
            </a:r>
          </a:p>
        </p:txBody>
      </p:sp>
      <p:sp>
        <p:nvSpPr>
          <p:cNvPr id="16" name="Text Placeholder 3">
            <a:extLst>
              <a:ext uri="{FF2B5EF4-FFF2-40B4-BE49-F238E27FC236}">
                <a16:creationId xmlns:a16="http://schemas.microsoft.com/office/drawing/2014/main" id="{330812C2-3522-9D0F-148B-6686A8D7DE1A}"/>
              </a:ext>
            </a:extLst>
          </p:cNvPr>
          <p:cNvSpPr txBox="1">
            <a:spLocks/>
          </p:cNvSpPr>
          <p:nvPr/>
        </p:nvSpPr>
        <p:spPr>
          <a:xfrm>
            <a:off x="6921036" y="4417499"/>
            <a:ext cx="1819136" cy="730025"/>
          </a:xfrm>
          <a:prstGeom prst="rect">
            <a:avLst/>
          </a:prstGeom>
          <a:solidFill>
            <a:schemeClr val="accent4">
              <a:lumMod val="60000"/>
              <a:lumOff val="40000"/>
            </a:schemeClr>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88882" marR="0" lvl="0" indent="0" algn="l" defTabSz="1218956" rtl="0" eaLnBrk="1" fontAlgn="auto" latinLnBrk="0" hangingPunct="1">
              <a:lnSpc>
                <a:spcPct val="11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Schedule candidate interview</a:t>
            </a: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Interview transcript</a:t>
            </a: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Email rejection letter</a:t>
            </a:r>
          </a:p>
        </p:txBody>
      </p:sp>
      <p:sp>
        <p:nvSpPr>
          <p:cNvPr id="17" name="Text Placeholder 3">
            <a:extLst>
              <a:ext uri="{FF2B5EF4-FFF2-40B4-BE49-F238E27FC236}">
                <a16:creationId xmlns:a16="http://schemas.microsoft.com/office/drawing/2014/main" id="{2F478BF5-A6E9-8A31-2222-A3128F19D9CA}"/>
              </a:ext>
            </a:extLst>
          </p:cNvPr>
          <p:cNvSpPr txBox="1">
            <a:spLocks/>
          </p:cNvSpPr>
          <p:nvPr/>
        </p:nvSpPr>
        <p:spPr>
          <a:xfrm>
            <a:off x="8667252" y="4417499"/>
            <a:ext cx="1400683" cy="730025"/>
          </a:xfrm>
          <a:prstGeom prst="rect">
            <a:avLst/>
          </a:prstGeom>
          <a:solidFill>
            <a:schemeClr val="accent4">
              <a:lumMod val="60000"/>
              <a:lumOff val="40000"/>
            </a:schemeClr>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88882" marR="0" lvl="0" indent="0" algn="l" defTabSz="1218956" rtl="0" eaLnBrk="1" fontAlgn="auto" latinLnBrk="0" hangingPunct="1">
              <a:lnSpc>
                <a:spcPct val="11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Create job requisition </a:t>
            </a: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Find candidates for job requisition </a:t>
            </a:r>
          </a:p>
        </p:txBody>
      </p:sp>
      <p:sp>
        <p:nvSpPr>
          <p:cNvPr id="18" name="Text Placeholder 3">
            <a:extLst>
              <a:ext uri="{FF2B5EF4-FFF2-40B4-BE49-F238E27FC236}">
                <a16:creationId xmlns:a16="http://schemas.microsoft.com/office/drawing/2014/main" id="{BC582631-F9B3-3183-D55C-B2EDD90374AA}"/>
              </a:ext>
            </a:extLst>
          </p:cNvPr>
          <p:cNvSpPr txBox="1">
            <a:spLocks/>
          </p:cNvSpPr>
          <p:nvPr/>
        </p:nvSpPr>
        <p:spPr>
          <a:xfrm>
            <a:off x="3402827" y="5260643"/>
            <a:ext cx="6665108" cy="730025"/>
          </a:xfrm>
          <a:prstGeom prst="rect">
            <a:avLst/>
          </a:prstGeom>
          <a:solidFill>
            <a:srgbClr val="ECFCFC">
              <a:alpha val="48000"/>
            </a:srgbClr>
          </a:solid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88882" marR="0" lvl="0" indent="0" algn="l" defTabSz="1218956" rtl="0" eaLnBrk="1" fontAlgn="auto" latinLnBrk="0" hangingPunct="1">
              <a:lnSpc>
                <a:spcPct val="11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19" name="TextBox 18">
            <a:extLst>
              <a:ext uri="{FF2B5EF4-FFF2-40B4-BE49-F238E27FC236}">
                <a16:creationId xmlns:a16="http://schemas.microsoft.com/office/drawing/2014/main" id="{BFAB9934-C845-5079-9B3B-245774A94E6C}"/>
              </a:ext>
            </a:extLst>
          </p:cNvPr>
          <p:cNvSpPr txBox="1"/>
          <p:nvPr/>
        </p:nvSpPr>
        <p:spPr>
          <a:xfrm>
            <a:off x="2131487" y="5329553"/>
            <a:ext cx="966973" cy="59220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US" sz="1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Technology components needed</a:t>
            </a:r>
            <a:endParaRPr kumimoji="0" lang="en-US" sz="1200" b="1"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20" name="Text Placeholder 3">
            <a:extLst>
              <a:ext uri="{FF2B5EF4-FFF2-40B4-BE49-F238E27FC236}">
                <a16:creationId xmlns:a16="http://schemas.microsoft.com/office/drawing/2014/main" id="{2B04E7D3-7AD3-3EE3-2FC6-FB6C5E5E79A4}"/>
              </a:ext>
            </a:extLst>
          </p:cNvPr>
          <p:cNvSpPr txBox="1">
            <a:spLocks/>
          </p:cNvSpPr>
          <p:nvPr/>
        </p:nvSpPr>
        <p:spPr>
          <a:xfrm>
            <a:off x="3592252" y="5406311"/>
            <a:ext cx="1101536" cy="592205"/>
          </a:xfrm>
          <a:prstGeom prst="rect">
            <a:avLst/>
          </a:prstGeom>
          <a:solidFill>
            <a:schemeClr val="accent4">
              <a:lumMod val="20000"/>
              <a:lumOff val="80000"/>
              <a:alpha val="48000"/>
            </a:schemeClr>
          </a:solidFill>
          <a:ln w="12700">
            <a:no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623228" rtl="0" eaLnBrk="0" fontAlgn="auto" latinLnBrk="0" hangingPunct="1">
              <a:lnSpc>
                <a:spcPct val="110000"/>
              </a:lnSpc>
              <a:spcBef>
                <a:spcPts val="0"/>
              </a:spcBef>
              <a:spcAft>
                <a:spcPts val="0"/>
              </a:spcAft>
              <a:buClrTx/>
              <a:buSzPct val="100000"/>
              <a:buFontTx/>
              <a:buNone/>
              <a:tabLst/>
              <a:defRPr/>
            </a:pPr>
            <a:r>
              <a:rPr kumimoji="0" lang="en-GB" sz="12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Pre-built connectors</a:t>
            </a:r>
            <a:endParaRPr kumimoji="0" lang="en-US" sz="12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21" name="Text Placeholder 3">
            <a:extLst>
              <a:ext uri="{FF2B5EF4-FFF2-40B4-BE49-F238E27FC236}">
                <a16:creationId xmlns:a16="http://schemas.microsoft.com/office/drawing/2014/main" id="{372A9E06-86F8-53FE-E092-5DC7A69CC32B}"/>
              </a:ext>
            </a:extLst>
          </p:cNvPr>
          <p:cNvSpPr txBox="1">
            <a:spLocks/>
          </p:cNvSpPr>
          <p:nvPr/>
        </p:nvSpPr>
        <p:spPr>
          <a:xfrm>
            <a:off x="4754910" y="5406311"/>
            <a:ext cx="1101536" cy="592205"/>
          </a:xfrm>
          <a:prstGeom prst="rect">
            <a:avLst/>
          </a:prstGeom>
          <a:solidFill>
            <a:schemeClr val="accent4">
              <a:lumMod val="20000"/>
              <a:lumOff val="80000"/>
              <a:alpha val="48000"/>
            </a:schemeClr>
          </a:solidFill>
          <a:ln w="12700">
            <a:no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623228" rtl="0" eaLnBrk="0" fontAlgn="auto" latinLnBrk="0" hangingPunct="1">
              <a:lnSpc>
                <a:spcPct val="110000"/>
              </a:lnSpc>
              <a:spcBef>
                <a:spcPts val="0"/>
              </a:spcBef>
              <a:spcAft>
                <a:spcPts val="0"/>
              </a:spcAft>
              <a:buClrTx/>
              <a:buSzPct val="100000"/>
              <a:buFontTx/>
              <a:buNone/>
              <a:tabLst/>
              <a:defRPr/>
            </a:pPr>
            <a:r>
              <a:rPr kumimoji="0" lang="en-GB" sz="12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Task automations</a:t>
            </a:r>
            <a:endParaRPr kumimoji="0" lang="en-US" sz="12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22" name="Text Placeholder 3">
            <a:extLst>
              <a:ext uri="{FF2B5EF4-FFF2-40B4-BE49-F238E27FC236}">
                <a16:creationId xmlns:a16="http://schemas.microsoft.com/office/drawing/2014/main" id="{53B0FC64-5611-804E-4B91-1069AC4405AF}"/>
              </a:ext>
            </a:extLst>
          </p:cNvPr>
          <p:cNvSpPr txBox="1">
            <a:spLocks/>
          </p:cNvSpPr>
          <p:nvPr/>
        </p:nvSpPr>
        <p:spPr>
          <a:xfrm>
            <a:off x="5946026" y="5309642"/>
            <a:ext cx="1101536" cy="592205"/>
          </a:xfrm>
          <a:prstGeom prst="rect">
            <a:avLst/>
          </a:prstGeom>
          <a:solidFill>
            <a:schemeClr val="accent4">
              <a:lumMod val="20000"/>
              <a:lumOff val="80000"/>
              <a:alpha val="48000"/>
            </a:schemeClr>
          </a:solidFill>
          <a:ln w="12700">
            <a:no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623228" rtl="0" eaLnBrk="0" fontAlgn="auto" latinLnBrk="0" hangingPunct="1">
              <a:lnSpc>
                <a:spcPct val="110000"/>
              </a:lnSpc>
              <a:spcBef>
                <a:spcPts val="0"/>
              </a:spcBef>
              <a:spcAft>
                <a:spcPts val="0"/>
              </a:spcAft>
              <a:buClrTx/>
              <a:buSzPct val="100000"/>
              <a:buFontTx/>
              <a:buNone/>
              <a:tabLst/>
              <a:defRPr/>
            </a:pPr>
            <a:br>
              <a:rPr kumimoji="0" lang="en-GB" sz="12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br>
            <a:r>
              <a:rPr kumimoji="0" lang="en-GB" sz="12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RAG</a:t>
            </a:r>
            <a:endParaRPr kumimoji="0" lang="en-US" sz="12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23" name="Text Placeholder 3">
            <a:extLst>
              <a:ext uri="{FF2B5EF4-FFF2-40B4-BE49-F238E27FC236}">
                <a16:creationId xmlns:a16="http://schemas.microsoft.com/office/drawing/2014/main" id="{A95A07A6-2A60-B943-90BA-5200BD935BFC}"/>
              </a:ext>
            </a:extLst>
          </p:cNvPr>
          <p:cNvSpPr txBox="1">
            <a:spLocks/>
          </p:cNvSpPr>
          <p:nvPr/>
        </p:nvSpPr>
        <p:spPr>
          <a:xfrm>
            <a:off x="7137141" y="5406311"/>
            <a:ext cx="1101536" cy="592205"/>
          </a:xfrm>
          <a:prstGeom prst="rect">
            <a:avLst/>
          </a:prstGeom>
          <a:solidFill>
            <a:schemeClr val="accent4">
              <a:lumMod val="20000"/>
              <a:lumOff val="80000"/>
              <a:alpha val="48000"/>
            </a:schemeClr>
          </a:solidFill>
          <a:ln w="12700">
            <a:no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623228" rtl="0" eaLnBrk="0" fontAlgn="auto" latinLnBrk="0" hangingPunct="1">
              <a:lnSpc>
                <a:spcPct val="110000"/>
              </a:lnSpc>
              <a:spcBef>
                <a:spcPts val="0"/>
              </a:spcBef>
              <a:spcAft>
                <a:spcPts val="0"/>
              </a:spcAft>
              <a:buClrTx/>
              <a:buSzPct val="100000"/>
              <a:buFontTx/>
              <a:buNone/>
              <a:tabLst/>
              <a:defRPr/>
            </a:pPr>
            <a:r>
              <a:rPr kumimoji="0" lang="en-GB" sz="12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Gen AI </a:t>
            </a:r>
            <a:br>
              <a:rPr kumimoji="0" lang="en-GB" sz="12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br>
            <a:r>
              <a:rPr kumimoji="0" lang="en-GB" sz="12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Automations</a:t>
            </a:r>
            <a:endParaRPr kumimoji="0" lang="en-US" sz="12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24" name="Text Placeholder 3">
            <a:extLst>
              <a:ext uri="{FF2B5EF4-FFF2-40B4-BE49-F238E27FC236}">
                <a16:creationId xmlns:a16="http://schemas.microsoft.com/office/drawing/2014/main" id="{8FC0A58F-F808-60E5-F346-FC2FE340EB01}"/>
              </a:ext>
            </a:extLst>
          </p:cNvPr>
          <p:cNvSpPr txBox="1">
            <a:spLocks/>
          </p:cNvSpPr>
          <p:nvPr/>
        </p:nvSpPr>
        <p:spPr>
          <a:xfrm>
            <a:off x="8667252" y="5414659"/>
            <a:ext cx="1101536" cy="592205"/>
          </a:xfrm>
          <a:prstGeom prst="rect">
            <a:avLst/>
          </a:prstGeom>
          <a:solidFill>
            <a:schemeClr val="accent4">
              <a:lumMod val="20000"/>
              <a:lumOff val="80000"/>
              <a:alpha val="48000"/>
            </a:schemeClr>
          </a:solidFill>
          <a:ln w="12700">
            <a:no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623228" rtl="0" eaLnBrk="0" fontAlgn="auto" latinLnBrk="0" hangingPunct="1">
              <a:lnSpc>
                <a:spcPct val="110000"/>
              </a:lnSpc>
              <a:spcBef>
                <a:spcPts val="0"/>
              </a:spcBef>
              <a:spcAft>
                <a:spcPts val="0"/>
              </a:spcAft>
              <a:buClrTx/>
              <a:buSzPct val="100000"/>
              <a:buFontTx/>
              <a:buNone/>
              <a:tabLst/>
              <a:defRPr/>
            </a:pPr>
            <a:r>
              <a:rPr kumimoji="0" lang="en-GB" sz="1200" b="0" i="0" u="none" strike="noStrike" kern="1300" cap="none" spc="0" normalizeH="0" baseline="0" noProof="0" dirty="0">
                <a:ln>
                  <a:noFill/>
                </a:ln>
                <a:solidFill>
                  <a:srgbClr val="000000"/>
                </a:solidFill>
                <a:effectLst/>
                <a:uLnTx/>
                <a:uFillTx/>
                <a:latin typeface="IBM Plex Sans Light"/>
                <a:ea typeface="+mj-ea"/>
                <a:cs typeface="Calibri" panose="020F0502020204030204" pitchFamily="34" charset="0"/>
                <a:sym typeface="IBM Plex Sans Light"/>
              </a:rPr>
              <a:t>Domain prompt libraries</a:t>
            </a:r>
            <a:endParaRPr kumimoji="0" lang="en-US" sz="12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30" name="TextBox 29">
            <a:extLst>
              <a:ext uri="{FF2B5EF4-FFF2-40B4-BE49-F238E27FC236}">
                <a16:creationId xmlns:a16="http://schemas.microsoft.com/office/drawing/2014/main" id="{AC2201A2-A8E3-0371-BFAF-FA01CBBD2249}"/>
              </a:ext>
            </a:extLst>
          </p:cNvPr>
          <p:cNvSpPr txBox="1"/>
          <p:nvPr/>
        </p:nvSpPr>
        <p:spPr>
          <a:xfrm>
            <a:off x="2134792" y="6081748"/>
            <a:ext cx="966973" cy="59220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US" sz="1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wxo </a:t>
            </a:r>
            <a:br>
              <a:rPr kumimoji="0" lang="en-US" sz="1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1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provided</a:t>
            </a:r>
            <a:endParaRPr kumimoji="0" lang="en-US" sz="1200" b="1"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31" name="Rectangle 30">
            <a:extLst>
              <a:ext uri="{FF2B5EF4-FFF2-40B4-BE49-F238E27FC236}">
                <a16:creationId xmlns:a16="http://schemas.microsoft.com/office/drawing/2014/main" id="{835E4CEE-2623-E3DA-0BD9-6FEB41D986E2}"/>
              </a:ext>
            </a:extLst>
          </p:cNvPr>
          <p:cNvSpPr/>
          <p:nvPr/>
        </p:nvSpPr>
        <p:spPr bwMode="auto">
          <a:xfrm>
            <a:off x="3476671" y="6160879"/>
            <a:ext cx="6675202" cy="592205"/>
          </a:xfrm>
          <a:prstGeom prst="rect">
            <a:avLst/>
          </a:prstGeom>
          <a:solidFill>
            <a:schemeClr val="bg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IBM Plex Sans Light"/>
                <a:ea typeface="+mn-ea"/>
                <a:cs typeface="+mn-cs"/>
              </a:rPr>
              <a:t> </a:t>
            </a:r>
          </a:p>
        </p:txBody>
      </p:sp>
      <p:sp>
        <p:nvSpPr>
          <p:cNvPr id="32" name="Rounded Rectangle 31">
            <a:extLst>
              <a:ext uri="{FF2B5EF4-FFF2-40B4-BE49-F238E27FC236}">
                <a16:creationId xmlns:a16="http://schemas.microsoft.com/office/drawing/2014/main" id="{8BCFD993-6E61-F7A4-1EBF-95D43DBF4CD8}"/>
              </a:ext>
            </a:extLst>
          </p:cNvPr>
          <p:cNvSpPr>
            <a:spLocks/>
          </p:cNvSpPr>
          <p:nvPr/>
        </p:nvSpPr>
        <p:spPr bwMode="auto">
          <a:xfrm flipH="1">
            <a:off x="3592252" y="6276395"/>
            <a:ext cx="2475685" cy="362393"/>
          </a:xfrm>
          <a:prstGeom prst="roundRect">
            <a:avLst/>
          </a:prstGeom>
          <a:solidFill>
            <a:schemeClr val="bg1"/>
          </a:solidFill>
          <a:ln w="19050">
            <a:solidFill>
              <a:srgbClr val="3DDBD9"/>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Employee support, Talent </a:t>
            </a:r>
            <a:r>
              <a:rPr kumimoji="0" lang="en-US" sz="900" b="0" i="0" u="none" strike="noStrike" kern="1200" cap="none" spc="0" normalizeH="0" baseline="0" noProof="0" dirty="0" err="1">
                <a:ln>
                  <a:noFill/>
                </a:ln>
                <a:solidFill>
                  <a:srgbClr val="000000"/>
                </a:solidFill>
                <a:effectLst/>
                <a:uLnTx/>
                <a:uFillTx/>
                <a:latin typeface="IBM Plex Sans Light"/>
                <a:ea typeface="+mn-ea"/>
                <a:cs typeface="+mn-cs"/>
              </a:rPr>
              <a:t>aquisition</a:t>
            </a: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 </a:t>
            </a:r>
            <a:r>
              <a:rPr kumimoji="0" lang="en-US" sz="900" b="0" i="0" u="none" strike="noStrike" kern="1200" cap="none" spc="0" normalizeH="0" baseline="0" noProof="0" dirty="0" err="1">
                <a:ln>
                  <a:noFill/>
                </a:ln>
                <a:solidFill>
                  <a:srgbClr val="000000"/>
                </a:solidFill>
                <a:effectLst/>
                <a:uLnTx/>
                <a:uFillTx/>
                <a:latin typeface="IBM Plex Sans Light"/>
                <a:ea typeface="+mn-ea"/>
                <a:cs typeface="+mn-cs"/>
              </a:rPr>
              <a:t>skillflow</a:t>
            </a: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 templates</a:t>
            </a:r>
          </a:p>
        </p:txBody>
      </p:sp>
      <p:sp>
        <p:nvSpPr>
          <p:cNvPr id="33" name="TextBox 32">
            <a:extLst>
              <a:ext uri="{FF2B5EF4-FFF2-40B4-BE49-F238E27FC236}">
                <a16:creationId xmlns:a16="http://schemas.microsoft.com/office/drawing/2014/main" id="{C1310F3E-E092-F4B4-BCC7-81DAD15787DE}"/>
              </a:ext>
            </a:extLst>
          </p:cNvPr>
          <p:cNvSpPr txBox="1"/>
          <p:nvPr/>
        </p:nvSpPr>
        <p:spPr>
          <a:xfrm rot="16200000">
            <a:off x="6068324" y="6411701"/>
            <a:ext cx="548569" cy="13319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0" marR="0" lvl="0" indent="0" algn="ctr" defTabSz="1218956" rtl="0" eaLnBrk="1" fontAlgn="auto" latinLnBrk="0" hangingPunct="1">
              <a:lnSpc>
                <a:spcPct val="110000"/>
              </a:lnSpc>
              <a:spcBef>
                <a:spcPts val="0"/>
              </a:spcBef>
              <a:spcAft>
                <a:spcPts val="0"/>
              </a:spcAft>
              <a:buClrTx/>
              <a:buSzPct val="100000"/>
              <a:buFontTx/>
              <a:buNone/>
              <a:tabLst/>
              <a:defRPr/>
            </a:pPr>
            <a:r>
              <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rPr>
              <a:t>Add-on</a:t>
            </a:r>
          </a:p>
          <a:p>
            <a:pPr marL="0" marR="0" lvl="0" indent="0" algn="l" defTabSz="1218956" rtl="0" eaLnBrk="1" fontAlgn="auto" latinLnBrk="0" hangingPunct="1">
              <a:lnSpc>
                <a:spcPct val="110000"/>
              </a:lnSpc>
              <a:spcBef>
                <a:spcPts val="0"/>
              </a:spcBef>
              <a:spcAft>
                <a:spcPts val="0"/>
              </a:spcAft>
              <a:buClrTx/>
              <a:buSzPct val="100000"/>
              <a:buFontTx/>
              <a:buNone/>
              <a:tabLst/>
              <a:defRPr/>
            </a:pPr>
            <a:endPar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endParaRPr>
          </a:p>
          <a:p>
            <a:pPr marL="0" marR="0" lvl="0" indent="0" algn="l" defTabSz="1218956" rtl="0" eaLnBrk="1" fontAlgn="auto" latinLnBrk="0" hangingPunct="1">
              <a:lnSpc>
                <a:spcPct val="110000"/>
              </a:lnSpc>
              <a:spcBef>
                <a:spcPts val="0"/>
              </a:spcBef>
              <a:spcAft>
                <a:spcPts val="0"/>
              </a:spcAft>
              <a:buClrTx/>
              <a:buSzPct val="100000"/>
              <a:buFontTx/>
              <a:buNone/>
              <a:tabLst/>
              <a:defRPr/>
            </a:pPr>
            <a:endPar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endParaRPr>
          </a:p>
        </p:txBody>
      </p:sp>
      <p:grpSp>
        <p:nvGrpSpPr>
          <p:cNvPr id="34" name="Group 33">
            <a:extLst>
              <a:ext uri="{FF2B5EF4-FFF2-40B4-BE49-F238E27FC236}">
                <a16:creationId xmlns:a16="http://schemas.microsoft.com/office/drawing/2014/main" id="{108A2F73-6663-9D3A-8276-61554AB9D526}"/>
              </a:ext>
            </a:extLst>
          </p:cNvPr>
          <p:cNvGrpSpPr/>
          <p:nvPr/>
        </p:nvGrpSpPr>
        <p:grpSpPr>
          <a:xfrm>
            <a:off x="8751125" y="6289349"/>
            <a:ext cx="1374050" cy="568651"/>
            <a:chOff x="6966153" y="11255711"/>
            <a:chExt cx="2748458" cy="1137450"/>
          </a:xfrm>
        </p:grpSpPr>
        <p:sp>
          <p:nvSpPr>
            <p:cNvPr id="35" name="Text Placeholder 3">
              <a:extLst>
                <a:ext uri="{FF2B5EF4-FFF2-40B4-BE49-F238E27FC236}">
                  <a16:creationId xmlns:a16="http://schemas.microsoft.com/office/drawing/2014/main" id="{97697EE2-9960-7D86-24E9-DE1A1D22802D}"/>
                </a:ext>
              </a:extLst>
            </p:cNvPr>
            <p:cNvSpPr txBox="1">
              <a:spLocks/>
            </p:cNvSpPr>
            <p:nvPr/>
          </p:nvSpPr>
          <p:spPr>
            <a:xfrm>
              <a:off x="6969637" y="11354774"/>
              <a:ext cx="2744974" cy="1038387"/>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ctr" defTabSz="914507"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Gen AI </a:t>
              </a:r>
              <a:b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catalog</a:t>
              </a:r>
            </a:p>
          </p:txBody>
        </p:sp>
        <p:grpSp>
          <p:nvGrpSpPr>
            <p:cNvPr id="37" name="Group 36">
              <a:extLst>
                <a:ext uri="{FF2B5EF4-FFF2-40B4-BE49-F238E27FC236}">
                  <a16:creationId xmlns:a16="http://schemas.microsoft.com/office/drawing/2014/main" id="{81D51DDF-6588-D838-E6CD-4D01D08DDC7A}"/>
                </a:ext>
              </a:extLst>
            </p:cNvPr>
            <p:cNvGrpSpPr/>
            <p:nvPr/>
          </p:nvGrpSpPr>
          <p:grpSpPr>
            <a:xfrm>
              <a:off x="6966153" y="11255711"/>
              <a:ext cx="719077" cy="720000"/>
              <a:chOff x="5392815" y="10851330"/>
              <a:chExt cx="719077" cy="720000"/>
            </a:xfrm>
          </p:grpSpPr>
          <p:sp>
            <p:nvSpPr>
              <p:cNvPr id="42" name="Rounded Rectangle 41">
                <a:extLst>
                  <a:ext uri="{FF2B5EF4-FFF2-40B4-BE49-F238E27FC236}">
                    <a16:creationId xmlns:a16="http://schemas.microsoft.com/office/drawing/2014/main" id="{1C95B0B2-41D1-D93E-FBC2-0A7E77DEEAAB}"/>
                  </a:ext>
                </a:extLst>
              </p:cNvPr>
              <p:cNvSpPr>
                <a:spLocks noChangeAspect="1"/>
              </p:cNvSpPr>
              <p:nvPr/>
            </p:nvSpPr>
            <p:spPr bwMode="auto">
              <a:xfrm>
                <a:off x="5392815" y="10851330"/>
                <a:ext cx="719077" cy="720000"/>
              </a:xfrm>
              <a:prstGeom prst="round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IBM Plex Sans Light"/>
                  <a:ea typeface="+mn-ea"/>
                  <a:cs typeface="+mn-cs"/>
                </a:endParaRPr>
              </a:p>
            </p:txBody>
          </p:sp>
          <p:pic>
            <p:nvPicPr>
              <p:cNvPr id="43" name="Graphic 42">
                <a:extLst>
                  <a:ext uri="{FF2B5EF4-FFF2-40B4-BE49-F238E27FC236}">
                    <a16:creationId xmlns:a16="http://schemas.microsoft.com/office/drawing/2014/main" id="{5DEB1610-5ADB-614B-4533-D94B1FADE2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54353" y="11013330"/>
                <a:ext cx="396000" cy="396000"/>
              </a:xfrm>
              <a:prstGeom prst="rect">
                <a:avLst/>
              </a:prstGeom>
            </p:spPr>
          </p:pic>
        </p:grpSp>
      </p:grpSp>
      <p:grpSp>
        <p:nvGrpSpPr>
          <p:cNvPr id="46" name="Group 45">
            <a:extLst>
              <a:ext uri="{FF2B5EF4-FFF2-40B4-BE49-F238E27FC236}">
                <a16:creationId xmlns:a16="http://schemas.microsoft.com/office/drawing/2014/main" id="{3D336B0A-29F8-3FF4-52C4-99FE5CC6B4CC}"/>
              </a:ext>
            </a:extLst>
          </p:cNvPr>
          <p:cNvGrpSpPr/>
          <p:nvPr/>
        </p:nvGrpSpPr>
        <p:grpSpPr>
          <a:xfrm>
            <a:off x="6595272" y="6298239"/>
            <a:ext cx="1027803" cy="368351"/>
            <a:chOff x="11721043" y="10014728"/>
            <a:chExt cx="2055874" cy="736797"/>
          </a:xfrm>
        </p:grpSpPr>
        <p:sp>
          <p:nvSpPr>
            <p:cNvPr id="47" name="Text Placeholder 3">
              <a:extLst>
                <a:ext uri="{FF2B5EF4-FFF2-40B4-BE49-F238E27FC236}">
                  <a16:creationId xmlns:a16="http://schemas.microsoft.com/office/drawing/2014/main" id="{1C786CF3-EEAD-5708-5B3A-8ED82C93224D}"/>
                </a:ext>
              </a:extLst>
            </p:cNvPr>
            <p:cNvSpPr txBox="1">
              <a:spLocks/>
            </p:cNvSpPr>
            <p:nvPr/>
          </p:nvSpPr>
          <p:spPr>
            <a:xfrm>
              <a:off x="12110594" y="10050542"/>
              <a:ext cx="1666323" cy="700983"/>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ctr" defTabSz="914507"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App </a:t>
              </a:r>
              <a:b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catalog</a:t>
              </a:r>
            </a:p>
          </p:txBody>
        </p:sp>
        <p:sp>
          <p:nvSpPr>
            <p:cNvPr id="54" name="Rounded Rectangle 53">
              <a:extLst>
                <a:ext uri="{FF2B5EF4-FFF2-40B4-BE49-F238E27FC236}">
                  <a16:creationId xmlns:a16="http://schemas.microsoft.com/office/drawing/2014/main" id="{54AA920C-57B0-CB89-67FA-77D8D38D6E0A}"/>
                </a:ext>
              </a:extLst>
            </p:cNvPr>
            <p:cNvSpPr>
              <a:spLocks noChangeAspect="1"/>
            </p:cNvSpPr>
            <p:nvPr/>
          </p:nvSpPr>
          <p:spPr bwMode="auto">
            <a:xfrm>
              <a:off x="11721043" y="10014728"/>
              <a:ext cx="719077" cy="720000"/>
            </a:xfrm>
            <a:prstGeom prst="round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IBM Plex Sans Light"/>
                <a:ea typeface="+mn-ea"/>
                <a:cs typeface="+mn-cs"/>
              </a:endParaRPr>
            </a:p>
          </p:txBody>
        </p:sp>
        <p:pic>
          <p:nvPicPr>
            <p:cNvPr id="55" name="Graphic 54">
              <a:extLst>
                <a:ext uri="{FF2B5EF4-FFF2-40B4-BE49-F238E27FC236}">
                  <a16:creationId xmlns:a16="http://schemas.microsoft.com/office/drawing/2014/main" id="{10666A5E-B39F-714E-1E92-CF88B52A585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882581" y="10176728"/>
              <a:ext cx="396000" cy="396000"/>
            </a:xfrm>
            <a:prstGeom prst="rect">
              <a:avLst/>
            </a:prstGeom>
          </p:spPr>
        </p:pic>
      </p:grpSp>
      <p:grpSp>
        <p:nvGrpSpPr>
          <p:cNvPr id="59" name="Group 58">
            <a:extLst>
              <a:ext uri="{FF2B5EF4-FFF2-40B4-BE49-F238E27FC236}">
                <a16:creationId xmlns:a16="http://schemas.microsoft.com/office/drawing/2014/main" id="{12C51622-9BFD-1CC0-8A5F-D1404028460E}"/>
              </a:ext>
            </a:extLst>
          </p:cNvPr>
          <p:cNvGrpSpPr/>
          <p:nvPr/>
        </p:nvGrpSpPr>
        <p:grpSpPr>
          <a:xfrm>
            <a:off x="7609172" y="6280084"/>
            <a:ext cx="1115256" cy="393869"/>
            <a:chOff x="14043637" y="10014728"/>
            <a:chExt cx="2230802" cy="787840"/>
          </a:xfrm>
        </p:grpSpPr>
        <p:grpSp>
          <p:nvGrpSpPr>
            <p:cNvPr id="60" name="Group 59">
              <a:extLst>
                <a:ext uri="{FF2B5EF4-FFF2-40B4-BE49-F238E27FC236}">
                  <a16:creationId xmlns:a16="http://schemas.microsoft.com/office/drawing/2014/main" id="{86238FD4-C180-1984-1256-F357DAD8D9EB}"/>
                </a:ext>
              </a:extLst>
            </p:cNvPr>
            <p:cNvGrpSpPr/>
            <p:nvPr/>
          </p:nvGrpSpPr>
          <p:grpSpPr>
            <a:xfrm>
              <a:off x="14043637" y="10014728"/>
              <a:ext cx="2230802" cy="787840"/>
              <a:chOff x="21268318" y="11264043"/>
              <a:chExt cx="2230802" cy="787840"/>
            </a:xfrm>
          </p:grpSpPr>
          <p:sp>
            <p:nvSpPr>
              <p:cNvPr id="64" name="Text Placeholder 3">
                <a:extLst>
                  <a:ext uri="{FF2B5EF4-FFF2-40B4-BE49-F238E27FC236}">
                    <a16:creationId xmlns:a16="http://schemas.microsoft.com/office/drawing/2014/main" id="{52A953B9-BA75-61C0-A239-6837B3A02D72}"/>
                  </a:ext>
                </a:extLst>
              </p:cNvPr>
              <p:cNvSpPr txBox="1">
                <a:spLocks/>
              </p:cNvSpPr>
              <p:nvPr/>
            </p:nvSpPr>
            <p:spPr>
              <a:xfrm>
                <a:off x="21832797" y="11350900"/>
                <a:ext cx="1666323" cy="700983"/>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ctr" defTabSz="914507"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Assistant catalog</a:t>
                </a:r>
              </a:p>
            </p:txBody>
          </p:sp>
          <p:sp>
            <p:nvSpPr>
              <p:cNvPr id="67" name="Rounded Rectangle 66">
                <a:extLst>
                  <a:ext uri="{FF2B5EF4-FFF2-40B4-BE49-F238E27FC236}">
                    <a16:creationId xmlns:a16="http://schemas.microsoft.com/office/drawing/2014/main" id="{521CE066-B8E5-DDCE-440A-E64BEC219A1F}"/>
                  </a:ext>
                </a:extLst>
              </p:cNvPr>
              <p:cNvSpPr>
                <a:spLocks noChangeAspect="1"/>
              </p:cNvSpPr>
              <p:nvPr/>
            </p:nvSpPr>
            <p:spPr bwMode="auto">
              <a:xfrm>
                <a:off x="21268318" y="11264043"/>
                <a:ext cx="719077" cy="720000"/>
              </a:xfrm>
              <a:prstGeom prst="round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IBM Plex Sans Light"/>
                  <a:ea typeface="+mn-ea"/>
                  <a:cs typeface="+mn-cs"/>
                </a:endParaRPr>
              </a:p>
            </p:txBody>
          </p:sp>
        </p:grpSp>
        <p:pic>
          <p:nvPicPr>
            <p:cNvPr id="61" name="Graphic 60">
              <a:extLst>
                <a:ext uri="{FF2B5EF4-FFF2-40B4-BE49-F238E27FC236}">
                  <a16:creationId xmlns:a16="http://schemas.microsoft.com/office/drawing/2014/main" id="{D8F35F40-D3F1-0BC3-F41E-4DC359DF0C8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202300" y="10201944"/>
              <a:ext cx="396000" cy="396000"/>
            </a:xfrm>
            <a:prstGeom prst="rect">
              <a:avLst/>
            </a:prstGeom>
          </p:spPr>
        </p:pic>
      </p:grpSp>
    </p:spTree>
    <p:extLst>
      <p:ext uri="{BB962C8B-B14F-4D97-AF65-F5344CB8AC3E}">
        <p14:creationId xmlns:p14="http://schemas.microsoft.com/office/powerpoint/2010/main" val="1690889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978CBF3-91DC-E26E-DB47-BEE6A7008AF2}"/>
              </a:ext>
            </a:extLst>
          </p:cNvPr>
          <p:cNvCxnSpPr>
            <a:cxnSpLocks/>
          </p:cNvCxnSpPr>
          <p:nvPr/>
        </p:nvCxnSpPr>
        <p:spPr bwMode="auto">
          <a:xfrm flipV="1">
            <a:off x="7736303" y="3346835"/>
            <a:ext cx="0" cy="502855"/>
          </a:xfrm>
          <a:prstGeom prst="line">
            <a:avLst/>
          </a:prstGeom>
          <a:ln w="19050" cap="sq">
            <a:solidFill>
              <a:schemeClr val="tx1">
                <a:lumMod val="50000"/>
                <a:lumOff val="50000"/>
              </a:schemeClr>
            </a:solidFill>
            <a:headEnd type="none" w="med" len="med"/>
            <a:tailEnd type="oval" w="lg"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6CC5F00F-31EC-2CEF-6AF4-90386D0A9348}"/>
              </a:ext>
            </a:extLst>
          </p:cNvPr>
          <p:cNvCxnSpPr>
            <a:cxnSpLocks/>
          </p:cNvCxnSpPr>
          <p:nvPr/>
        </p:nvCxnSpPr>
        <p:spPr bwMode="auto">
          <a:xfrm flipV="1">
            <a:off x="4385590" y="3345464"/>
            <a:ext cx="0" cy="502855"/>
          </a:xfrm>
          <a:prstGeom prst="line">
            <a:avLst/>
          </a:prstGeom>
          <a:ln w="19050" cap="sq">
            <a:solidFill>
              <a:schemeClr val="tx1">
                <a:lumMod val="50000"/>
                <a:lumOff val="50000"/>
              </a:schemeClr>
            </a:solidFill>
            <a:headEnd type="none" w="med" len="med"/>
            <a:tailEnd type="oval" w="lg" len="lg"/>
          </a:ln>
          <a:effectLst/>
        </p:spPr>
        <p:style>
          <a:lnRef idx="1">
            <a:schemeClr val="dk1"/>
          </a:lnRef>
          <a:fillRef idx="0">
            <a:schemeClr val="dk1"/>
          </a:fillRef>
          <a:effectRef idx="0">
            <a:schemeClr val="dk1"/>
          </a:effectRef>
          <a:fontRef idx="minor">
            <a:schemeClr val="tx1"/>
          </a:fontRef>
        </p:style>
      </p:cxnSp>
      <p:sp>
        <p:nvSpPr>
          <p:cNvPr id="25" name="Rectangle 24">
            <a:extLst>
              <a:ext uri="{FF2B5EF4-FFF2-40B4-BE49-F238E27FC236}">
                <a16:creationId xmlns:a16="http://schemas.microsoft.com/office/drawing/2014/main" id="{87CB2395-DF5F-1BC9-20AC-579FD38087B8}"/>
              </a:ext>
            </a:extLst>
          </p:cNvPr>
          <p:cNvSpPr/>
          <p:nvPr/>
        </p:nvSpPr>
        <p:spPr bwMode="auto">
          <a:xfrm>
            <a:off x="3385013" y="4189713"/>
            <a:ext cx="6675202" cy="1763537"/>
          </a:xfrm>
          <a:prstGeom prst="rect">
            <a:avLst/>
          </a:prstGeom>
          <a:solidFill>
            <a:schemeClr val="bg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IBM Plex Sans Light"/>
                <a:ea typeface="+mn-ea"/>
                <a:cs typeface="+mn-cs"/>
              </a:rPr>
              <a:t> </a:t>
            </a:r>
          </a:p>
        </p:txBody>
      </p:sp>
      <p:sp>
        <p:nvSpPr>
          <p:cNvPr id="4" name="Footer Placeholder 6">
            <a:extLst>
              <a:ext uri="{FF2B5EF4-FFF2-40B4-BE49-F238E27FC236}">
                <a16:creationId xmlns:a16="http://schemas.microsoft.com/office/drawing/2014/main" id="{2EFC98EC-491A-0AB0-C837-91740B2988DB}"/>
              </a:ext>
            </a:extLst>
          </p:cNvPr>
          <p:cNvSpPr txBox="1">
            <a:spLocks/>
          </p:cNvSpPr>
          <p:nvPr/>
        </p:nvSpPr>
        <p:spPr>
          <a:xfrm>
            <a:off x="238004" y="6561831"/>
            <a:ext cx="2436814" cy="222104"/>
          </a:xfrm>
          <a:prstGeom prst="rect">
            <a:avLst/>
          </a:prstGeom>
        </p:spPr>
        <p:txBody>
          <a:bodyPr vert="horz" lIns="0" tIns="0" rIns="0" bIns="0" rtlCol="0" anchor="ctr"/>
          <a:lstStyle>
            <a:defPPr>
              <a:defRPr lang="en-US"/>
            </a:defPPr>
            <a:lvl1pPr marL="0" marR="0" indent="0" algn="l" defTabSz="685992" rtl="0" eaLnBrk="1" fontAlgn="auto" latinLnBrk="0" hangingPunct="1">
              <a:lnSpc>
                <a:spcPct val="100000"/>
              </a:lnSpc>
              <a:spcBef>
                <a:spcPts val="0"/>
              </a:spcBef>
              <a:spcAft>
                <a:spcPts val="0"/>
              </a:spcAft>
              <a:buClrTx/>
              <a:buSzTx/>
              <a:buFontTx/>
              <a:buNone/>
              <a:tabLst/>
              <a:defRPr sz="600" b="0" i="0" kern="1200">
                <a:solidFill>
                  <a:schemeClr val="tx1"/>
                </a:solidFill>
                <a:latin typeface="IBM Plex Sans" panose="020B0503050203000203" pitchFamily="34" charset="0"/>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marL="0" marR="0" lvl="0" indent="0" algn="l" defTabSz="91391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IBM Plex Sans Regular"/>
                <a:ea typeface="Helvetica Neue"/>
                <a:cs typeface="Helvetica Neue"/>
                <a:sym typeface="Arial"/>
              </a:rPr>
              <a:t>IBM Data and AI / © 2024 IBM Corporation</a:t>
            </a:r>
          </a:p>
        </p:txBody>
      </p:sp>
      <p:sp>
        <p:nvSpPr>
          <p:cNvPr id="5" name="Slide Number Placeholder 4">
            <a:extLst>
              <a:ext uri="{FF2B5EF4-FFF2-40B4-BE49-F238E27FC236}">
                <a16:creationId xmlns:a16="http://schemas.microsoft.com/office/drawing/2014/main" id="{F6C00B65-5548-0F79-0645-F15253DCC1C1}"/>
              </a:ext>
            </a:extLst>
          </p:cNvPr>
          <p:cNvSpPr>
            <a:spLocks noGrp="1"/>
          </p:cNvSpPr>
          <p:nvPr>
            <p:ph type="sldNum" sz="quarter" idx="2"/>
          </p:nvPr>
        </p:nvSpPr>
        <p:spPr>
          <a:xfrm>
            <a:off x="11760323" y="6506940"/>
            <a:ext cx="112982" cy="174361"/>
          </a:xfrm>
        </p:spPr>
        <p:txBody>
          <a:bodyPr/>
          <a:lstStyle/>
          <a:p>
            <a:pPr marL="0" marR="0" lvl="0" indent="0" algn="l" defTabSz="1828647" rtl="0" eaLnBrk="1" fontAlgn="auto" latinLnBrk="0" hangingPunct="1">
              <a:lnSpc>
                <a:spcPct val="100000"/>
              </a:lnSpc>
              <a:spcBef>
                <a:spcPts val="0"/>
              </a:spcBef>
              <a:spcAft>
                <a:spcPts val="0"/>
              </a:spcAft>
              <a:buClrTx/>
              <a:buSzTx/>
              <a:buFontTx/>
              <a:buNone/>
              <a:tabLst/>
              <a:defRPr/>
            </a:pPr>
            <a:fld id="{86CB4B4D-7CA3-9044-876B-883B54F8677D}" type="slidenum">
              <a:rPr kumimoji="0" lang="en-US" sz="800" b="0" i="0" u="none" strike="noStrike" kern="1200" cap="none" spc="0" normalizeH="0" baseline="0" noProof="0">
                <a:ln>
                  <a:noFill/>
                </a:ln>
                <a:solidFill>
                  <a:srgbClr val="000000"/>
                </a:solidFill>
                <a:effectLst/>
                <a:uLnTx/>
                <a:uFillTx/>
                <a:latin typeface="IBM Plex Sans Regular"/>
                <a:ea typeface="Helvetica Neue"/>
                <a:cs typeface="Helvetica Neue"/>
              </a:rPr>
              <a:pPr marL="0" marR="0" lvl="0" indent="0" algn="l" defTabSz="1828647"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a:ln>
                <a:noFill/>
              </a:ln>
              <a:solidFill>
                <a:srgbClr val="000000"/>
              </a:solidFill>
              <a:effectLst/>
              <a:uLnTx/>
              <a:uFillTx/>
              <a:latin typeface="IBM Plex Sans Regular"/>
              <a:ea typeface="Helvetica Neue"/>
              <a:cs typeface="Helvetica Neue"/>
            </a:endParaRPr>
          </a:p>
        </p:txBody>
      </p:sp>
      <p:sp>
        <p:nvSpPr>
          <p:cNvPr id="38" name="TextBox 37">
            <a:extLst>
              <a:ext uri="{FF2B5EF4-FFF2-40B4-BE49-F238E27FC236}">
                <a16:creationId xmlns:a16="http://schemas.microsoft.com/office/drawing/2014/main" id="{B3605501-3A4A-DA28-5FD1-54B147B2530E}"/>
              </a:ext>
            </a:extLst>
          </p:cNvPr>
          <p:cNvSpPr txBox="1"/>
          <p:nvPr/>
        </p:nvSpPr>
        <p:spPr>
          <a:xfrm>
            <a:off x="290325" y="191084"/>
            <a:ext cx="11577125" cy="400110"/>
          </a:xfrm>
          <a:prstGeom prst="rect">
            <a:avLst/>
          </a:prstGeom>
          <a:noFill/>
        </p:spPr>
        <p:txBody>
          <a:bodyPr wrap="square">
            <a:spAutoFit/>
          </a:bodyPr>
          <a:lstStyle/>
          <a:p>
            <a:pPr marL="0" marR="0" lvl="0" indent="0" algn="l" defTabSz="1218467" rtl="0" eaLnBrk="1" fontAlgn="auto" latinLnBrk="0" hangingPunct="1">
              <a:lnSpc>
                <a:spcPct val="100000"/>
              </a:lnSpc>
              <a:spcBef>
                <a:spcPts val="0"/>
              </a:spcBef>
              <a:spcAft>
                <a:spcPts val="0"/>
              </a:spcAft>
              <a:buClr>
                <a:srgbClr val="000000"/>
              </a:buClr>
              <a:buSzTx/>
              <a:buFontTx/>
              <a:buNone/>
              <a:tabLst/>
              <a:defRPr/>
            </a:pPr>
            <a:r>
              <a:rPr kumimoji="0" lang="en-US" sz="2000" b="0" i="0" u="none" strike="noStrike" kern="0" cap="none" spc="0" normalizeH="0" baseline="0" noProof="0" dirty="0">
                <a:ln>
                  <a:noFill/>
                </a:ln>
                <a:solidFill>
                  <a:srgbClr val="000000"/>
                </a:solidFill>
                <a:effectLst/>
                <a:uLnTx/>
                <a:uFillTx/>
                <a:latin typeface="IBM Plex Sans Light"/>
                <a:ea typeface="Helvetica Neue"/>
                <a:cs typeface="Arial"/>
                <a:sym typeface="Arial"/>
              </a:rPr>
              <a:t>Our HR domain assistants solve multiple use cases, and are modular and additive in nature</a:t>
            </a:r>
            <a:endParaRPr kumimoji="0" lang="en-US" sz="2000" b="0" i="0" u="none" strike="noStrike" kern="0" cap="none" spc="0" normalizeH="0" baseline="0" noProof="0" dirty="0">
              <a:ln>
                <a:noFill/>
              </a:ln>
              <a:solidFill>
                <a:srgbClr val="002D9C"/>
              </a:solidFill>
              <a:effectLst/>
              <a:uLnTx/>
              <a:uFillTx/>
              <a:latin typeface="IBM Plex Sans Light" panose="020B0403050203000203" pitchFamily="34" charset="0"/>
              <a:ea typeface="Helvetica Neue"/>
              <a:cs typeface="Arial"/>
              <a:sym typeface="Arial"/>
            </a:endParaRPr>
          </a:p>
        </p:txBody>
      </p:sp>
      <p:sp>
        <p:nvSpPr>
          <p:cNvPr id="27" name="TextBox 26">
            <a:extLst>
              <a:ext uri="{FF2B5EF4-FFF2-40B4-BE49-F238E27FC236}">
                <a16:creationId xmlns:a16="http://schemas.microsoft.com/office/drawing/2014/main" id="{D6F2F35A-0AA7-33FD-DBC0-07033A3E91E1}"/>
              </a:ext>
            </a:extLst>
          </p:cNvPr>
          <p:cNvSpPr txBox="1"/>
          <p:nvPr/>
        </p:nvSpPr>
        <p:spPr>
          <a:xfrm>
            <a:off x="4048943" y="4756508"/>
            <a:ext cx="2136225" cy="1556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0" marR="0" lvl="0" indent="0" algn="l" defTabSz="1218956" rtl="0" eaLnBrk="1" fontAlgn="auto" latinLnBrk="0" hangingPunct="1">
              <a:lnSpc>
                <a:spcPct val="110000"/>
              </a:lnSpc>
              <a:spcBef>
                <a:spcPts val="0"/>
              </a:spcBef>
              <a:spcAft>
                <a:spcPts val="0"/>
              </a:spcAft>
              <a:buClrTx/>
              <a:buSzPct val="100000"/>
              <a:buFontTx/>
              <a:buNone/>
              <a:tabLst/>
              <a:defRPr/>
            </a:pPr>
            <a:r>
              <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rPr>
              <a:t>Domain Specific Skill Catalog</a:t>
            </a:r>
          </a:p>
          <a:p>
            <a:pPr marL="0" marR="0" lvl="0" indent="0" algn="l" defTabSz="1218956" rtl="0" eaLnBrk="1" fontAlgn="auto" latinLnBrk="0" hangingPunct="1">
              <a:lnSpc>
                <a:spcPct val="110000"/>
              </a:lnSpc>
              <a:spcBef>
                <a:spcPts val="0"/>
              </a:spcBef>
              <a:spcAft>
                <a:spcPts val="0"/>
              </a:spcAft>
              <a:buClrTx/>
              <a:buSzPct val="100000"/>
              <a:buFontTx/>
              <a:buNone/>
              <a:tabLst/>
              <a:defRPr/>
            </a:pPr>
            <a:endPar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endParaRPr>
          </a:p>
          <a:p>
            <a:pPr marL="0" marR="0" lvl="0" indent="0" algn="l" defTabSz="1218956" rtl="0" eaLnBrk="1" fontAlgn="auto" latinLnBrk="0" hangingPunct="1">
              <a:lnSpc>
                <a:spcPct val="110000"/>
              </a:lnSpc>
              <a:spcBef>
                <a:spcPts val="0"/>
              </a:spcBef>
              <a:spcAft>
                <a:spcPts val="0"/>
              </a:spcAft>
              <a:buClrTx/>
              <a:buSzPct val="100000"/>
              <a:buFontTx/>
              <a:buNone/>
              <a:tabLst/>
              <a:defRPr/>
            </a:pPr>
            <a:endPar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endParaRPr>
          </a:p>
        </p:txBody>
      </p:sp>
      <p:cxnSp>
        <p:nvCxnSpPr>
          <p:cNvPr id="137" name="Straight Connector 136">
            <a:extLst>
              <a:ext uri="{FF2B5EF4-FFF2-40B4-BE49-F238E27FC236}">
                <a16:creationId xmlns:a16="http://schemas.microsoft.com/office/drawing/2014/main" id="{857C1F4D-D260-1D1F-CAFF-5AAE2ACE81ED}"/>
              </a:ext>
            </a:extLst>
          </p:cNvPr>
          <p:cNvCxnSpPr>
            <a:cxnSpLocks/>
          </p:cNvCxnSpPr>
          <p:nvPr/>
        </p:nvCxnSpPr>
        <p:spPr bwMode="auto">
          <a:xfrm flipH="1">
            <a:off x="6604102" y="4988596"/>
            <a:ext cx="8360" cy="884951"/>
          </a:xfrm>
          <a:prstGeom prst="line">
            <a:avLst/>
          </a:prstGeom>
          <a:ln w="28575">
            <a:solidFill>
              <a:schemeClr val="tx1"/>
            </a:solidFill>
            <a:prstDash val="dashDot"/>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8" name="Rounded Rectangle 137">
            <a:extLst>
              <a:ext uri="{FF2B5EF4-FFF2-40B4-BE49-F238E27FC236}">
                <a16:creationId xmlns:a16="http://schemas.microsoft.com/office/drawing/2014/main" id="{FCAE1942-6680-4489-9848-61056E05463A}"/>
              </a:ext>
            </a:extLst>
          </p:cNvPr>
          <p:cNvSpPr>
            <a:spLocks/>
          </p:cNvSpPr>
          <p:nvPr/>
        </p:nvSpPr>
        <p:spPr bwMode="auto">
          <a:xfrm flipH="1">
            <a:off x="3604990" y="4983158"/>
            <a:ext cx="2475685" cy="321492"/>
          </a:xfrm>
          <a:prstGeom prst="roundRect">
            <a:avLst/>
          </a:prstGeom>
          <a:solidFill>
            <a:schemeClr val="bg1"/>
          </a:solidFill>
          <a:ln w="19050">
            <a:solidFill>
              <a:srgbClr val="3DDBD9"/>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Employee support </a:t>
            </a:r>
            <a:r>
              <a:rPr kumimoji="0" lang="en-US" sz="900" b="0" i="0" u="none" strike="noStrike" kern="1200" cap="none" spc="0" normalizeH="0" baseline="0" noProof="0" dirty="0" err="1">
                <a:ln>
                  <a:noFill/>
                </a:ln>
                <a:solidFill>
                  <a:srgbClr val="000000"/>
                </a:solidFill>
                <a:effectLst/>
                <a:uLnTx/>
                <a:uFillTx/>
                <a:latin typeface="IBM Plex Sans Light"/>
                <a:ea typeface="+mn-ea"/>
                <a:cs typeface="+mn-cs"/>
              </a:rPr>
              <a:t>skillflow</a:t>
            </a: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 templates</a:t>
            </a:r>
          </a:p>
        </p:txBody>
      </p:sp>
      <p:sp>
        <p:nvSpPr>
          <p:cNvPr id="28" name="TextBox 27">
            <a:extLst>
              <a:ext uri="{FF2B5EF4-FFF2-40B4-BE49-F238E27FC236}">
                <a16:creationId xmlns:a16="http://schemas.microsoft.com/office/drawing/2014/main" id="{680B4E0D-798A-EA6A-8BB5-96C87A421A11}"/>
              </a:ext>
            </a:extLst>
          </p:cNvPr>
          <p:cNvSpPr txBox="1"/>
          <p:nvPr/>
        </p:nvSpPr>
        <p:spPr>
          <a:xfrm>
            <a:off x="3572940" y="4288270"/>
            <a:ext cx="6234618" cy="45689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0" marR="0" lvl="0" indent="0" algn="ctr" defTabSz="1218956" rtl="0" eaLnBrk="1" fontAlgn="auto" latinLnBrk="0" hangingPunct="1">
              <a:lnSpc>
                <a:spcPct val="110000"/>
              </a:lnSpc>
              <a:spcBef>
                <a:spcPts val="0"/>
              </a:spcBef>
              <a:spcAft>
                <a:spcPts val="0"/>
              </a:spcAft>
              <a:buClrTx/>
              <a:buSzPct val="100000"/>
              <a:buFontTx/>
              <a:buNone/>
              <a:tabLst/>
              <a:defRPr/>
            </a:pPr>
            <a:r>
              <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rPr>
              <a:t>w</a:t>
            </a:r>
            <a:r>
              <a:rPr kumimoji="0" lang="en-US" sz="900" b="1" i="0" u="none" strike="noStrike" kern="1200" cap="none" spc="0" normalizeH="0" baseline="0" noProof="0" dirty="0" err="1">
                <a:ln>
                  <a:noFill/>
                </a:ln>
                <a:solidFill>
                  <a:srgbClr val="000000"/>
                </a:solidFill>
                <a:effectLst/>
                <a:uLnTx/>
                <a:uFillTx/>
                <a:latin typeface="IBM Plex Sans SmBld" panose="020B0503050203000203" pitchFamily="34" charset="0"/>
                <a:ea typeface="+mn-ea"/>
                <a:cs typeface="+mn-cs"/>
              </a:rPr>
              <a:t>atsonx</a:t>
            </a:r>
            <a:r>
              <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rPr>
              <a:t> Orchestrate</a:t>
            </a:r>
          </a:p>
          <a:p>
            <a:pPr marL="0" marR="0" lvl="0" indent="0" algn="ctr" defTabSz="1218956" rtl="0" eaLnBrk="1" fontAlgn="auto" latinLnBrk="0" hangingPunct="1">
              <a:lnSpc>
                <a:spcPct val="11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Build custom automations and design skill flows to resolve end to end processes invokable through the AI Assistant</a:t>
            </a:r>
          </a:p>
        </p:txBody>
      </p:sp>
      <p:sp>
        <p:nvSpPr>
          <p:cNvPr id="13" name="Rounded Rectangle 12">
            <a:extLst>
              <a:ext uri="{FF2B5EF4-FFF2-40B4-BE49-F238E27FC236}">
                <a16:creationId xmlns:a16="http://schemas.microsoft.com/office/drawing/2014/main" id="{45C05417-BBC1-7894-6162-FE38A942C873}"/>
              </a:ext>
            </a:extLst>
          </p:cNvPr>
          <p:cNvSpPr>
            <a:spLocks/>
          </p:cNvSpPr>
          <p:nvPr/>
        </p:nvSpPr>
        <p:spPr bwMode="auto">
          <a:xfrm flipH="1">
            <a:off x="3171340" y="797507"/>
            <a:ext cx="6837612" cy="3209349"/>
          </a:xfrm>
          <a:prstGeom prst="roundRect">
            <a:avLst/>
          </a:prstGeom>
          <a:solidFill>
            <a:schemeClr val="bg1"/>
          </a:solidFill>
          <a:ln w="19050">
            <a:solidFill>
              <a:srgbClr val="3DDBD9"/>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w</a:t>
            </a:r>
            <a:r>
              <a:rPr kumimoji="0" lang="en-US" sz="900" b="0" i="0" u="none" strike="noStrike" kern="1200" cap="none" spc="0" normalizeH="0" baseline="0" noProof="0" dirty="0" err="1">
                <a:ln>
                  <a:noFill/>
                </a:ln>
                <a:solidFill>
                  <a:srgbClr val="000000"/>
                </a:solidFill>
                <a:effectLst/>
                <a:uLnTx/>
                <a:uFillTx/>
                <a:latin typeface="IBM Plex Sans Light"/>
                <a:ea typeface="+mn-ea"/>
                <a:cs typeface="+mn-cs"/>
              </a:rPr>
              <a:t>atsonx</a:t>
            </a: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 assistant for HR</a:t>
            </a:r>
          </a:p>
        </p:txBody>
      </p:sp>
      <p:sp>
        <p:nvSpPr>
          <p:cNvPr id="3" name="TextBox 2">
            <a:extLst>
              <a:ext uri="{FF2B5EF4-FFF2-40B4-BE49-F238E27FC236}">
                <a16:creationId xmlns:a16="http://schemas.microsoft.com/office/drawing/2014/main" id="{E8BA9FC6-8328-23B1-D73F-01D98C719E03}"/>
              </a:ext>
            </a:extLst>
          </p:cNvPr>
          <p:cNvSpPr txBox="1"/>
          <p:nvPr/>
        </p:nvSpPr>
        <p:spPr>
          <a:xfrm rot="16200000">
            <a:off x="6136803" y="5304585"/>
            <a:ext cx="548569" cy="13319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0" marR="0" lvl="0" indent="0" algn="ctr" defTabSz="1218956" rtl="0" eaLnBrk="1" fontAlgn="auto" latinLnBrk="0" hangingPunct="1">
              <a:lnSpc>
                <a:spcPct val="110000"/>
              </a:lnSpc>
              <a:spcBef>
                <a:spcPts val="0"/>
              </a:spcBef>
              <a:spcAft>
                <a:spcPts val="0"/>
              </a:spcAft>
              <a:buClrTx/>
              <a:buSzPct val="100000"/>
              <a:buFontTx/>
              <a:buNone/>
              <a:tabLst/>
              <a:defRPr/>
            </a:pPr>
            <a:r>
              <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rPr>
              <a:t>Add-on</a:t>
            </a:r>
          </a:p>
          <a:p>
            <a:pPr marL="0" marR="0" lvl="0" indent="0" algn="l" defTabSz="1218956" rtl="0" eaLnBrk="1" fontAlgn="auto" latinLnBrk="0" hangingPunct="1">
              <a:lnSpc>
                <a:spcPct val="110000"/>
              </a:lnSpc>
              <a:spcBef>
                <a:spcPts val="0"/>
              </a:spcBef>
              <a:spcAft>
                <a:spcPts val="0"/>
              </a:spcAft>
              <a:buClrTx/>
              <a:buSzPct val="100000"/>
              <a:buFontTx/>
              <a:buNone/>
              <a:tabLst/>
              <a:defRPr/>
            </a:pPr>
            <a:endPar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endParaRPr>
          </a:p>
          <a:p>
            <a:pPr marL="0" marR="0" lvl="0" indent="0" algn="l" defTabSz="1218956" rtl="0" eaLnBrk="1" fontAlgn="auto" latinLnBrk="0" hangingPunct="1">
              <a:lnSpc>
                <a:spcPct val="110000"/>
              </a:lnSpc>
              <a:spcBef>
                <a:spcPts val="0"/>
              </a:spcBef>
              <a:spcAft>
                <a:spcPts val="0"/>
              </a:spcAft>
              <a:buClrTx/>
              <a:buSzPct val="100000"/>
              <a:buFontTx/>
              <a:buNone/>
              <a:tabLst/>
              <a:defRPr/>
            </a:pPr>
            <a:endPar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endParaRPr>
          </a:p>
        </p:txBody>
      </p:sp>
      <p:grpSp>
        <p:nvGrpSpPr>
          <p:cNvPr id="2" name="Group 1">
            <a:extLst>
              <a:ext uri="{FF2B5EF4-FFF2-40B4-BE49-F238E27FC236}">
                <a16:creationId xmlns:a16="http://schemas.microsoft.com/office/drawing/2014/main" id="{86B9D0E8-F43F-8091-DADF-F729ED679F39}"/>
              </a:ext>
            </a:extLst>
          </p:cNvPr>
          <p:cNvGrpSpPr/>
          <p:nvPr/>
        </p:nvGrpSpPr>
        <p:grpSpPr>
          <a:xfrm>
            <a:off x="8347422" y="4889035"/>
            <a:ext cx="1372308" cy="962434"/>
            <a:chOff x="5943056" y="11255711"/>
            <a:chExt cx="2744974" cy="1925118"/>
          </a:xfrm>
        </p:grpSpPr>
        <p:sp>
          <p:nvSpPr>
            <p:cNvPr id="8" name="Text Placeholder 3">
              <a:extLst>
                <a:ext uri="{FF2B5EF4-FFF2-40B4-BE49-F238E27FC236}">
                  <a16:creationId xmlns:a16="http://schemas.microsoft.com/office/drawing/2014/main" id="{B88D47C3-BAA5-6283-C280-E428CDCB6BDB}"/>
                </a:ext>
              </a:extLst>
            </p:cNvPr>
            <p:cNvSpPr txBox="1">
              <a:spLocks/>
            </p:cNvSpPr>
            <p:nvPr/>
          </p:nvSpPr>
          <p:spPr>
            <a:xfrm>
              <a:off x="5943056" y="12142442"/>
              <a:ext cx="2744974" cy="1038387"/>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ctr" defTabSz="914507"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Gen AI catalog powered by </a:t>
              </a:r>
              <a:r>
                <a:rPr kumimoji="0" lang="en-US" sz="900"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watsonx.ai</a:t>
              </a: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models</a:t>
              </a:r>
            </a:p>
          </p:txBody>
        </p:sp>
        <p:grpSp>
          <p:nvGrpSpPr>
            <p:cNvPr id="9" name="Group 8">
              <a:extLst>
                <a:ext uri="{FF2B5EF4-FFF2-40B4-BE49-F238E27FC236}">
                  <a16:creationId xmlns:a16="http://schemas.microsoft.com/office/drawing/2014/main" id="{5E55CBE8-0583-49D5-4E0A-B3F114515B9F}"/>
                </a:ext>
              </a:extLst>
            </p:cNvPr>
            <p:cNvGrpSpPr/>
            <p:nvPr/>
          </p:nvGrpSpPr>
          <p:grpSpPr>
            <a:xfrm>
              <a:off x="6966153" y="11255711"/>
              <a:ext cx="719077" cy="720000"/>
              <a:chOff x="5392815" y="10851330"/>
              <a:chExt cx="719077" cy="720000"/>
            </a:xfrm>
          </p:grpSpPr>
          <p:sp>
            <p:nvSpPr>
              <p:cNvPr id="16" name="Rounded Rectangle 15">
                <a:extLst>
                  <a:ext uri="{FF2B5EF4-FFF2-40B4-BE49-F238E27FC236}">
                    <a16:creationId xmlns:a16="http://schemas.microsoft.com/office/drawing/2014/main" id="{D9F7ECB1-09F8-0F9B-A09F-8349C06CCD3C}"/>
                  </a:ext>
                </a:extLst>
              </p:cNvPr>
              <p:cNvSpPr>
                <a:spLocks noChangeAspect="1"/>
              </p:cNvSpPr>
              <p:nvPr/>
            </p:nvSpPr>
            <p:spPr bwMode="auto">
              <a:xfrm>
                <a:off x="5392815" y="10851330"/>
                <a:ext cx="719077" cy="720000"/>
              </a:xfrm>
              <a:prstGeom prst="round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IBM Plex Sans Light"/>
                  <a:ea typeface="+mn-ea"/>
                  <a:cs typeface="+mn-cs"/>
                </a:endParaRPr>
              </a:p>
            </p:txBody>
          </p:sp>
          <p:pic>
            <p:nvPicPr>
              <p:cNvPr id="23" name="Graphic 22">
                <a:extLst>
                  <a:ext uri="{FF2B5EF4-FFF2-40B4-BE49-F238E27FC236}">
                    <a16:creationId xmlns:a16="http://schemas.microsoft.com/office/drawing/2014/main" id="{780E7B03-9756-EAFF-07F1-97DFE00116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54353" y="11013330"/>
                <a:ext cx="396000" cy="396000"/>
              </a:xfrm>
              <a:prstGeom prst="rect">
                <a:avLst/>
              </a:prstGeom>
            </p:spPr>
          </p:pic>
        </p:grpSp>
      </p:grpSp>
      <p:grpSp>
        <p:nvGrpSpPr>
          <p:cNvPr id="24" name="Group 23">
            <a:extLst>
              <a:ext uri="{FF2B5EF4-FFF2-40B4-BE49-F238E27FC236}">
                <a16:creationId xmlns:a16="http://schemas.microsoft.com/office/drawing/2014/main" id="{BAAEF79F-0B9F-A966-56D2-D46EC58EF87C}"/>
              </a:ext>
            </a:extLst>
          </p:cNvPr>
          <p:cNvGrpSpPr/>
          <p:nvPr/>
        </p:nvGrpSpPr>
        <p:grpSpPr>
          <a:xfrm>
            <a:off x="6600641" y="4882925"/>
            <a:ext cx="833053" cy="790726"/>
            <a:chOff x="11250693" y="10014728"/>
            <a:chExt cx="1666323" cy="1581658"/>
          </a:xfrm>
        </p:grpSpPr>
        <p:sp>
          <p:nvSpPr>
            <p:cNvPr id="26" name="Text Placeholder 3">
              <a:extLst>
                <a:ext uri="{FF2B5EF4-FFF2-40B4-BE49-F238E27FC236}">
                  <a16:creationId xmlns:a16="http://schemas.microsoft.com/office/drawing/2014/main" id="{E01FC139-1998-FF10-585A-49404C67B6A1}"/>
                </a:ext>
              </a:extLst>
            </p:cNvPr>
            <p:cNvSpPr txBox="1">
              <a:spLocks/>
            </p:cNvSpPr>
            <p:nvPr/>
          </p:nvSpPr>
          <p:spPr>
            <a:xfrm>
              <a:off x="11250693" y="10895403"/>
              <a:ext cx="1666323" cy="700983"/>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ctr" defTabSz="914507"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App </a:t>
              </a:r>
              <a:b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catalog</a:t>
              </a:r>
            </a:p>
          </p:txBody>
        </p:sp>
        <p:sp>
          <p:nvSpPr>
            <p:cNvPr id="32" name="Rounded Rectangle 31">
              <a:extLst>
                <a:ext uri="{FF2B5EF4-FFF2-40B4-BE49-F238E27FC236}">
                  <a16:creationId xmlns:a16="http://schemas.microsoft.com/office/drawing/2014/main" id="{52439C78-FDC0-EAFA-E186-47258B91EAA7}"/>
                </a:ext>
              </a:extLst>
            </p:cNvPr>
            <p:cNvSpPr>
              <a:spLocks noChangeAspect="1"/>
            </p:cNvSpPr>
            <p:nvPr/>
          </p:nvSpPr>
          <p:spPr bwMode="auto">
            <a:xfrm>
              <a:off x="11721043" y="10014728"/>
              <a:ext cx="719077" cy="720000"/>
            </a:xfrm>
            <a:prstGeom prst="round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IBM Plex Sans Light"/>
                <a:ea typeface="+mn-ea"/>
                <a:cs typeface="+mn-cs"/>
              </a:endParaRPr>
            </a:p>
          </p:txBody>
        </p:sp>
        <p:pic>
          <p:nvPicPr>
            <p:cNvPr id="33" name="Graphic 32">
              <a:extLst>
                <a:ext uri="{FF2B5EF4-FFF2-40B4-BE49-F238E27FC236}">
                  <a16:creationId xmlns:a16="http://schemas.microsoft.com/office/drawing/2014/main" id="{6AD816B8-BC92-BF84-2091-DCF99557661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882581" y="10176728"/>
              <a:ext cx="396000" cy="396000"/>
            </a:xfrm>
            <a:prstGeom prst="rect">
              <a:avLst/>
            </a:prstGeom>
          </p:spPr>
        </p:pic>
      </p:grpSp>
      <p:grpSp>
        <p:nvGrpSpPr>
          <p:cNvPr id="34" name="Group 33">
            <a:extLst>
              <a:ext uri="{FF2B5EF4-FFF2-40B4-BE49-F238E27FC236}">
                <a16:creationId xmlns:a16="http://schemas.microsoft.com/office/drawing/2014/main" id="{83E2DCF7-5FA8-5888-7B81-362372B29270}"/>
              </a:ext>
            </a:extLst>
          </p:cNvPr>
          <p:cNvGrpSpPr/>
          <p:nvPr/>
        </p:nvGrpSpPr>
        <p:grpSpPr>
          <a:xfrm>
            <a:off x="7519735" y="4877808"/>
            <a:ext cx="833053" cy="790726"/>
            <a:chOff x="13573287" y="10014728"/>
            <a:chExt cx="1666323" cy="1581658"/>
          </a:xfrm>
        </p:grpSpPr>
        <p:grpSp>
          <p:nvGrpSpPr>
            <p:cNvPr id="35" name="Group 34">
              <a:extLst>
                <a:ext uri="{FF2B5EF4-FFF2-40B4-BE49-F238E27FC236}">
                  <a16:creationId xmlns:a16="http://schemas.microsoft.com/office/drawing/2014/main" id="{35854FCE-5896-842A-3113-AAB05E68E4D5}"/>
                </a:ext>
              </a:extLst>
            </p:cNvPr>
            <p:cNvGrpSpPr/>
            <p:nvPr/>
          </p:nvGrpSpPr>
          <p:grpSpPr>
            <a:xfrm>
              <a:off x="13573287" y="10014728"/>
              <a:ext cx="1666323" cy="1581658"/>
              <a:chOff x="20797968" y="11264043"/>
              <a:chExt cx="1666323" cy="1581658"/>
            </a:xfrm>
          </p:grpSpPr>
          <p:sp>
            <p:nvSpPr>
              <p:cNvPr id="53" name="Text Placeholder 3">
                <a:extLst>
                  <a:ext uri="{FF2B5EF4-FFF2-40B4-BE49-F238E27FC236}">
                    <a16:creationId xmlns:a16="http://schemas.microsoft.com/office/drawing/2014/main" id="{A6D2E5A7-E163-AAC2-DE68-884CB386E60F}"/>
                  </a:ext>
                </a:extLst>
              </p:cNvPr>
              <p:cNvSpPr txBox="1">
                <a:spLocks/>
              </p:cNvSpPr>
              <p:nvPr/>
            </p:nvSpPr>
            <p:spPr>
              <a:xfrm>
                <a:off x="20797968" y="12144718"/>
                <a:ext cx="1666323" cy="700983"/>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ctr" defTabSz="914507"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Assistant catalog</a:t>
                </a:r>
              </a:p>
            </p:txBody>
          </p:sp>
          <p:sp>
            <p:nvSpPr>
              <p:cNvPr id="54" name="Rounded Rectangle 53">
                <a:extLst>
                  <a:ext uri="{FF2B5EF4-FFF2-40B4-BE49-F238E27FC236}">
                    <a16:creationId xmlns:a16="http://schemas.microsoft.com/office/drawing/2014/main" id="{DEA01FFE-070B-D5DB-6169-33630A692C1B}"/>
                  </a:ext>
                </a:extLst>
              </p:cNvPr>
              <p:cNvSpPr>
                <a:spLocks noChangeAspect="1"/>
              </p:cNvSpPr>
              <p:nvPr/>
            </p:nvSpPr>
            <p:spPr bwMode="auto">
              <a:xfrm>
                <a:off x="21268318" y="11264043"/>
                <a:ext cx="719077" cy="720000"/>
              </a:xfrm>
              <a:prstGeom prst="round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IBM Plex Sans Light"/>
                  <a:ea typeface="+mn-ea"/>
                  <a:cs typeface="+mn-cs"/>
                </a:endParaRPr>
              </a:p>
            </p:txBody>
          </p:sp>
        </p:grpSp>
        <p:pic>
          <p:nvPicPr>
            <p:cNvPr id="41" name="Graphic 40">
              <a:extLst>
                <a:ext uri="{FF2B5EF4-FFF2-40B4-BE49-F238E27FC236}">
                  <a16:creationId xmlns:a16="http://schemas.microsoft.com/office/drawing/2014/main" id="{6C1463F9-E4E9-F367-B43A-839C44232E4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202300" y="10201944"/>
              <a:ext cx="396000" cy="396000"/>
            </a:xfrm>
            <a:prstGeom prst="rect">
              <a:avLst/>
            </a:prstGeom>
          </p:spPr>
        </p:pic>
      </p:grpSp>
      <p:sp>
        <p:nvSpPr>
          <p:cNvPr id="146" name="Rounded Rectangle 145">
            <a:extLst>
              <a:ext uri="{FF2B5EF4-FFF2-40B4-BE49-F238E27FC236}">
                <a16:creationId xmlns:a16="http://schemas.microsoft.com/office/drawing/2014/main" id="{0FB70475-DEE0-07F7-14FE-A380338CE3F3}"/>
              </a:ext>
            </a:extLst>
          </p:cNvPr>
          <p:cNvSpPr>
            <a:spLocks/>
          </p:cNvSpPr>
          <p:nvPr/>
        </p:nvSpPr>
        <p:spPr bwMode="auto">
          <a:xfrm flipH="1">
            <a:off x="3400296" y="1402268"/>
            <a:ext cx="2888831" cy="319998"/>
          </a:xfrm>
          <a:prstGeom prst="roundRect">
            <a:avLst/>
          </a:pr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Employee support</a:t>
            </a:r>
          </a:p>
        </p:txBody>
      </p:sp>
      <p:sp>
        <p:nvSpPr>
          <p:cNvPr id="12" name="Rounded Rectangle 11">
            <a:extLst>
              <a:ext uri="{FF2B5EF4-FFF2-40B4-BE49-F238E27FC236}">
                <a16:creationId xmlns:a16="http://schemas.microsoft.com/office/drawing/2014/main" id="{EAE31ECF-3734-D189-B908-E1F1A042A646}"/>
              </a:ext>
            </a:extLst>
          </p:cNvPr>
          <p:cNvSpPr>
            <a:spLocks/>
          </p:cNvSpPr>
          <p:nvPr/>
        </p:nvSpPr>
        <p:spPr bwMode="auto">
          <a:xfrm flipH="1">
            <a:off x="6842711" y="1403639"/>
            <a:ext cx="2879985" cy="319998"/>
          </a:xfrm>
          <a:prstGeom prst="roundRect">
            <a:avLst/>
          </a:pr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Talent acquisition</a:t>
            </a:r>
          </a:p>
        </p:txBody>
      </p:sp>
      <p:sp>
        <p:nvSpPr>
          <p:cNvPr id="18" name="Rounded Rectangle 17">
            <a:extLst>
              <a:ext uri="{FF2B5EF4-FFF2-40B4-BE49-F238E27FC236}">
                <a16:creationId xmlns:a16="http://schemas.microsoft.com/office/drawing/2014/main" id="{A682BEC9-E073-F963-5A29-E9B60654F5CE}"/>
              </a:ext>
            </a:extLst>
          </p:cNvPr>
          <p:cNvSpPr>
            <a:spLocks/>
          </p:cNvSpPr>
          <p:nvPr/>
        </p:nvSpPr>
        <p:spPr bwMode="auto">
          <a:xfrm flipH="1">
            <a:off x="3402970" y="1887282"/>
            <a:ext cx="1371421" cy="2011418"/>
          </a:xfrm>
          <a:prstGeom prst="roundRect">
            <a:avLst/>
          </a:pr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Tasks to be done (50+)</a:t>
            </a:r>
          </a:p>
          <a:p>
            <a:pPr marL="45711" marR="0" lvl="0" indent="-45711" algn="l" defTabSz="91450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Time off </a:t>
            </a:r>
            <a:r>
              <a:rPr kumimoji="0" lang="en-US" sz="900" b="0" i="0" u="none" strike="noStrike" kern="0" cap="none" spc="0" normalizeH="0" baseline="0" noProof="0" dirty="0" err="1">
                <a:ln>
                  <a:noFill/>
                </a:ln>
                <a:solidFill>
                  <a:srgbClr val="000000"/>
                </a:solidFill>
                <a:effectLst/>
                <a:uLnTx/>
                <a:uFillTx/>
                <a:latin typeface="IBM Plex Sans Light"/>
                <a:ea typeface="+mn-ea"/>
                <a:cs typeface="+mn-cs"/>
              </a:rPr>
              <a:t>mgmt</a:t>
            </a:r>
            <a:endParaRPr kumimoji="0" lang="en-US" sz="900" b="0" i="0" u="none" strike="noStrike" kern="0" cap="none" spc="0" normalizeH="0" baseline="0" noProof="0" dirty="0">
              <a:ln>
                <a:noFill/>
              </a:ln>
              <a:solidFill>
                <a:srgbClr val="000000"/>
              </a:solidFill>
              <a:effectLst/>
              <a:uLnTx/>
              <a:uFillTx/>
              <a:latin typeface="IBM Plex Sans Light"/>
              <a:ea typeface="+mn-ea"/>
              <a:cs typeface="+mn-cs"/>
            </a:endParaRPr>
          </a:p>
          <a:p>
            <a:pPr marL="45711" marR="0" lvl="0" indent="-45711" algn="l" defTabSz="91450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Employee </a:t>
            </a:r>
            <a:r>
              <a:rPr kumimoji="0" lang="en-US" sz="900" b="0" i="0" u="none" strike="noStrike" kern="0" cap="none" spc="0" normalizeH="0" baseline="0" noProof="0" dirty="0" err="1">
                <a:ln>
                  <a:noFill/>
                </a:ln>
                <a:solidFill>
                  <a:srgbClr val="000000"/>
                </a:solidFill>
                <a:effectLst/>
                <a:uLnTx/>
                <a:uFillTx/>
                <a:latin typeface="IBM Plex Sans Light"/>
                <a:ea typeface="+mn-ea"/>
                <a:cs typeface="+mn-cs"/>
              </a:rPr>
              <a:t>mgmt</a:t>
            </a:r>
            <a:endParaRPr kumimoji="0" lang="en-US" sz="900" b="0" i="0" u="none" strike="noStrike" kern="0" cap="none" spc="0" normalizeH="0" baseline="0" noProof="0" dirty="0">
              <a:ln>
                <a:noFill/>
              </a:ln>
              <a:solidFill>
                <a:srgbClr val="000000"/>
              </a:solidFill>
              <a:effectLst/>
              <a:uLnTx/>
              <a:uFillTx/>
              <a:latin typeface="IBM Plex Sans Light"/>
              <a:ea typeface="+mn-ea"/>
              <a:cs typeface="+mn-cs"/>
            </a:endParaRP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Profile </a:t>
            </a:r>
            <a:r>
              <a:rPr kumimoji="0" lang="en-US" sz="900" b="0" i="0" u="none" strike="noStrike" kern="0" cap="none" spc="0" normalizeH="0" baseline="0" noProof="0" dirty="0" err="1">
                <a:ln>
                  <a:noFill/>
                </a:ln>
                <a:solidFill>
                  <a:srgbClr val="000000"/>
                </a:solidFill>
                <a:effectLst/>
                <a:uLnTx/>
                <a:uFillTx/>
                <a:latin typeface="IBM Plex Sans Light"/>
                <a:ea typeface="+mn-ea"/>
                <a:cs typeface="+mn-cs"/>
                <a:sym typeface="IBM Plex Sans Light"/>
              </a:rPr>
              <a:t>mgmt</a:t>
            </a:r>
            <a:endPar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 Support</a:t>
            </a:r>
            <a:endPar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 Employee verification</a:t>
            </a: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 Benefits</a:t>
            </a: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 Compensation</a:t>
            </a:r>
          </a:p>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 </a:t>
            </a:r>
            <a:r>
              <a:rPr kumimoji="0" lang="en-US" sz="900" b="0" i="1" u="none" strike="noStrike" kern="0" cap="none" spc="0" normalizeH="0" baseline="0" noProof="0" dirty="0">
                <a:ln>
                  <a:noFill/>
                </a:ln>
                <a:solidFill>
                  <a:srgbClr val="000000"/>
                </a:solidFill>
                <a:effectLst/>
                <a:uLnTx/>
                <a:uFillTx/>
                <a:latin typeface="IBM Plex Sans Light"/>
                <a:ea typeface="+mn-ea"/>
                <a:cs typeface="+mn-cs"/>
              </a:rPr>
              <a:t>and many more…</a:t>
            </a:r>
            <a:endParaRPr kumimoji="0" lang="en-US" sz="900" b="0" i="1"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19" name="Rounded Rectangle 18">
            <a:extLst>
              <a:ext uri="{FF2B5EF4-FFF2-40B4-BE49-F238E27FC236}">
                <a16:creationId xmlns:a16="http://schemas.microsoft.com/office/drawing/2014/main" id="{4F15C2D8-621C-ED7B-65AA-4367B201A947}"/>
              </a:ext>
            </a:extLst>
          </p:cNvPr>
          <p:cNvSpPr>
            <a:spLocks/>
          </p:cNvSpPr>
          <p:nvPr/>
        </p:nvSpPr>
        <p:spPr bwMode="auto">
          <a:xfrm flipH="1">
            <a:off x="4906814" y="2984419"/>
            <a:ext cx="1371421" cy="914281"/>
          </a:xfrm>
          <a:prstGeom prst="roundRect">
            <a:avLst/>
          </a:pr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Informational help (1000+ topics)</a:t>
            </a: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 Semantic Search</a:t>
            </a:r>
            <a:endPar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HR prompts</a:t>
            </a: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 Gen AI skills</a:t>
            </a:r>
          </a:p>
          <a:p>
            <a:pPr marL="0" marR="0" lvl="0" indent="0" algn="ctr"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IBM Plex Sans Light"/>
              <a:ea typeface="+mn-ea"/>
              <a:cs typeface="+mn-cs"/>
            </a:endParaRPr>
          </a:p>
          <a:p>
            <a:pPr marL="45711" marR="0" lvl="0" indent="-45711" algn="l" defTabSz="91450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21" name="Rounded Rectangle 20">
            <a:extLst>
              <a:ext uri="{FF2B5EF4-FFF2-40B4-BE49-F238E27FC236}">
                <a16:creationId xmlns:a16="http://schemas.microsoft.com/office/drawing/2014/main" id="{3CEBAEAF-A0C7-8483-360D-F8D5510EA5B6}"/>
              </a:ext>
            </a:extLst>
          </p:cNvPr>
          <p:cNvSpPr>
            <a:spLocks/>
          </p:cNvSpPr>
          <p:nvPr/>
        </p:nvSpPr>
        <p:spPr bwMode="auto">
          <a:xfrm flipH="1">
            <a:off x="4898143" y="1887282"/>
            <a:ext cx="1371421" cy="914281"/>
          </a:xfrm>
          <a:prstGeom prst="roundRect">
            <a:avLst/>
          </a:pr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Conversational flows (custom built)</a:t>
            </a:r>
            <a:br>
              <a:rPr kumimoji="0" lang="en-US" sz="900" b="0" i="0" u="none" strike="noStrike" kern="1200" cap="none" spc="0" normalizeH="0" baseline="0" noProof="0" dirty="0">
                <a:ln>
                  <a:noFill/>
                </a:ln>
                <a:solidFill>
                  <a:srgbClr val="000000"/>
                </a:solidFill>
                <a:effectLst/>
                <a:uLnTx/>
                <a:uFillTx/>
                <a:latin typeface="IBM Plex Sans Light"/>
                <a:ea typeface="+mn-ea"/>
                <a:cs typeface="+mn-cs"/>
              </a:rPr>
            </a:br>
            <a:endParaRPr kumimoji="0" lang="en-US" sz="900" b="0" i="0" u="none" strike="noStrike" kern="1200" cap="none" spc="0" normalizeH="0" baseline="0" noProof="0" dirty="0">
              <a:ln>
                <a:noFill/>
              </a:ln>
              <a:solidFill>
                <a:srgbClr val="000000"/>
              </a:solidFill>
              <a:effectLst/>
              <a:uLnTx/>
              <a:uFillTx/>
              <a:latin typeface="IBM Plex Sans Light"/>
              <a:ea typeface="+mn-ea"/>
              <a:cs typeface="+mn-cs"/>
            </a:endParaRP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 Guided journeys</a:t>
            </a: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 Employee flows</a:t>
            </a:r>
          </a:p>
          <a:p>
            <a:pPr marL="0" marR="0" lvl="0" indent="0" algn="ctr"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IBM Plex Sans Light"/>
              <a:ea typeface="+mn-ea"/>
              <a:cs typeface="+mn-cs"/>
            </a:endParaRPr>
          </a:p>
          <a:p>
            <a:pPr marL="45711" marR="0" lvl="0" indent="-45711" algn="l" defTabSz="91450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15" name="Rounded Rectangle 14">
            <a:extLst>
              <a:ext uri="{FF2B5EF4-FFF2-40B4-BE49-F238E27FC236}">
                <a16:creationId xmlns:a16="http://schemas.microsoft.com/office/drawing/2014/main" id="{8245B129-942F-8D8E-D39E-C4249A69936C}"/>
              </a:ext>
            </a:extLst>
          </p:cNvPr>
          <p:cNvSpPr>
            <a:spLocks/>
          </p:cNvSpPr>
          <p:nvPr/>
        </p:nvSpPr>
        <p:spPr bwMode="auto">
          <a:xfrm flipH="1">
            <a:off x="6842711" y="1880868"/>
            <a:ext cx="1382314" cy="2011418"/>
          </a:xfrm>
          <a:prstGeom prst="roundRect">
            <a:avLst/>
          </a:pr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Tasks to be done (50+)</a:t>
            </a:r>
          </a:p>
          <a:p>
            <a:pPr marL="45711" marR="0" lvl="0" indent="-45711" algn="l" defTabSz="91450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Create job requisition </a:t>
            </a:r>
          </a:p>
          <a:p>
            <a:pPr marL="45711" marR="0" lvl="0" indent="-45711" algn="l" defTabSz="91450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Find candidates for job requisition </a:t>
            </a:r>
          </a:p>
          <a:p>
            <a:pPr marL="45711" marR="0" lvl="0" indent="-45711" algn="l" defTabSz="91450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Schedule interview for a candidate </a:t>
            </a:r>
          </a:p>
          <a:p>
            <a:pPr marL="45711" marR="0" lvl="0" indent="-45711" algn="l" defTabSz="91450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Interview transcript summarization</a:t>
            </a:r>
          </a:p>
          <a:p>
            <a:pPr marL="45711" marR="0" lvl="0" indent="-45711" algn="l" defTabSz="91450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Email rejection letter to candidate</a:t>
            </a:r>
          </a:p>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 </a:t>
            </a:r>
            <a:r>
              <a:rPr kumimoji="0" lang="en-US" sz="900" b="0" i="1" u="none" strike="noStrike" kern="0" cap="none" spc="0" normalizeH="0" baseline="0" noProof="0" dirty="0">
                <a:ln>
                  <a:noFill/>
                </a:ln>
                <a:solidFill>
                  <a:srgbClr val="000000"/>
                </a:solidFill>
                <a:effectLst/>
                <a:uLnTx/>
                <a:uFillTx/>
                <a:latin typeface="IBM Plex Sans Light"/>
                <a:ea typeface="+mn-ea"/>
                <a:cs typeface="+mn-cs"/>
              </a:rPr>
              <a:t>and many more…</a:t>
            </a:r>
            <a:endParaRPr kumimoji="0" lang="en-US" sz="900" b="0" i="1"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17" name="Rounded Rectangle 16">
            <a:extLst>
              <a:ext uri="{FF2B5EF4-FFF2-40B4-BE49-F238E27FC236}">
                <a16:creationId xmlns:a16="http://schemas.microsoft.com/office/drawing/2014/main" id="{D5691D46-A258-1B82-B4E9-1DE8BB8FD087}"/>
              </a:ext>
            </a:extLst>
          </p:cNvPr>
          <p:cNvSpPr>
            <a:spLocks/>
          </p:cNvSpPr>
          <p:nvPr/>
        </p:nvSpPr>
        <p:spPr bwMode="auto">
          <a:xfrm flipH="1">
            <a:off x="8351275" y="2978005"/>
            <a:ext cx="1371421" cy="914281"/>
          </a:xfrm>
          <a:prstGeom prst="roundRect">
            <a:avLst/>
          </a:pr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Informational help (1000+ topics)</a:t>
            </a: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 Semantic Search</a:t>
            </a:r>
            <a:endParaRPr kumimoji="0" lang="en-US" sz="9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HR prompts</a:t>
            </a: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 Gen AI skills</a:t>
            </a:r>
          </a:p>
          <a:p>
            <a:pPr marL="0" marR="0" lvl="0" indent="0" algn="ctr"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IBM Plex Sans Light"/>
              <a:ea typeface="+mn-ea"/>
              <a:cs typeface="+mn-cs"/>
            </a:endParaRPr>
          </a:p>
          <a:p>
            <a:pPr marL="45711" marR="0" lvl="0" indent="-45711" algn="l" defTabSz="91450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20" name="Rounded Rectangle 19">
            <a:extLst>
              <a:ext uri="{FF2B5EF4-FFF2-40B4-BE49-F238E27FC236}">
                <a16:creationId xmlns:a16="http://schemas.microsoft.com/office/drawing/2014/main" id="{9FB12E5A-76FD-2622-24D1-AB80D44B9698}"/>
              </a:ext>
            </a:extLst>
          </p:cNvPr>
          <p:cNvSpPr>
            <a:spLocks/>
          </p:cNvSpPr>
          <p:nvPr/>
        </p:nvSpPr>
        <p:spPr bwMode="auto">
          <a:xfrm flipH="1">
            <a:off x="8351275" y="1880868"/>
            <a:ext cx="1371421" cy="914281"/>
          </a:xfrm>
          <a:prstGeom prst="roundRect">
            <a:avLst/>
          </a:pr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Conversational flows (custom built)</a:t>
            </a:r>
            <a:br>
              <a:rPr kumimoji="0" lang="en-US" sz="900" b="0" i="0" u="none" strike="noStrike" kern="1200" cap="none" spc="0" normalizeH="0" baseline="0" noProof="0" dirty="0">
                <a:ln>
                  <a:noFill/>
                </a:ln>
                <a:solidFill>
                  <a:srgbClr val="000000"/>
                </a:solidFill>
                <a:effectLst/>
                <a:uLnTx/>
                <a:uFillTx/>
                <a:latin typeface="IBM Plex Sans Light"/>
                <a:ea typeface="+mn-ea"/>
                <a:cs typeface="+mn-cs"/>
              </a:rPr>
            </a:br>
            <a:endParaRPr kumimoji="0" lang="en-US" sz="900" b="0" i="0" u="none" strike="noStrike" kern="1200" cap="none" spc="0" normalizeH="0" baseline="0" noProof="0" dirty="0">
              <a:ln>
                <a:noFill/>
              </a:ln>
              <a:solidFill>
                <a:srgbClr val="000000"/>
              </a:solidFill>
              <a:effectLst/>
              <a:uLnTx/>
              <a:uFillTx/>
              <a:latin typeface="IBM Plex Sans Light"/>
              <a:ea typeface="+mn-ea"/>
              <a:cs typeface="+mn-cs"/>
            </a:endParaRP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 Guided journeys</a:t>
            </a:r>
          </a:p>
          <a:p>
            <a:pPr marL="45711" marR="0" lvl="0" indent="-45711" algn="l" defTabSz="1218956"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IBM Plex Sans Light"/>
                <a:ea typeface="+mn-ea"/>
                <a:cs typeface="+mn-cs"/>
              </a:rPr>
              <a:t> Recruiter flows</a:t>
            </a:r>
          </a:p>
          <a:p>
            <a:pPr marL="0" marR="0" lvl="0" indent="0" algn="ctr"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IBM Plex Sans Light"/>
              <a:ea typeface="+mn-ea"/>
              <a:cs typeface="+mn-cs"/>
            </a:endParaRPr>
          </a:p>
          <a:p>
            <a:pPr marL="45711" marR="0" lvl="0" indent="-45711" algn="l" defTabSz="91450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IBM Plex Sans Light"/>
              <a:ea typeface="+mn-ea"/>
              <a:cs typeface="+mn-cs"/>
            </a:endParaRPr>
          </a:p>
        </p:txBody>
      </p:sp>
      <p:cxnSp>
        <p:nvCxnSpPr>
          <p:cNvPr id="31" name="Elbow Connector 30">
            <a:extLst>
              <a:ext uri="{FF2B5EF4-FFF2-40B4-BE49-F238E27FC236}">
                <a16:creationId xmlns:a16="http://schemas.microsoft.com/office/drawing/2014/main" id="{EA2276E4-CF1E-7425-57E0-7CD6B62DBAA7}"/>
              </a:ext>
            </a:extLst>
          </p:cNvPr>
          <p:cNvCxnSpPr>
            <a:cxnSpLocks/>
            <a:stCxn id="138" idx="3"/>
            <a:endCxn id="18" idx="3"/>
          </p:cNvCxnSpPr>
          <p:nvPr/>
        </p:nvCxnSpPr>
        <p:spPr bwMode="auto">
          <a:xfrm rot="10800000">
            <a:off x="3402970" y="2892992"/>
            <a:ext cx="202021" cy="2250913"/>
          </a:xfrm>
          <a:prstGeom prst="bentConnector3">
            <a:avLst>
              <a:gd name="adj1" fmla="val 156571"/>
            </a:avLst>
          </a:prstGeom>
          <a:ln w="1905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40" name="TextBox 39">
            <a:extLst>
              <a:ext uri="{FF2B5EF4-FFF2-40B4-BE49-F238E27FC236}">
                <a16:creationId xmlns:a16="http://schemas.microsoft.com/office/drawing/2014/main" id="{B59472CE-3618-966B-57E3-868A0B6AC960}"/>
              </a:ext>
            </a:extLst>
          </p:cNvPr>
          <p:cNvSpPr txBox="1"/>
          <p:nvPr/>
        </p:nvSpPr>
        <p:spPr>
          <a:xfrm>
            <a:off x="1974162" y="1051071"/>
            <a:ext cx="6099216" cy="230832"/>
          </a:xfrm>
          <a:prstGeom prst="rect">
            <a:avLst/>
          </a:prstGeom>
          <a:noFill/>
        </p:spPr>
        <p:txBody>
          <a:bodyPr wrap="square">
            <a:spAutoFit/>
          </a:body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IBM Plex Sans Light"/>
                <a:ea typeface="+mn-ea"/>
                <a:cs typeface="+mn-cs"/>
              </a:rPr>
              <a:t>Domain assistant</a:t>
            </a:r>
            <a:endParaRPr kumimoji="0" lang="en-US" sz="9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42" name="TextBox 41">
            <a:extLst>
              <a:ext uri="{FF2B5EF4-FFF2-40B4-BE49-F238E27FC236}">
                <a16:creationId xmlns:a16="http://schemas.microsoft.com/office/drawing/2014/main" id="{981EF251-DC29-7E87-6ED3-A02C8CFC22C7}"/>
              </a:ext>
            </a:extLst>
          </p:cNvPr>
          <p:cNvSpPr txBox="1"/>
          <p:nvPr/>
        </p:nvSpPr>
        <p:spPr>
          <a:xfrm>
            <a:off x="1953843" y="1488185"/>
            <a:ext cx="1092637" cy="230832"/>
          </a:xfrm>
          <a:prstGeom prst="rect">
            <a:avLst/>
          </a:prstGeom>
          <a:noFill/>
        </p:spPr>
        <p:txBody>
          <a:bodyPr wrap="square">
            <a:spAutoFit/>
          </a:body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IBM Plex Sans Light"/>
                <a:ea typeface="+mn-ea"/>
                <a:cs typeface="+mn-cs"/>
              </a:rPr>
              <a:t>Use case</a:t>
            </a:r>
            <a:endParaRPr kumimoji="0" lang="en-US" sz="9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43" name="TextBox 42">
            <a:extLst>
              <a:ext uri="{FF2B5EF4-FFF2-40B4-BE49-F238E27FC236}">
                <a16:creationId xmlns:a16="http://schemas.microsoft.com/office/drawing/2014/main" id="{BB75D59D-6E07-B5FA-0C31-70E0A18A9FB6}"/>
              </a:ext>
            </a:extLst>
          </p:cNvPr>
          <p:cNvSpPr txBox="1"/>
          <p:nvPr/>
        </p:nvSpPr>
        <p:spPr>
          <a:xfrm>
            <a:off x="1957417" y="2648281"/>
            <a:ext cx="6099216" cy="369332"/>
          </a:xfrm>
          <a:prstGeom prst="rect">
            <a:avLst/>
          </a:prstGeom>
          <a:noFill/>
        </p:spPr>
        <p:txBody>
          <a:bodyPr wrap="square">
            <a:spAutoFit/>
          </a:body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IBM Plex Sans Light"/>
                <a:ea typeface="+mn-ea"/>
                <a:cs typeface="+mn-cs"/>
              </a:rPr>
              <a:t>Pre-built use case</a:t>
            </a:r>
            <a:br>
              <a:rPr kumimoji="0" lang="en-US" sz="900" b="1" i="0" u="none" strike="noStrike" kern="0" cap="none" spc="0" normalizeH="0" baseline="0" noProof="0" dirty="0">
                <a:ln>
                  <a:noFill/>
                </a:ln>
                <a:solidFill>
                  <a:srgbClr val="000000"/>
                </a:solidFill>
                <a:effectLst/>
                <a:uLnTx/>
                <a:uFillTx/>
                <a:latin typeface="IBM Plex Sans Light"/>
                <a:ea typeface="+mn-ea"/>
                <a:cs typeface="+mn-cs"/>
              </a:rPr>
            </a:br>
            <a:r>
              <a:rPr kumimoji="0" lang="en-US" sz="900" b="1" i="0" u="none" strike="noStrike" kern="0" cap="none" spc="0" normalizeH="0" baseline="0" noProof="0" dirty="0">
                <a:ln>
                  <a:noFill/>
                </a:ln>
                <a:solidFill>
                  <a:srgbClr val="000000"/>
                </a:solidFill>
                <a:effectLst/>
                <a:uLnTx/>
                <a:uFillTx/>
                <a:latin typeface="IBM Plex Sans Light"/>
                <a:ea typeface="+mn-ea"/>
                <a:cs typeface="+mn-cs"/>
              </a:rPr>
              <a:t>skills and content</a:t>
            </a:r>
            <a:endParaRPr kumimoji="0" lang="en-US" sz="9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45" name="TextBox 44">
            <a:extLst>
              <a:ext uri="{FF2B5EF4-FFF2-40B4-BE49-F238E27FC236}">
                <a16:creationId xmlns:a16="http://schemas.microsoft.com/office/drawing/2014/main" id="{062DBDD8-3313-7E5B-AB0F-04510A7E4606}"/>
              </a:ext>
            </a:extLst>
          </p:cNvPr>
          <p:cNvSpPr txBox="1"/>
          <p:nvPr/>
        </p:nvSpPr>
        <p:spPr>
          <a:xfrm>
            <a:off x="2036028" y="5431072"/>
            <a:ext cx="1010451" cy="369332"/>
          </a:xfrm>
          <a:prstGeom prst="rect">
            <a:avLst/>
          </a:prstGeom>
          <a:noFill/>
        </p:spPr>
        <p:txBody>
          <a:bodyPr wrap="square">
            <a:spAutoFit/>
          </a:body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IBM Plex Sans Light"/>
                <a:ea typeface="+mn-ea"/>
                <a:cs typeface="+mn-cs"/>
              </a:rPr>
              <a:t>Builder platform</a:t>
            </a:r>
            <a:br>
              <a:rPr kumimoji="0" lang="en-US" sz="900" b="1" i="0" u="none" strike="noStrike" kern="0" cap="none" spc="0" normalizeH="0" baseline="0" noProof="0" dirty="0">
                <a:ln>
                  <a:noFill/>
                </a:ln>
                <a:solidFill>
                  <a:srgbClr val="000000"/>
                </a:solidFill>
                <a:effectLst/>
                <a:uLnTx/>
                <a:uFillTx/>
                <a:latin typeface="IBM Plex Sans Light"/>
                <a:ea typeface="+mn-ea"/>
                <a:cs typeface="+mn-cs"/>
              </a:rPr>
            </a:br>
            <a:r>
              <a:rPr kumimoji="0" lang="en-US" sz="900" b="1" i="0" u="none" strike="noStrike" kern="0" cap="none" spc="0" normalizeH="0" baseline="0" noProof="0" dirty="0">
                <a:ln>
                  <a:noFill/>
                </a:ln>
                <a:solidFill>
                  <a:srgbClr val="000000"/>
                </a:solidFill>
                <a:effectLst/>
                <a:uLnTx/>
                <a:uFillTx/>
                <a:latin typeface="IBM Plex Sans Light"/>
                <a:ea typeface="+mn-ea"/>
                <a:cs typeface="+mn-cs"/>
              </a:rPr>
              <a:t> to customize</a:t>
            </a:r>
            <a:endParaRPr kumimoji="0" lang="en-US" sz="900" b="0" i="0" u="none" strike="noStrike" kern="1200" cap="none" spc="0" normalizeH="0" baseline="0" noProof="0" dirty="0">
              <a:ln>
                <a:noFill/>
              </a:ln>
              <a:solidFill>
                <a:srgbClr val="000000"/>
              </a:solidFill>
              <a:effectLst/>
              <a:uLnTx/>
              <a:uFillTx/>
              <a:latin typeface="IBM Plex Sans Light"/>
              <a:ea typeface="+mn-ea"/>
              <a:cs typeface="+mn-cs"/>
            </a:endParaRPr>
          </a:p>
        </p:txBody>
      </p:sp>
      <p:pic>
        <p:nvPicPr>
          <p:cNvPr id="29" name="Picture 22" descr="Servicenow Logo PNG vector in SVG, PDF, AI, CDR format">
            <a:extLst>
              <a:ext uri="{FF2B5EF4-FFF2-40B4-BE49-F238E27FC236}">
                <a16:creationId xmlns:a16="http://schemas.microsoft.com/office/drawing/2014/main" id="{2CDE3DD8-2D22-9B27-4B43-2154E3A0E053}"/>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39834" b="30851"/>
          <a:stretch/>
        </p:blipFill>
        <p:spPr bwMode="auto">
          <a:xfrm>
            <a:off x="8966165" y="6194457"/>
            <a:ext cx="1094051" cy="24072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D321D598-FC72-8A6D-C3F2-E9721A59E69F}"/>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8082353" y="6118254"/>
            <a:ext cx="825706" cy="32039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5" descr="Sap SuccessFactors Logo Download Vector">
            <a:extLst>
              <a:ext uri="{FF2B5EF4-FFF2-40B4-BE49-F238E27FC236}">
                <a16:creationId xmlns:a16="http://schemas.microsoft.com/office/drawing/2014/main" id="{24649EA0-6AA4-36A0-3D9E-FB35F3D7F6B2}"/>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5964763" y="6184615"/>
            <a:ext cx="1937002" cy="24072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descr="SoftwareReviews">
            <a:extLst>
              <a:ext uri="{FF2B5EF4-FFF2-40B4-BE49-F238E27FC236}">
                <a16:creationId xmlns:a16="http://schemas.microsoft.com/office/drawing/2014/main" id="{8AB36A63-A47E-D8AA-34B3-C19461670BC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70240" y="6063230"/>
            <a:ext cx="1052671" cy="49406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713E97B1-C21D-B032-8459-AB765640A89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669499" y="6157341"/>
            <a:ext cx="758888" cy="216466"/>
          </a:xfrm>
          <a:prstGeom prst="rect">
            <a:avLst/>
          </a:prstGeom>
          <a:noFill/>
          <a:extLst>
            <a:ext uri="{909E8E84-426E-40DD-AFC4-6F175D3DCCD1}">
              <a14:hiddenFill xmlns:a14="http://schemas.microsoft.com/office/drawing/2010/main">
                <a:solidFill>
                  <a:srgbClr val="FFFFFF"/>
                </a:solidFill>
              </a14:hiddenFill>
            </a:ext>
          </a:extLst>
        </p:spPr>
      </p:pic>
      <p:sp>
        <p:nvSpPr>
          <p:cNvPr id="6" name="Rounded Rectangle 5">
            <a:extLst>
              <a:ext uri="{FF2B5EF4-FFF2-40B4-BE49-F238E27FC236}">
                <a16:creationId xmlns:a16="http://schemas.microsoft.com/office/drawing/2014/main" id="{57E119F9-717A-8F0D-82C4-77A348ACF237}"/>
              </a:ext>
            </a:extLst>
          </p:cNvPr>
          <p:cNvSpPr>
            <a:spLocks/>
          </p:cNvSpPr>
          <p:nvPr/>
        </p:nvSpPr>
        <p:spPr bwMode="auto">
          <a:xfrm flipH="1">
            <a:off x="3604990" y="5419423"/>
            <a:ext cx="2475685" cy="321492"/>
          </a:xfrm>
          <a:prstGeom prst="roundRect">
            <a:avLst/>
          </a:prstGeom>
          <a:solidFill>
            <a:schemeClr val="bg1"/>
          </a:solidFill>
          <a:ln w="19050">
            <a:solidFill>
              <a:srgbClr val="3DDBD9"/>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Talent acquisition </a:t>
            </a:r>
            <a:r>
              <a:rPr kumimoji="0" lang="en-US" sz="900" b="0" i="0" u="none" strike="noStrike" kern="1200" cap="none" spc="0" normalizeH="0" baseline="0" noProof="0" dirty="0" err="1">
                <a:ln>
                  <a:noFill/>
                </a:ln>
                <a:solidFill>
                  <a:srgbClr val="000000"/>
                </a:solidFill>
                <a:effectLst/>
                <a:uLnTx/>
                <a:uFillTx/>
                <a:latin typeface="IBM Plex Sans Light"/>
                <a:ea typeface="+mn-ea"/>
                <a:cs typeface="+mn-cs"/>
              </a:rPr>
              <a:t>skillflow</a:t>
            </a: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 templates</a:t>
            </a:r>
          </a:p>
        </p:txBody>
      </p:sp>
    </p:spTree>
    <p:extLst>
      <p:ext uri="{BB962C8B-B14F-4D97-AF65-F5344CB8AC3E}">
        <p14:creationId xmlns:p14="http://schemas.microsoft.com/office/powerpoint/2010/main" val="5223880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E27674F-C837-E6C2-266F-4FA3366B9B8A}"/>
              </a:ext>
            </a:extLst>
          </p:cNvPr>
          <p:cNvSpPr>
            <a:spLocks noGrp="1"/>
          </p:cNvSpPr>
          <p:nvPr>
            <p:ph type="ftr" sz="quarter" idx="18"/>
          </p:nvPr>
        </p:nvSpPr>
        <p:spPr/>
        <p:txBody>
          <a:body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IBM Plex Sans Light"/>
                <a:ea typeface="+mn-ea"/>
                <a:cs typeface="+mn-cs"/>
              </a:rPr>
              <a:t>IBM Confidential</a:t>
            </a:r>
          </a:p>
        </p:txBody>
      </p:sp>
      <p:sp>
        <p:nvSpPr>
          <p:cNvPr id="6" name="Slide Number Placeholder 5">
            <a:extLst>
              <a:ext uri="{FF2B5EF4-FFF2-40B4-BE49-F238E27FC236}">
                <a16:creationId xmlns:a16="http://schemas.microsoft.com/office/drawing/2014/main" id="{9D1B9284-FCAB-F2EC-D4B2-172224B2A4FD}"/>
              </a:ext>
            </a:extLst>
          </p:cNvPr>
          <p:cNvSpPr>
            <a:spLocks noGrp="1"/>
          </p:cNvSpPr>
          <p:nvPr>
            <p:ph type="sldNum" sz="quarter" idx="4"/>
          </p:nvPr>
        </p:nvSpPr>
        <p:spPr>
          <a:xfrm>
            <a:off x="11782872" y="6469016"/>
            <a:ext cx="121828" cy="123111"/>
          </a:xfrm>
        </p:spPr>
        <p:txBody>
          <a:bodyPr/>
          <a:lstStyle/>
          <a:p>
            <a:pPr marL="0" marR="0" lvl="0" indent="0" algn="r" defTabSz="914507" rtl="0" eaLnBrk="1" fontAlgn="auto" latinLnBrk="0" hangingPunct="1">
              <a:lnSpc>
                <a:spcPct val="100000"/>
              </a:lnSpc>
              <a:spcBef>
                <a:spcPts val="0"/>
              </a:spcBef>
              <a:spcAft>
                <a:spcPts val="0"/>
              </a:spcAft>
              <a:buClrTx/>
              <a:buSzTx/>
              <a:buFontTx/>
              <a:buNone/>
              <a:tabLst/>
              <a:defRPr/>
            </a:pPr>
            <a:fld id="{59395FB3-9C97-154F-86B2-7E381B951268}" type="slidenum">
              <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sym typeface="IBM Plex Sans"/>
              </a:rPr>
              <a:pPr marL="0" marR="0" lvl="0" indent="0" algn="r" defTabSz="914507"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IBM Plex Sans"/>
            </a:endParaRPr>
          </a:p>
        </p:txBody>
      </p:sp>
      <p:sp>
        <p:nvSpPr>
          <p:cNvPr id="4" name="Title 1">
            <a:extLst>
              <a:ext uri="{FF2B5EF4-FFF2-40B4-BE49-F238E27FC236}">
                <a16:creationId xmlns:a16="http://schemas.microsoft.com/office/drawing/2014/main" id="{4C4B022C-ADF0-45CA-F47E-DC1C9A3D8681}"/>
              </a:ext>
            </a:extLst>
          </p:cNvPr>
          <p:cNvSpPr txBox="1">
            <a:spLocks/>
          </p:cNvSpPr>
          <p:nvPr/>
        </p:nvSpPr>
        <p:spPr>
          <a:xfrm>
            <a:off x="281174" y="268636"/>
            <a:ext cx="10221153" cy="1066661"/>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5688" b="0" i="0">
                <a:solidFill>
                  <a:schemeClr val="accent2"/>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261">
                <a:solidFill>
                  <a:srgbClr val="191919"/>
                </a:solidFill>
                <a:latin typeface="IBM Plex Sans Light" pitchFamily="34" charset="0"/>
              </a:defRPr>
            </a:lvl2pPr>
            <a:lvl3pPr algn="l" rtl="0" eaLnBrk="1" fontAlgn="base" hangingPunct="1">
              <a:lnSpc>
                <a:spcPct val="90000"/>
              </a:lnSpc>
              <a:spcBef>
                <a:spcPct val="0"/>
              </a:spcBef>
              <a:spcAft>
                <a:spcPct val="0"/>
              </a:spcAft>
              <a:defRPr sz="5261">
                <a:solidFill>
                  <a:srgbClr val="191919"/>
                </a:solidFill>
                <a:latin typeface="IBM Plex Sans Light" pitchFamily="34" charset="0"/>
              </a:defRPr>
            </a:lvl3pPr>
            <a:lvl4pPr algn="l" rtl="0" eaLnBrk="1" fontAlgn="base" hangingPunct="1">
              <a:lnSpc>
                <a:spcPct val="90000"/>
              </a:lnSpc>
              <a:spcBef>
                <a:spcPct val="0"/>
              </a:spcBef>
              <a:spcAft>
                <a:spcPct val="0"/>
              </a:spcAft>
              <a:defRPr sz="5261">
                <a:solidFill>
                  <a:srgbClr val="191919"/>
                </a:solidFill>
                <a:latin typeface="IBM Plex Sans Light" pitchFamily="34" charset="0"/>
              </a:defRPr>
            </a:lvl4pPr>
            <a:lvl5pPr algn="l" rtl="0" eaLnBrk="1" fontAlgn="base" hangingPunct="1">
              <a:lnSpc>
                <a:spcPct val="90000"/>
              </a:lnSpc>
              <a:spcBef>
                <a:spcPct val="0"/>
              </a:spcBef>
              <a:spcAft>
                <a:spcPct val="0"/>
              </a:spcAft>
              <a:defRPr sz="5261">
                <a:solidFill>
                  <a:srgbClr val="191919"/>
                </a:solidFill>
                <a:latin typeface="IBM Plex Sans Light" pitchFamily="34" charset="0"/>
              </a:defRPr>
            </a:lvl5pPr>
            <a:lvl6pPr marL="859408" algn="l" rtl="0" eaLnBrk="1" fontAlgn="base" hangingPunct="1">
              <a:lnSpc>
                <a:spcPct val="90000"/>
              </a:lnSpc>
              <a:spcBef>
                <a:spcPct val="0"/>
              </a:spcBef>
              <a:spcAft>
                <a:spcPct val="0"/>
              </a:spcAft>
              <a:defRPr sz="5261">
                <a:solidFill>
                  <a:srgbClr val="191919"/>
                </a:solidFill>
                <a:latin typeface="IBM Plex Sans Light" pitchFamily="34" charset="0"/>
              </a:defRPr>
            </a:lvl6pPr>
            <a:lvl7pPr marL="1718827" algn="l" rtl="0" eaLnBrk="1" fontAlgn="base" hangingPunct="1">
              <a:lnSpc>
                <a:spcPct val="90000"/>
              </a:lnSpc>
              <a:spcBef>
                <a:spcPct val="0"/>
              </a:spcBef>
              <a:spcAft>
                <a:spcPct val="0"/>
              </a:spcAft>
              <a:defRPr sz="5261">
                <a:solidFill>
                  <a:srgbClr val="191919"/>
                </a:solidFill>
                <a:latin typeface="IBM Plex Sans Light" pitchFamily="34" charset="0"/>
              </a:defRPr>
            </a:lvl7pPr>
            <a:lvl8pPr marL="2578238" algn="l" rtl="0" eaLnBrk="1" fontAlgn="base" hangingPunct="1">
              <a:lnSpc>
                <a:spcPct val="90000"/>
              </a:lnSpc>
              <a:spcBef>
                <a:spcPct val="0"/>
              </a:spcBef>
              <a:spcAft>
                <a:spcPct val="0"/>
              </a:spcAft>
              <a:defRPr sz="5261">
                <a:solidFill>
                  <a:srgbClr val="191919"/>
                </a:solidFill>
                <a:latin typeface="IBM Plex Sans Light" pitchFamily="34" charset="0"/>
              </a:defRPr>
            </a:lvl8pPr>
            <a:lvl9pPr marL="3437648" algn="l" rtl="0" eaLnBrk="1" fontAlgn="base" hangingPunct="1">
              <a:lnSpc>
                <a:spcPct val="90000"/>
              </a:lnSpc>
              <a:spcBef>
                <a:spcPct val="0"/>
              </a:spcBef>
              <a:spcAft>
                <a:spcPct val="0"/>
              </a:spcAft>
              <a:defRPr sz="5261">
                <a:solidFill>
                  <a:srgbClr val="191919"/>
                </a:solidFill>
                <a:latin typeface="IBM Plex Sans Light" pitchFamily="34" charset="0"/>
              </a:defRPr>
            </a:lvl9pPr>
          </a:lstStyle>
          <a:p>
            <a:pPr marL="0" marR="0" lvl="0" indent="0" algn="l" defTabSz="457109" rtl="0" eaLnBrk="1" fontAlgn="base" latinLnBrk="0" hangingPunct="1">
              <a:lnSpc>
                <a:spcPct val="90000"/>
              </a:lnSpc>
              <a:spcBef>
                <a:spcPct val="0"/>
              </a:spcBef>
              <a:spcAft>
                <a:spcPct val="0"/>
              </a:spcAft>
              <a:buClrTx/>
              <a:buSzTx/>
              <a:buFontTx/>
              <a:buNone/>
              <a:tabLst/>
              <a:defRPr/>
            </a:pPr>
            <a:r>
              <a:rPr kumimoji="0" lang="en-US" sz="2844" b="0" i="0" u="none" strike="noStrike" kern="0" cap="none" spc="0" normalizeH="0" baseline="0" noProof="0" dirty="0">
                <a:ln>
                  <a:noFill/>
                </a:ln>
                <a:solidFill>
                  <a:srgbClr val="000000"/>
                </a:solidFill>
                <a:effectLst/>
                <a:uLnTx/>
                <a:uFillTx/>
                <a:latin typeface="IBM Plex Sans Light"/>
              </a:rPr>
              <a:t>watsonx Orchestrate vision</a:t>
            </a:r>
            <a:endParaRPr kumimoji="0" lang="en-US" sz="2844" b="0" i="0" u="none" strike="noStrike" kern="0" cap="none" spc="0" normalizeH="0" baseline="0" noProof="0" dirty="0">
              <a:ln>
                <a:noFill/>
              </a:ln>
              <a:solidFill>
                <a:srgbClr val="0F62FE"/>
              </a:solidFill>
              <a:effectLst/>
              <a:uLnTx/>
              <a:uFillTx/>
              <a:latin typeface="IBM Plex Sans Light" panose="020B0403050203000203" pitchFamily="34" charset="0"/>
            </a:endParaRPr>
          </a:p>
        </p:txBody>
      </p:sp>
      <p:sp>
        <p:nvSpPr>
          <p:cNvPr id="3" name="Rounded Rectangle 2">
            <a:extLst>
              <a:ext uri="{FF2B5EF4-FFF2-40B4-BE49-F238E27FC236}">
                <a16:creationId xmlns:a16="http://schemas.microsoft.com/office/drawing/2014/main" id="{3EC13321-8A16-D00A-76C5-AC592FBCC255}"/>
              </a:ext>
            </a:extLst>
          </p:cNvPr>
          <p:cNvSpPr>
            <a:spLocks/>
          </p:cNvSpPr>
          <p:nvPr/>
        </p:nvSpPr>
        <p:spPr bwMode="auto">
          <a:xfrm flipH="1">
            <a:off x="471703" y="2837528"/>
            <a:ext cx="777139" cy="319998"/>
          </a:xfrm>
          <a:prstGeom prst="roundRect">
            <a:avLst/>
          </a:prstGeom>
          <a:solidFill>
            <a:schemeClr val="bg1"/>
          </a:solidFill>
          <a:ln w="19050">
            <a:solidFill>
              <a:srgbClr val="3DDBD9"/>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AI Assistant for HR</a:t>
            </a:r>
          </a:p>
        </p:txBody>
      </p:sp>
      <p:sp>
        <p:nvSpPr>
          <p:cNvPr id="7" name="Rounded Rectangle 6">
            <a:extLst>
              <a:ext uri="{FF2B5EF4-FFF2-40B4-BE49-F238E27FC236}">
                <a16:creationId xmlns:a16="http://schemas.microsoft.com/office/drawing/2014/main" id="{96BF8001-4483-E2DF-59FB-DC3CAB102476}"/>
              </a:ext>
            </a:extLst>
          </p:cNvPr>
          <p:cNvSpPr>
            <a:spLocks/>
          </p:cNvSpPr>
          <p:nvPr/>
        </p:nvSpPr>
        <p:spPr bwMode="auto">
          <a:xfrm flipH="1">
            <a:off x="1436992" y="2837528"/>
            <a:ext cx="796538" cy="319998"/>
          </a:xfrm>
          <a:prstGeom prst="roundRect">
            <a:avLst/>
          </a:prstGeom>
          <a:solidFill>
            <a:schemeClr val="bg1"/>
          </a:solidFill>
          <a:ln w="19050">
            <a:solidFill>
              <a:srgbClr val="7030A0"/>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AI Assistant for Sales</a:t>
            </a:r>
          </a:p>
        </p:txBody>
      </p:sp>
      <p:sp>
        <p:nvSpPr>
          <p:cNvPr id="9" name="Rounded Rectangle 8">
            <a:extLst>
              <a:ext uri="{FF2B5EF4-FFF2-40B4-BE49-F238E27FC236}">
                <a16:creationId xmlns:a16="http://schemas.microsoft.com/office/drawing/2014/main" id="{CA1E4A33-932B-7AFC-64F6-55B031AA4016}"/>
              </a:ext>
            </a:extLst>
          </p:cNvPr>
          <p:cNvSpPr>
            <a:spLocks/>
          </p:cNvSpPr>
          <p:nvPr/>
        </p:nvSpPr>
        <p:spPr bwMode="auto">
          <a:xfrm flipH="1">
            <a:off x="2392734" y="2837528"/>
            <a:ext cx="1071888" cy="319998"/>
          </a:xfrm>
          <a:prstGeom prst="roundRect">
            <a:avLst/>
          </a:prstGeom>
          <a:solidFill>
            <a:schemeClr val="bg1"/>
          </a:solidFill>
          <a:ln w="19050">
            <a:solidFill>
              <a:srgbClr val="FA4D56"/>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AI Assistant        for Procurement</a:t>
            </a:r>
          </a:p>
        </p:txBody>
      </p:sp>
      <p:sp>
        <p:nvSpPr>
          <p:cNvPr id="10" name="Rectangle 9">
            <a:extLst>
              <a:ext uri="{FF2B5EF4-FFF2-40B4-BE49-F238E27FC236}">
                <a16:creationId xmlns:a16="http://schemas.microsoft.com/office/drawing/2014/main" id="{BBD8AD3A-AEAB-5850-5886-79E24AA0E051}"/>
              </a:ext>
            </a:extLst>
          </p:cNvPr>
          <p:cNvSpPr/>
          <p:nvPr/>
        </p:nvSpPr>
        <p:spPr bwMode="auto">
          <a:xfrm>
            <a:off x="549265" y="1815512"/>
            <a:ext cx="6675202" cy="402051"/>
          </a:xfrm>
          <a:prstGeom prst="rect">
            <a:avLst/>
          </a:prstGeom>
          <a:solidFill>
            <a:schemeClr val="bg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ctr" defTabSz="1218956" rtl="0" eaLnBrk="1" fontAlgn="auto" latinLnBrk="0" hangingPunct="1">
              <a:lnSpc>
                <a:spcPct val="110000"/>
              </a:lnSpc>
              <a:spcBef>
                <a:spcPts val="0"/>
              </a:spcBef>
              <a:spcAft>
                <a:spcPts val="0"/>
              </a:spcAft>
              <a:buClrTx/>
              <a:buSzPct val="100000"/>
              <a:buFontTx/>
              <a:buNone/>
              <a:tabLst/>
              <a:defRPr/>
            </a:pPr>
            <a:r>
              <a:rPr kumimoji="0" lang="en-US" sz="900" b="1" i="0" u="none" strike="noStrike" kern="1200" cap="none" spc="0" normalizeH="0" baseline="0" noProof="0" dirty="0">
                <a:ln>
                  <a:noFill/>
                </a:ln>
                <a:solidFill>
                  <a:srgbClr val="000000"/>
                </a:solidFill>
                <a:effectLst/>
                <a:uLnTx/>
                <a:uFillTx/>
                <a:latin typeface=""/>
                <a:ea typeface="+mn-ea"/>
                <a:cs typeface="+mn-cs"/>
              </a:rPr>
              <a:t>w</a:t>
            </a:r>
            <a:r>
              <a:rPr kumimoji="0" lang="en-US" sz="900" b="1" i="0" u="none" strike="noStrike" kern="1200" cap="none" spc="0" normalizeH="0" baseline="0" noProof="0" dirty="0" err="1">
                <a:ln>
                  <a:noFill/>
                </a:ln>
                <a:solidFill>
                  <a:srgbClr val="000000"/>
                </a:solidFill>
                <a:effectLst/>
                <a:uLnTx/>
                <a:uFillTx/>
                <a:latin typeface=""/>
                <a:ea typeface="+mn-ea"/>
                <a:cs typeface="+mn-cs"/>
              </a:rPr>
              <a:t>atsonx</a:t>
            </a:r>
            <a:r>
              <a:rPr kumimoji="0" lang="en-US" sz="900" b="1" i="0" u="none" strike="noStrike" kern="1200" cap="none" spc="0" normalizeH="0" baseline="0" noProof="0" dirty="0">
                <a:ln>
                  <a:noFill/>
                </a:ln>
                <a:solidFill>
                  <a:srgbClr val="000000"/>
                </a:solidFill>
                <a:effectLst/>
                <a:uLnTx/>
                <a:uFillTx/>
                <a:latin typeface=""/>
                <a:ea typeface="+mn-ea"/>
                <a:cs typeface="+mn-cs"/>
              </a:rPr>
              <a:t> agent</a:t>
            </a:r>
          </a:p>
          <a:p>
            <a:pPr marL="0" marR="0" lvl="0" indent="0" algn="ctr" defTabSz="1218956" rtl="0" eaLnBrk="1" fontAlgn="auto" latinLnBrk="0" hangingPunct="1">
              <a:lnSpc>
                <a:spcPct val="11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0000"/>
                </a:solidFill>
                <a:effectLst/>
                <a:uLnTx/>
                <a:uFillTx/>
                <a:latin typeface=""/>
                <a:ea typeface="+mn-ea"/>
                <a:cs typeface="+mn-cs"/>
              </a:rPr>
              <a:t>w</a:t>
            </a:r>
            <a:r>
              <a:rPr kumimoji="0" lang="en-US" sz="900" b="0" i="0" u="none" strike="noStrike" kern="1200" cap="none" spc="0" normalizeH="0" baseline="0" noProof="0" dirty="0" err="1">
                <a:ln>
                  <a:noFill/>
                </a:ln>
                <a:solidFill>
                  <a:srgbClr val="000000"/>
                </a:solidFill>
                <a:effectLst/>
                <a:uLnTx/>
                <a:uFillTx/>
                <a:latin typeface=""/>
                <a:ea typeface="+mn-ea"/>
                <a:cs typeface="+mn-cs"/>
              </a:rPr>
              <a:t>atsonx</a:t>
            </a:r>
            <a:r>
              <a:rPr kumimoji="0" lang="en-US" sz="900" b="0" i="0" u="none" strike="noStrike" kern="1200" cap="none" spc="0" normalizeH="0" baseline="0" noProof="0" dirty="0">
                <a:ln>
                  <a:noFill/>
                </a:ln>
                <a:solidFill>
                  <a:srgbClr val="000000"/>
                </a:solidFill>
                <a:effectLst/>
                <a:uLnTx/>
                <a:uFillTx/>
                <a:latin typeface=""/>
                <a:ea typeface="+mn-ea"/>
                <a:cs typeface="+mn-cs"/>
              </a:rPr>
              <a:t> Orchestrate uses IBM Granite as a LLM-based router with agentic architecture to plug in assistants</a:t>
            </a:r>
          </a:p>
        </p:txBody>
      </p:sp>
      <p:sp>
        <p:nvSpPr>
          <p:cNvPr id="15" name="Rounded Rectangle 14">
            <a:extLst>
              <a:ext uri="{FF2B5EF4-FFF2-40B4-BE49-F238E27FC236}">
                <a16:creationId xmlns:a16="http://schemas.microsoft.com/office/drawing/2014/main" id="{96F1E960-E4A6-5D64-D7FF-A759543FE7DF}"/>
              </a:ext>
            </a:extLst>
          </p:cNvPr>
          <p:cNvSpPr>
            <a:spLocks/>
          </p:cNvSpPr>
          <p:nvPr/>
        </p:nvSpPr>
        <p:spPr bwMode="auto">
          <a:xfrm flipH="1">
            <a:off x="4849119" y="2842144"/>
            <a:ext cx="1097137" cy="319998"/>
          </a:xfrm>
          <a:prstGeom prst="roundRect">
            <a:avLst/>
          </a:pr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Incentives assistant</a:t>
            </a:r>
          </a:p>
        </p:txBody>
      </p:sp>
      <p:sp>
        <p:nvSpPr>
          <p:cNvPr id="20" name="TextBox 19">
            <a:extLst>
              <a:ext uri="{FF2B5EF4-FFF2-40B4-BE49-F238E27FC236}">
                <a16:creationId xmlns:a16="http://schemas.microsoft.com/office/drawing/2014/main" id="{B1E022A7-2B3F-F110-2991-FF9DBC95D266}"/>
              </a:ext>
            </a:extLst>
          </p:cNvPr>
          <p:cNvSpPr txBox="1"/>
          <p:nvPr/>
        </p:nvSpPr>
        <p:spPr>
          <a:xfrm>
            <a:off x="5314188" y="2915105"/>
            <a:ext cx="2577694" cy="20122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0" marR="0" lvl="0" indent="0" algn="ctr" defTabSz="1218956" rtl="0" eaLnBrk="1" fontAlgn="auto" latinLnBrk="0" hangingPunct="1">
              <a:lnSpc>
                <a:spcPct val="110000"/>
              </a:lnSpc>
              <a:spcBef>
                <a:spcPts val="0"/>
              </a:spcBef>
              <a:spcAft>
                <a:spcPts val="0"/>
              </a:spcAft>
              <a:buClrTx/>
              <a:buSzPct val="100000"/>
              <a:buFontTx/>
              <a:buNone/>
              <a:tabLst/>
              <a:defRPr/>
            </a:pPr>
            <a:r>
              <a:rPr kumimoji="0" lang="en-US" sz="900" b="0" i="1"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rPr>
              <a:t>…and many more</a:t>
            </a:r>
          </a:p>
        </p:txBody>
      </p:sp>
      <p:sp>
        <p:nvSpPr>
          <p:cNvPr id="21" name="Rounded Rectangle 20">
            <a:extLst>
              <a:ext uri="{FF2B5EF4-FFF2-40B4-BE49-F238E27FC236}">
                <a16:creationId xmlns:a16="http://schemas.microsoft.com/office/drawing/2014/main" id="{0E8D2233-9F45-0783-682E-0D77B8BA82B0}"/>
              </a:ext>
            </a:extLst>
          </p:cNvPr>
          <p:cNvSpPr>
            <a:spLocks/>
          </p:cNvSpPr>
          <p:nvPr/>
        </p:nvSpPr>
        <p:spPr bwMode="auto">
          <a:xfrm flipH="1">
            <a:off x="3607772" y="2842144"/>
            <a:ext cx="1097137" cy="319998"/>
          </a:xfrm>
          <a:prstGeom prst="roundRect">
            <a:avLst/>
          </a:pr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AI Assistant for IT</a:t>
            </a:r>
          </a:p>
        </p:txBody>
      </p:sp>
      <p:sp>
        <p:nvSpPr>
          <p:cNvPr id="23" name="Rectangle 22">
            <a:extLst>
              <a:ext uri="{FF2B5EF4-FFF2-40B4-BE49-F238E27FC236}">
                <a16:creationId xmlns:a16="http://schemas.microsoft.com/office/drawing/2014/main" id="{09EB1A1F-DF6B-9E86-D076-BCACD5608F02}"/>
              </a:ext>
            </a:extLst>
          </p:cNvPr>
          <p:cNvSpPr/>
          <p:nvPr/>
        </p:nvSpPr>
        <p:spPr>
          <a:xfrm>
            <a:off x="209669" y="1566548"/>
            <a:ext cx="810922" cy="359067"/>
          </a:xfrm>
          <a:prstGeom prst="rect">
            <a:avLst/>
          </a:prstGeom>
          <a:solidFill>
            <a:srgbClr val="F1C21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397" tIns="25397" rIns="25397" bIns="25397" numCol="1" spcCol="38100" rtlCol="0" anchor="ctr">
            <a:spAutoFit/>
          </a:bodyPr>
          <a:lstStyle/>
          <a:p>
            <a:pPr marL="0" marR="0" lvl="0" indent="0" algn="ctr" defTabSz="412667"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10000"/>
                  </a:srgbClr>
                </a:solidFill>
                <a:effectLst/>
                <a:uLnTx/>
                <a:uFillTx/>
                <a:latin typeface="Helvetica Neue Medium"/>
                <a:ea typeface="Helvetica Neue Medium"/>
                <a:cs typeface="Helvetica Neue Medium"/>
                <a:sym typeface="Helvetica Neue Medium"/>
              </a:rPr>
              <a:t>NEW – closed beta</a:t>
            </a:r>
          </a:p>
        </p:txBody>
      </p:sp>
      <p:sp>
        <p:nvSpPr>
          <p:cNvPr id="24" name="Rectangle 23">
            <a:extLst>
              <a:ext uri="{FF2B5EF4-FFF2-40B4-BE49-F238E27FC236}">
                <a16:creationId xmlns:a16="http://schemas.microsoft.com/office/drawing/2014/main" id="{5A68B1C5-EA1A-447F-6548-223B14CED1A9}"/>
              </a:ext>
            </a:extLst>
          </p:cNvPr>
          <p:cNvSpPr/>
          <p:nvPr/>
        </p:nvSpPr>
        <p:spPr bwMode="auto">
          <a:xfrm>
            <a:off x="493065" y="4061016"/>
            <a:ext cx="6675202" cy="1716799"/>
          </a:xfrm>
          <a:prstGeom prst="rect">
            <a:avLst/>
          </a:prstGeom>
          <a:solidFill>
            <a:schemeClr val="bg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IBM Plex Sans Light"/>
                <a:ea typeface="+mn-ea"/>
                <a:cs typeface="+mn-cs"/>
              </a:rPr>
              <a:t> </a:t>
            </a:r>
          </a:p>
        </p:txBody>
      </p:sp>
      <p:sp>
        <p:nvSpPr>
          <p:cNvPr id="25" name="Rectangle 24">
            <a:extLst>
              <a:ext uri="{FF2B5EF4-FFF2-40B4-BE49-F238E27FC236}">
                <a16:creationId xmlns:a16="http://schemas.microsoft.com/office/drawing/2014/main" id="{9E02EFFB-15AC-FF18-BFF2-0101078414CF}"/>
              </a:ext>
            </a:extLst>
          </p:cNvPr>
          <p:cNvSpPr/>
          <p:nvPr/>
        </p:nvSpPr>
        <p:spPr bwMode="auto">
          <a:xfrm>
            <a:off x="490140" y="3634034"/>
            <a:ext cx="6675202" cy="433185"/>
          </a:xfrm>
          <a:prstGeom prst="rect">
            <a:avLst/>
          </a:prstGeom>
          <a:solidFill>
            <a:schemeClr val="bg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ctr" defTabSz="1218956" rtl="0" eaLnBrk="1" fontAlgn="auto" latinLnBrk="0" hangingPunct="1">
              <a:lnSpc>
                <a:spcPct val="110000"/>
              </a:lnSpc>
              <a:spcBef>
                <a:spcPts val="0"/>
              </a:spcBef>
              <a:spcAft>
                <a:spcPts val="0"/>
              </a:spcAft>
              <a:buClrTx/>
              <a:buSzPct val="100000"/>
              <a:buFontTx/>
              <a:buNone/>
              <a:tabLst/>
              <a:defRPr/>
            </a:pPr>
            <a:r>
              <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rPr>
              <a:t>AI Assistant Builder</a:t>
            </a:r>
          </a:p>
          <a:p>
            <a:pPr marL="0" marR="0" lvl="0" indent="0" algn="ctr" defTabSz="1218956" rtl="0" eaLnBrk="1" fontAlgn="auto" latinLnBrk="0" hangingPunct="1">
              <a:lnSpc>
                <a:spcPct val="11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Customize AI Assistant to the Enterprise use case leaning on generative AI</a:t>
            </a:r>
          </a:p>
        </p:txBody>
      </p:sp>
      <p:sp>
        <p:nvSpPr>
          <p:cNvPr id="26" name="TextBox 25">
            <a:extLst>
              <a:ext uri="{FF2B5EF4-FFF2-40B4-BE49-F238E27FC236}">
                <a16:creationId xmlns:a16="http://schemas.microsoft.com/office/drawing/2014/main" id="{832D440E-73E4-2C8B-3049-539CE8F37050}"/>
              </a:ext>
            </a:extLst>
          </p:cNvPr>
          <p:cNvSpPr txBox="1"/>
          <p:nvPr/>
        </p:nvSpPr>
        <p:spPr>
          <a:xfrm>
            <a:off x="669602" y="4118012"/>
            <a:ext cx="6234618" cy="45689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0" marR="0" lvl="0" indent="0" algn="ctr" defTabSz="1218956" rtl="0" eaLnBrk="1" fontAlgn="auto" latinLnBrk="0" hangingPunct="1">
              <a:lnSpc>
                <a:spcPct val="110000"/>
              </a:lnSpc>
              <a:spcBef>
                <a:spcPts val="0"/>
              </a:spcBef>
              <a:spcAft>
                <a:spcPts val="0"/>
              </a:spcAft>
              <a:buClrTx/>
              <a:buSzPct val="100000"/>
              <a:buFontTx/>
              <a:buNone/>
              <a:tabLst/>
              <a:defRPr/>
            </a:pPr>
            <a:r>
              <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rPr>
              <a:t>Skill Studio</a:t>
            </a:r>
          </a:p>
          <a:p>
            <a:pPr marL="0" marR="0" lvl="0" indent="0" algn="ctr" defTabSz="1218956" rtl="0" eaLnBrk="1" fontAlgn="auto" latinLnBrk="0" hangingPunct="1">
              <a:lnSpc>
                <a:spcPct val="11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Build custom automations and design skill flows to resolve end to end processes invokable through the AI Assistant</a:t>
            </a:r>
          </a:p>
        </p:txBody>
      </p:sp>
      <p:sp>
        <p:nvSpPr>
          <p:cNvPr id="27" name="TextBox 26">
            <a:extLst>
              <a:ext uri="{FF2B5EF4-FFF2-40B4-BE49-F238E27FC236}">
                <a16:creationId xmlns:a16="http://schemas.microsoft.com/office/drawing/2014/main" id="{EE98B293-4414-DDC0-E8A6-A3DC559BD285}"/>
              </a:ext>
            </a:extLst>
          </p:cNvPr>
          <p:cNvSpPr txBox="1"/>
          <p:nvPr/>
        </p:nvSpPr>
        <p:spPr>
          <a:xfrm>
            <a:off x="1164449" y="4561066"/>
            <a:ext cx="2136225" cy="1556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0" marR="0" lvl="0" indent="0" algn="l" defTabSz="1218956" rtl="0" eaLnBrk="1" fontAlgn="auto" latinLnBrk="0" hangingPunct="1">
              <a:lnSpc>
                <a:spcPct val="110000"/>
              </a:lnSpc>
              <a:spcBef>
                <a:spcPts val="0"/>
              </a:spcBef>
              <a:spcAft>
                <a:spcPts val="0"/>
              </a:spcAft>
              <a:buClrTx/>
              <a:buSzPct val="100000"/>
              <a:buFontTx/>
              <a:buNone/>
              <a:tabLst/>
              <a:defRPr/>
            </a:pPr>
            <a:r>
              <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rPr>
              <a:t>Domain Specific Skill Catalog</a:t>
            </a:r>
          </a:p>
          <a:p>
            <a:pPr marL="0" marR="0" lvl="0" indent="0" algn="l" defTabSz="1218956" rtl="0" eaLnBrk="1" fontAlgn="auto" latinLnBrk="0" hangingPunct="1">
              <a:lnSpc>
                <a:spcPct val="110000"/>
              </a:lnSpc>
              <a:spcBef>
                <a:spcPts val="0"/>
              </a:spcBef>
              <a:spcAft>
                <a:spcPts val="0"/>
              </a:spcAft>
              <a:buClrTx/>
              <a:buSzPct val="100000"/>
              <a:buFontTx/>
              <a:buNone/>
              <a:tabLst/>
              <a:defRPr/>
            </a:pPr>
            <a:endPar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endParaRPr>
          </a:p>
          <a:p>
            <a:pPr marL="0" marR="0" lvl="0" indent="0" algn="l" defTabSz="1218956" rtl="0" eaLnBrk="1" fontAlgn="auto" latinLnBrk="0" hangingPunct="1">
              <a:lnSpc>
                <a:spcPct val="110000"/>
              </a:lnSpc>
              <a:spcBef>
                <a:spcPts val="0"/>
              </a:spcBef>
              <a:spcAft>
                <a:spcPts val="0"/>
              </a:spcAft>
              <a:buClrTx/>
              <a:buSzPct val="100000"/>
              <a:buFontTx/>
              <a:buNone/>
              <a:tabLst/>
              <a:defRPr/>
            </a:pPr>
            <a:endPar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endParaRPr>
          </a:p>
        </p:txBody>
      </p:sp>
      <p:cxnSp>
        <p:nvCxnSpPr>
          <p:cNvPr id="28" name="Straight Connector 27">
            <a:extLst>
              <a:ext uri="{FF2B5EF4-FFF2-40B4-BE49-F238E27FC236}">
                <a16:creationId xmlns:a16="http://schemas.microsoft.com/office/drawing/2014/main" id="{FC24CE83-D274-1C7C-0A56-BDD04D83DEDE}"/>
              </a:ext>
            </a:extLst>
          </p:cNvPr>
          <p:cNvCxnSpPr>
            <a:cxnSpLocks/>
          </p:cNvCxnSpPr>
          <p:nvPr/>
        </p:nvCxnSpPr>
        <p:spPr bwMode="auto">
          <a:xfrm flipH="1">
            <a:off x="3721975" y="4598732"/>
            <a:ext cx="8360" cy="884951"/>
          </a:xfrm>
          <a:prstGeom prst="line">
            <a:avLst/>
          </a:prstGeom>
          <a:ln w="28575">
            <a:solidFill>
              <a:schemeClr val="tx1"/>
            </a:solidFill>
            <a:prstDash val="dashDot"/>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 name="Rounded Rectangle 28">
            <a:extLst>
              <a:ext uri="{FF2B5EF4-FFF2-40B4-BE49-F238E27FC236}">
                <a16:creationId xmlns:a16="http://schemas.microsoft.com/office/drawing/2014/main" id="{99A68832-B8D8-7FC4-529F-EBACCB7CBB8B}"/>
              </a:ext>
            </a:extLst>
          </p:cNvPr>
          <p:cNvSpPr>
            <a:spLocks/>
          </p:cNvSpPr>
          <p:nvPr/>
        </p:nvSpPr>
        <p:spPr bwMode="auto">
          <a:xfrm flipH="1">
            <a:off x="2007616" y="4787718"/>
            <a:ext cx="1188565" cy="274284"/>
          </a:xfrm>
          <a:prstGeom prst="roundRect">
            <a:avLst/>
          </a:prstGeom>
          <a:solidFill>
            <a:schemeClr val="bg1"/>
          </a:solidFill>
          <a:ln w="19050">
            <a:solidFill>
              <a:srgbClr val="3DDBD9"/>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HR Skills</a:t>
            </a:r>
          </a:p>
        </p:txBody>
      </p:sp>
      <p:sp>
        <p:nvSpPr>
          <p:cNvPr id="30" name="Rounded Rectangle 29">
            <a:extLst>
              <a:ext uri="{FF2B5EF4-FFF2-40B4-BE49-F238E27FC236}">
                <a16:creationId xmlns:a16="http://schemas.microsoft.com/office/drawing/2014/main" id="{FE6E2F39-C396-C3A5-E5E3-7A97E53DD2DB}"/>
              </a:ext>
            </a:extLst>
          </p:cNvPr>
          <p:cNvSpPr>
            <a:spLocks/>
          </p:cNvSpPr>
          <p:nvPr/>
        </p:nvSpPr>
        <p:spPr bwMode="auto">
          <a:xfrm flipH="1">
            <a:off x="685763" y="4782182"/>
            <a:ext cx="1188565" cy="274284"/>
          </a:xfrm>
          <a:prstGeom prst="roundRect">
            <a:avLst/>
          </a:prstGeom>
          <a:solidFill>
            <a:schemeClr val="bg1"/>
          </a:solidFill>
          <a:ln w="19050">
            <a:solidFill>
              <a:srgbClr val="7030A0"/>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Sales Skills</a:t>
            </a:r>
          </a:p>
        </p:txBody>
      </p:sp>
      <p:sp>
        <p:nvSpPr>
          <p:cNvPr id="31" name="Rounded Rectangle 30">
            <a:extLst>
              <a:ext uri="{FF2B5EF4-FFF2-40B4-BE49-F238E27FC236}">
                <a16:creationId xmlns:a16="http://schemas.microsoft.com/office/drawing/2014/main" id="{1F739929-BA5B-4135-4183-8E1AF5E50E53}"/>
              </a:ext>
            </a:extLst>
          </p:cNvPr>
          <p:cNvSpPr>
            <a:spLocks/>
          </p:cNvSpPr>
          <p:nvPr/>
        </p:nvSpPr>
        <p:spPr bwMode="auto">
          <a:xfrm flipH="1">
            <a:off x="692044" y="5204005"/>
            <a:ext cx="1188565" cy="274284"/>
          </a:xfrm>
          <a:prstGeom prst="roundRect">
            <a:avLst/>
          </a:prstGeom>
          <a:solidFill>
            <a:schemeClr val="bg1"/>
          </a:solidFill>
          <a:ln w="19050">
            <a:solidFill>
              <a:srgbClr val="FA4D56"/>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Procurement Skills</a:t>
            </a:r>
          </a:p>
        </p:txBody>
      </p:sp>
      <p:sp>
        <p:nvSpPr>
          <p:cNvPr id="32" name="Rounded Rectangle 31">
            <a:extLst>
              <a:ext uri="{FF2B5EF4-FFF2-40B4-BE49-F238E27FC236}">
                <a16:creationId xmlns:a16="http://schemas.microsoft.com/office/drawing/2014/main" id="{ABCAE60D-3149-242A-584B-9F61E3A6C09C}"/>
              </a:ext>
            </a:extLst>
          </p:cNvPr>
          <p:cNvSpPr>
            <a:spLocks/>
          </p:cNvSpPr>
          <p:nvPr/>
        </p:nvSpPr>
        <p:spPr bwMode="auto">
          <a:xfrm flipH="1">
            <a:off x="2010512" y="5204005"/>
            <a:ext cx="1188565" cy="274284"/>
          </a:xfrm>
          <a:prstGeom prst="roundRect">
            <a:avLst/>
          </a:prstGeom>
          <a:solidFill>
            <a:schemeClr val="bg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Customer Care Skills</a:t>
            </a:r>
          </a:p>
        </p:txBody>
      </p:sp>
      <p:sp>
        <p:nvSpPr>
          <p:cNvPr id="33" name="TextBox 32">
            <a:extLst>
              <a:ext uri="{FF2B5EF4-FFF2-40B4-BE49-F238E27FC236}">
                <a16:creationId xmlns:a16="http://schemas.microsoft.com/office/drawing/2014/main" id="{AD4A15EE-AC4D-615C-27C3-8CA64B028772}"/>
              </a:ext>
            </a:extLst>
          </p:cNvPr>
          <p:cNvSpPr txBox="1"/>
          <p:nvPr/>
        </p:nvSpPr>
        <p:spPr>
          <a:xfrm rot="16200000">
            <a:off x="3290228" y="4976446"/>
            <a:ext cx="548569" cy="13319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0" marR="0" lvl="0" indent="0" algn="ctr" defTabSz="1218956" rtl="0" eaLnBrk="1" fontAlgn="auto" latinLnBrk="0" hangingPunct="1">
              <a:lnSpc>
                <a:spcPct val="110000"/>
              </a:lnSpc>
              <a:spcBef>
                <a:spcPts val="0"/>
              </a:spcBef>
              <a:spcAft>
                <a:spcPts val="0"/>
              </a:spcAft>
              <a:buClrTx/>
              <a:buSzPct val="100000"/>
              <a:buFontTx/>
              <a:buNone/>
              <a:tabLst/>
              <a:defRPr/>
            </a:pPr>
            <a:r>
              <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rPr>
              <a:t>Add-on</a:t>
            </a:r>
          </a:p>
          <a:p>
            <a:pPr marL="0" marR="0" lvl="0" indent="0" algn="l" defTabSz="1218956" rtl="0" eaLnBrk="1" fontAlgn="auto" latinLnBrk="0" hangingPunct="1">
              <a:lnSpc>
                <a:spcPct val="110000"/>
              </a:lnSpc>
              <a:spcBef>
                <a:spcPts val="0"/>
              </a:spcBef>
              <a:spcAft>
                <a:spcPts val="0"/>
              </a:spcAft>
              <a:buClrTx/>
              <a:buSzPct val="100000"/>
              <a:buFontTx/>
              <a:buNone/>
              <a:tabLst/>
              <a:defRPr/>
            </a:pPr>
            <a:endPar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endParaRPr>
          </a:p>
          <a:p>
            <a:pPr marL="0" marR="0" lvl="0" indent="0" algn="l" defTabSz="1218956" rtl="0" eaLnBrk="1" fontAlgn="auto" latinLnBrk="0" hangingPunct="1">
              <a:lnSpc>
                <a:spcPct val="110000"/>
              </a:lnSpc>
              <a:spcBef>
                <a:spcPts val="0"/>
              </a:spcBef>
              <a:spcAft>
                <a:spcPts val="0"/>
              </a:spcAft>
              <a:buClrTx/>
              <a:buSzPct val="100000"/>
              <a:buFontTx/>
              <a:buNone/>
              <a:tabLst/>
              <a:defRPr/>
            </a:pPr>
            <a:endPar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endParaRPr>
          </a:p>
        </p:txBody>
      </p:sp>
      <p:grpSp>
        <p:nvGrpSpPr>
          <p:cNvPr id="34" name="Group 33">
            <a:extLst>
              <a:ext uri="{FF2B5EF4-FFF2-40B4-BE49-F238E27FC236}">
                <a16:creationId xmlns:a16="http://schemas.microsoft.com/office/drawing/2014/main" id="{DBBCA931-DFA0-9954-B82B-621BEAB8F3DF}"/>
              </a:ext>
            </a:extLst>
          </p:cNvPr>
          <p:cNvGrpSpPr/>
          <p:nvPr/>
        </p:nvGrpSpPr>
        <p:grpSpPr>
          <a:xfrm>
            <a:off x="5465859" y="4680156"/>
            <a:ext cx="1372308" cy="962434"/>
            <a:chOff x="5943056" y="11255711"/>
            <a:chExt cx="2744974" cy="1925118"/>
          </a:xfrm>
        </p:grpSpPr>
        <p:sp>
          <p:nvSpPr>
            <p:cNvPr id="35" name="Text Placeholder 3">
              <a:extLst>
                <a:ext uri="{FF2B5EF4-FFF2-40B4-BE49-F238E27FC236}">
                  <a16:creationId xmlns:a16="http://schemas.microsoft.com/office/drawing/2014/main" id="{1AE5876D-6EA5-BAAE-1B53-2344872DF29A}"/>
                </a:ext>
              </a:extLst>
            </p:cNvPr>
            <p:cNvSpPr txBox="1">
              <a:spLocks/>
            </p:cNvSpPr>
            <p:nvPr/>
          </p:nvSpPr>
          <p:spPr>
            <a:xfrm>
              <a:off x="5943056" y="12142442"/>
              <a:ext cx="2744974" cy="1038387"/>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ctr" defTabSz="914507"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Gen AI catalog powered by </a:t>
              </a:r>
              <a:r>
                <a:rPr kumimoji="0" lang="en-US" sz="900"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watsonx.ai</a:t>
              </a: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models</a:t>
              </a:r>
            </a:p>
          </p:txBody>
        </p:sp>
        <p:grpSp>
          <p:nvGrpSpPr>
            <p:cNvPr id="36" name="Group 35">
              <a:extLst>
                <a:ext uri="{FF2B5EF4-FFF2-40B4-BE49-F238E27FC236}">
                  <a16:creationId xmlns:a16="http://schemas.microsoft.com/office/drawing/2014/main" id="{3217832E-B8B1-1B6B-AC90-C430439A96F1}"/>
                </a:ext>
              </a:extLst>
            </p:cNvPr>
            <p:cNvGrpSpPr/>
            <p:nvPr/>
          </p:nvGrpSpPr>
          <p:grpSpPr>
            <a:xfrm>
              <a:off x="6966153" y="11255711"/>
              <a:ext cx="719077" cy="720000"/>
              <a:chOff x="5392815" y="10851330"/>
              <a:chExt cx="719077" cy="720000"/>
            </a:xfrm>
          </p:grpSpPr>
          <p:sp>
            <p:nvSpPr>
              <p:cNvPr id="37" name="Rounded Rectangle 36">
                <a:extLst>
                  <a:ext uri="{FF2B5EF4-FFF2-40B4-BE49-F238E27FC236}">
                    <a16:creationId xmlns:a16="http://schemas.microsoft.com/office/drawing/2014/main" id="{B085FFEE-28B6-FAB8-2C45-71229B5DB885}"/>
                  </a:ext>
                </a:extLst>
              </p:cNvPr>
              <p:cNvSpPr>
                <a:spLocks noChangeAspect="1"/>
              </p:cNvSpPr>
              <p:nvPr/>
            </p:nvSpPr>
            <p:spPr bwMode="auto">
              <a:xfrm>
                <a:off x="5392815" y="10851330"/>
                <a:ext cx="719077" cy="720000"/>
              </a:xfrm>
              <a:prstGeom prst="round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IBM Plex Sans Light"/>
                  <a:ea typeface="+mn-ea"/>
                  <a:cs typeface="+mn-cs"/>
                </a:endParaRPr>
              </a:p>
            </p:txBody>
          </p:sp>
          <p:pic>
            <p:nvPicPr>
              <p:cNvPr id="38" name="Graphic 37">
                <a:extLst>
                  <a:ext uri="{FF2B5EF4-FFF2-40B4-BE49-F238E27FC236}">
                    <a16:creationId xmlns:a16="http://schemas.microsoft.com/office/drawing/2014/main" id="{230E032A-14CE-2807-9FFA-B41D4FEEBB0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54353" y="11013330"/>
                <a:ext cx="396000" cy="396000"/>
              </a:xfrm>
              <a:prstGeom prst="rect">
                <a:avLst/>
              </a:prstGeom>
            </p:spPr>
          </p:pic>
        </p:grpSp>
      </p:grpSp>
      <p:grpSp>
        <p:nvGrpSpPr>
          <p:cNvPr id="39" name="Group 38">
            <a:extLst>
              <a:ext uri="{FF2B5EF4-FFF2-40B4-BE49-F238E27FC236}">
                <a16:creationId xmlns:a16="http://schemas.microsoft.com/office/drawing/2014/main" id="{DF4A6EDF-1D95-7759-DDF3-9625C5EF20C6}"/>
              </a:ext>
            </a:extLst>
          </p:cNvPr>
          <p:cNvGrpSpPr/>
          <p:nvPr/>
        </p:nvGrpSpPr>
        <p:grpSpPr>
          <a:xfrm>
            <a:off x="3719079" y="4674046"/>
            <a:ext cx="833053" cy="790726"/>
            <a:chOff x="11250693" y="10014728"/>
            <a:chExt cx="1666323" cy="1581658"/>
          </a:xfrm>
        </p:grpSpPr>
        <p:sp>
          <p:nvSpPr>
            <p:cNvPr id="40" name="Text Placeholder 3">
              <a:extLst>
                <a:ext uri="{FF2B5EF4-FFF2-40B4-BE49-F238E27FC236}">
                  <a16:creationId xmlns:a16="http://schemas.microsoft.com/office/drawing/2014/main" id="{8CCABBBE-2597-969C-5C81-3FADC9A417A4}"/>
                </a:ext>
              </a:extLst>
            </p:cNvPr>
            <p:cNvSpPr txBox="1">
              <a:spLocks/>
            </p:cNvSpPr>
            <p:nvPr/>
          </p:nvSpPr>
          <p:spPr>
            <a:xfrm>
              <a:off x="11250693" y="10895403"/>
              <a:ext cx="1666323" cy="700983"/>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ctr" defTabSz="914507"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App </a:t>
              </a:r>
              <a:b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catalog</a:t>
              </a:r>
            </a:p>
          </p:txBody>
        </p:sp>
        <p:sp>
          <p:nvSpPr>
            <p:cNvPr id="41" name="Rounded Rectangle 40">
              <a:extLst>
                <a:ext uri="{FF2B5EF4-FFF2-40B4-BE49-F238E27FC236}">
                  <a16:creationId xmlns:a16="http://schemas.microsoft.com/office/drawing/2014/main" id="{1B86C013-E5F5-784F-9105-D0214CD956AA}"/>
                </a:ext>
              </a:extLst>
            </p:cNvPr>
            <p:cNvSpPr>
              <a:spLocks noChangeAspect="1"/>
            </p:cNvSpPr>
            <p:nvPr/>
          </p:nvSpPr>
          <p:spPr bwMode="auto">
            <a:xfrm>
              <a:off x="11721043" y="10014728"/>
              <a:ext cx="719077" cy="720000"/>
            </a:xfrm>
            <a:prstGeom prst="round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IBM Plex Sans Light"/>
                <a:ea typeface="+mn-ea"/>
                <a:cs typeface="+mn-cs"/>
              </a:endParaRPr>
            </a:p>
          </p:txBody>
        </p:sp>
        <p:pic>
          <p:nvPicPr>
            <p:cNvPr id="42" name="Graphic 41">
              <a:extLst>
                <a:ext uri="{FF2B5EF4-FFF2-40B4-BE49-F238E27FC236}">
                  <a16:creationId xmlns:a16="http://schemas.microsoft.com/office/drawing/2014/main" id="{15480F84-97E2-232E-C718-0F7651E771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882581" y="10176728"/>
              <a:ext cx="396000" cy="396000"/>
            </a:xfrm>
            <a:prstGeom prst="rect">
              <a:avLst/>
            </a:prstGeom>
          </p:spPr>
        </p:pic>
      </p:grpSp>
      <p:grpSp>
        <p:nvGrpSpPr>
          <p:cNvPr id="43" name="Group 42">
            <a:extLst>
              <a:ext uri="{FF2B5EF4-FFF2-40B4-BE49-F238E27FC236}">
                <a16:creationId xmlns:a16="http://schemas.microsoft.com/office/drawing/2014/main" id="{64EB3103-9DC0-63F0-791F-2D5070AA2114}"/>
              </a:ext>
            </a:extLst>
          </p:cNvPr>
          <p:cNvGrpSpPr/>
          <p:nvPr/>
        </p:nvGrpSpPr>
        <p:grpSpPr>
          <a:xfrm>
            <a:off x="4638173" y="4668929"/>
            <a:ext cx="833053" cy="790726"/>
            <a:chOff x="13573287" y="10014728"/>
            <a:chExt cx="1666323" cy="1581658"/>
          </a:xfrm>
        </p:grpSpPr>
        <p:grpSp>
          <p:nvGrpSpPr>
            <p:cNvPr id="44" name="Group 43">
              <a:extLst>
                <a:ext uri="{FF2B5EF4-FFF2-40B4-BE49-F238E27FC236}">
                  <a16:creationId xmlns:a16="http://schemas.microsoft.com/office/drawing/2014/main" id="{C6A35D86-11A7-D35B-FB6B-7D3CD4BA1460}"/>
                </a:ext>
              </a:extLst>
            </p:cNvPr>
            <p:cNvGrpSpPr/>
            <p:nvPr/>
          </p:nvGrpSpPr>
          <p:grpSpPr>
            <a:xfrm>
              <a:off x="13573287" y="10014728"/>
              <a:ext cx="1666323" cy="1581658"/>
              <a:chOff x="20797968" y="11264043"/>
              <a:chExt cx="1666323" cy="1581658"/>
            </a:xfrm>
          </p:grpSpPr>
          <p:sp>
            <p:nvSpPr>
              <p:cNvPr id="46" name="Text Placeholder 3">
                <a:extLst>
                  <a:ext uri="{FF2B5EF4-FFF2-40B4-BE49-F238E27FC236}">
                    <a16:creationId xmlns:a16="http://schemas.microsoft.com/office/drawing/2014/main" id="{21B3C9A0-74EE-86CE-DE86-20EB2BBD5DA6}"/>
                  </a:ext>
                </a:extLst>
              </p:cNvPr>
              <p:cNvSpPr txBox="1">
                <a:spLocks/>
              </p:cNvSpPr>
              <p:nvPr/>
            </p:nvSpPr>
            <p:spPr>
              <a:xfrm>
                <a:off x="20797968" y="12144718"/>
                <a:ext cx="1666323" cy="700983"/>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ctr" defTabSz="914507"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Assistant catalog</a:t>
                </a:r>
              </a:p>
            </p:txBody>
          </p:sp>
          <p:sp>
            <p:nvSpPr>
              <p:cNvPr id="47" name="Rounded Rectangle 46">
                <a:extLst>
                  <a:ext uri="{FF2B5EF4-FFF2-40B4-BE49-F238E27FC236}">
                    <a16:creationId xmlns:a16="http://schemas.microsoft.com/office/drawing/2014/main" id="{62FD3145-BE24-E6B8-D29E-A34682A8B82E}"/>
                  </a:ext>
                </a:extLst>
              </p:cNvPr>
              <p:cNvSpPr>
                <a:spLocks noChangeAspect="1"/>
              </p:cNvSpPr>
              <p:nvPr/>
            </p:nvSpPr>
            <p:spPr bwMode="auto">
              <a:xfrm>
                <a:off x="21268318" y="11264043"/>
                <a:ext cx="719077" cy="720000"/>
              </a:xfrm>
              <a:prstGeom prst="round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IBM Plex Sans Light"/>
                  <a:ea typeface="+mn-ea"/>
                  <a:cs typeface="+mn-cs"/>
                </a:endParaRPr>
              </a:p>
            </p:txBody>
          </p:sp>
        </p:grpSp>
        <p:pic>
          <p:nvPicPr>
            <p:cNvPr id="45" name="Graphic 44">
              <a:extLst>
                <a:ext uri="{FF2B5EF4-FFF2-40B4-BE49-F238E27FC236}">
                  <a16:creationId xmlns:a16="http://schemas.microsoft.com/office/drawing/2014/main" id="{D4942695-795A-66B5-A298-29AFF27E708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202300" y="10201944"/>
              <a:ext cx="396000" cy="396000"/>
            </a:xfrm>
            <a:prstGeom prst="rect">
              <a:avLst/>
            </a:prstGeom>
          </p:spPr>
        </p:pic>
      </p:grpSp>
      <p:sp>
        <p:nvSpPr>
          <p:cNvPr id="54" name="Text Placeholder 3">
            <a:extLst>
              <a:ext uri="{FF2B5EF4-FFF2-40B4-BE49-F238E27FC236}">
                <a16:creationId xmlns:a16="http://schemas.microsoft.com/office/drawing/2014/main" id="{B5FCC754-B7E9-D2F5-39C4-6000F39EBEC1}"/>
              </a:ext>
            </a:extLst>
          </p:cNvPr>
          <p:cNvSpPr txBox="1">
            <a:spLocks/>
          </p:cNvSpPr>
          <p:nvPr/>
        </p:nvSpPr>
        <p:spPr>
          <a:xfrm>
            <a:off x="7634729" y="1784655"/>
            <a:ext cx="4453523" cy="12404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257124" marR="0" lvl="0" indent="-257124" algn="l" defTabSz="1218956" rtl="0" eaLnBrk="1" fontAlgn="auto" latinLnBrk="0" hangingPunct="1">
              <a:lnSpc>
                <a:spcPct val="110000"/>
              </a:lnSpc>
              <a:spcBef>
                <a:spcPts val="0"/>
              </a:spcBef>
              <a:spcAft>
                <a:spcPts val="0"/>
              </a:spcAft>
              <a:buClrTx/>
              <a:buSzTx/>
              <a:buFontTx/>
              <a:buAutoNum type="arabicParenR"/>
              <a:tabLst/>
              <a:defRPr/>
            </a:pPr>
            <a:r>
              <a:rPr kumimoji="0" lang="en-US" sz="1600" b="1"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Augmented end-user experience </a:t>
            </a:r>
          </a:p>
          <a:p>
            <a:pPr marL="348545" marR="0" lvl="1" indent="-257124" algn="l" defTabSz="1218956" rtl="0" eaLnBrk="1" fontAlgn="auto" latinLnBrk="0" hangingPunct="1">
              <a:lnSpc>
                <a:spcPct val="110000"/>
              </a:lnSpc>
              <a:spcBef>
                <a:spcPts val="0"/>
              </a:spcBef>
              <a:spcAft>
                <a:spcPts val="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offer 1 single unified entry point for all employees</a:t>
            </a:r>
          </a:p>
          <a:p>
            <a:pPr marL="348545" marR="0" lvl="1" indent="-257124" algn="l" defTabSz="1218956" rtl="0" eaLnBrk="1" fontAlgn="auto" latinLnBrk="0" hangingPunct="1">
              <a:lnSpc>
                <a:spcPct val="110000"/>
              </a:lnSpc>
              <a:spcBef>
                <a:spcPts val="0"/>
              </a:spcBef>
              <a:spcAft>
                <a:spcPts val="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highly conversational thanks to the power of LLMs</a:t>
            </a:r>
          </a:p>
          <a:p>
            <a:pPr marL="91422" marR="0" lvl="1" indent="0" algn="l" defTabSz="1218956" rtl="0" eaLnBrk="1" fontAlgn="auto" latinLnBrk="0" hangingPunct="1">
              <a:lnSpc>
                <a:spcPct val="11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endParaRPr>
          </a:p>
          <a:p>
            <a:pPr marL="91422" marR="0" lvl="1" indent="0" algn="l" defTabSz="1218956" rtl="0" eaLnBrk="1" fontAlgn="auto" latinLnBrk="0" hangingPunct="1">
              <a:lnSpc>
                <a:spcPct val="11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Resulting in higher adoption and engagement</a:t>
            </a:r>
          </a:p>
          <a:p>
            <a:pPr marL="257124" marR="0" lvl="0" indent="-257124" algn="l" defTabSz="1218956" rtl="0" eaLnBrk="1" fontAlgn="auto" latinLnBrk="0" hangingPunct="1">
              <a:lnSpc>
                <a:spcPct val="110000"/>
              </a:lnSpc>
              <a:spcBef>
                <a:spcPts val="0"/>
              </a:spcBef>
              <a:spcAft>
                <a:spcPts val="0"/>
              </a:spcAft>
              <a:buClrTx/>
              <a:buSzTx/>
              <a:buFontTx/>
              <a:buAutoNum type="arabicParenR"/>
              <a:tabLst/>
              <a:defRPr/>
            </a:pPr>
            <a:endParaRPr kumimoji="0" lang="en-US" sz="16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2) </a:t>
            </a:r>
            <a:r>
              <a:rPr kumimoji="0" lang="en-US" sz="1600" b="1"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Reduced Total Cost of Ownership</a:t>
            </a:r>
          </a:p>
          <a:p>
            <a:pPr marL="348545" marR="0" lvl="1" indent="-257124" algn="l" defTabSz="1218956" rtl="0" eaLnBrk="1" fontAlgn="auto" latinLnBrk="0" hangingPunct="1">
              <a:lnSpc>
                <a:spcPct val="110000"/>
              </a:lnSpc>
              <a:spcBef>
                <a:spcPts val="0"/>
              </a:spcBef>
              <a:spcAft>
                <a:spcPts val="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reduced development effort to orchestrate multi- assistant experiences</a:t>
            </a:r>
          </a:p>
          <a:p>
            <a:pPr marL="348545" marR="0" lvl="1" indent="-257124" algn="l" defTabSz="1218956" rtl="0" eaLnBrk="1" fontAlgn="auto" latinLnBrk="0" hangingPunct="1">
              <a:lnSpc>
                <a:spcPct val="110000"/>
              </a:lnSpc>
              <a:spcBef>
                <a:spcPts val="0"/>
              </a:spcBef>
              <a:spcAft>
                <a:spcPts val="0"/>
              </a:spcAft>
              <a:buClrTx/>
              <a:buSzTx/>
              <a:buFontTx/>
              <a:buChar char="–"/>
              <a:tabLst/>
              <a:defRPr/>
            </a:pPr>
            <a:r>
              <a:rPr kumimoji="0" lang="en-US" sz="16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Modular approach allows introduction of new AI assistant/AI agent capabilities over time</a:t>
            </a: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endParaRPr>
          </a:p>
        </p:txBody>
      </p:sp>
      <p:cxnSp>
        <p:nvCxnSpPr>
          <p:cNvPr id="56" name="Curved Connector 55">
            <a:extLst>
              <a:ext uri="{FF2B5EF4-FFF2-40B4-BE49-F238E27FC236}">
                <a16:creationId xmlns:a16="http://schemas.microsoft.com/office/drawing/2014/main" id="{86CC3198-CA34-12FF-878C-50493AB5B312}"/>
              </a:ext>
            </a:extLst>
          </p:cNvPr>
          <p:cNvCxnSpPr>
            <a:stCxn id="10" idx="2"/>
            <a:endCxn id="3" idx="0"/>
          </p:cNvCxnSpPr>
          <p:nvPr/>
        </p:nvCxnSpPr>
        <p:spPr bwMode="auto">
          <a:xfrm rot="5400000">
            <a:off x="2063587" y="1014248"/>
            <a:ext cx="619965" cy="3026594"/>
          </a:xfrm>
          <a:prstGeom prst="curvedConnector3">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57" name="Curved Connector 56">
            <a:extLst>
              <a:ext uri="{FF2B5EF4-FFF2-40B4-BE49-F238E27FC236}">
                <a16:creationId xmlns:a16="http://schemas.microsoft.com/office/drawing/2014/main" id="{359F8FB2-3BB4-080F-A400-74BDB7DA0B9C}"/>
              </a:ext>
            </a:extLst>
          </p:cNvPr>
          <p:cNvCxnSpPr>
            <a:cxnSpLocks/>
            <a:stCxn id="10" idx="2"/>
            <a:endCxn id="7" idx="0"/>
          </p:cNvCxnSpPr>
          <p:nvPr/>
        </p:nvCxnSpPr>
        <p:spPr bwMode="auto">
          <a:xfrm rot="5400000">
            <a:off x="2551082" y="1501743"/>
            <a:ext cx="619965" cy="2051605"/>
          </a:xfrm>
          <a:prstGeom prst="curvedConnector3">
            <a:avLst>
              <a:gd name="adj1" fmla="val 50000"/>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60" name="Curved Connector 59">
            <a:extLst>
              <a:ext uri="{FF2B5EF4-FFF2-40B4-BE49-F238E27FC236}">
                <a16:creationId xmlns:a16="http://schemas.microsoft.com/office/drawing/2014/main" id="{AB501CCA-2192-6745-C2FC-DE39F93D4173}"/>
              </a:ext>
            </a:extLst>
          </p:cNvPr>
          <p:cNvCxnSpPr>
            <a:cxnSpLocks/>
            <a:stCxn id="10" idx="2"/>
            <a:endCxn id="9" idx="0"/>
          </p:cNvCxnSpPr>
          <p:nvPr/>
        </p:nvCxnSpPr>
        <p:spPr bwMode="auto">
          <a:xfrm rot="5400000">
            <a:off x="3097790" y="2048451"/>
            <a:ext cx="619965" cy="958189"/>
          </a:xfrm>
          <a:prstGeom prst="curvedConnector3">
            <a:avLst>
              <a:gd name="adj1" fmla="val 50000"/>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63" name="Curved Connector 62">
            <a:extLst>
              <a:ext uri="{FF2B5EF4-FFF2-40B4-BE49-F238E27FC236}">
                <a16:creationId xmlns:a16="http://schemas.microsoft.com/office/drawing/2014/main" id="{2154A74D-1730-F8B6-F6B6-CC44E531ED48}"/>
              </a:ext>
            </a:extLst>
          </p:cNvPr>
          <p:cNvCxnSpPr>
            <a:cxnSpLocks/>
            <a:stCxn id="10" idx="2"/>
            <a:endCxn id="21" idx="0"/>
          </p:cNvCxnSpPr>
          <p:nvPr/>
        </p:nvCxnSpPr>
        <p:spPr bwMode="auto">
          <a:xfrm rot="16200000" flipH="1">
            <a:off x="3709313" y="2395117"/>
            <a:ext cx="624581" cy="269474"/>
          </a:xfrm>
          <a:prstGeom prst="curvedConnector3">
            <a:avLst>
              <a:gd name="adj1" fmla="val 50000"/>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66" name="Curved Connector 65">
            <a:extLst>
              <a:ext uri="{FF2B5EF4-FFF2-40B4-BE49-F238E27FC236}">
                <a16:creationId xmlns:a16="http://schemas.microsoft.com/office/drawing/2014/main" id="{04FD84EE-1647-EB2B-4F16-7F379BA80378}"/>
              </a:ext>
            </a:extLst>
          </p:cNvPr>
          <p:cNvCxnSpPr>
            <a:cxnSpLocks/>
            <a:stCxn id="10" idx="2"/>
            <a:endCxn id="15" idx="0"/>
          </p:cNvCxnSpPr>
          <p:nvPr/>
        </p:nvCxnSpPr>
        <p:spPr bwMode="auto">
          <a:xfrm rot="16200000" flipH="1">
            <a:off x="4329986" y="1774443"/>
            <a:ext cx="624581" cy="1510822"/>
          </a:xfrm>
          <a:prstGeom prst="curvedConnector3">
            <a:avLst>
              <a:gd name="adj1" fmla="val 50000"/>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792370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9" grpId="0" animBg="1"/>
      <p:bldP spid="10" grpId="0" animBg="1"/>
      <p:bldP spid="15" grpId="0" animBg="1"/>
      <p:bldP spid="20" grpId="0" animBg="1"/>
      <p:bldP spid="21" grpId="0" animBg="1"/>
      <p:bldP spid="23" grpId="0" animBg="1"/>
      <p:bldP spid="25" grpId="0" animBg="1"/>
      <p:bldP spid="5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978CBF3-91DC-E26E-DB47-BEE6A7008AF2}"/>
              </a:ext>
            </a:extLst>
          </p:cNvPr>
          <p:cNvCxnSpPr>
            <a:cxnSpLocks/>
          </p:cNvCxnSpPr>
          <p:nvPr/>
        </p:nvCxnSpPr>
        <p:spPr bwMode="auto">
          <a:xfrm flipV="1">
            <a:off x="5721826" y="3940022"/>
            <a:ext cx="0" cy="502855"/>
          </a:xfrm>
          <a:prstGeom prst="line">
            <a:avLst/>
          </a:prstGeom>
          <a:ln w="19050" cap="sq">
            <a:solidFill>
              <a:schemeClr val="tx1">
                <a:lumMod val="50000"/>
                <a:lumOff val="50000"/>
              </a:schemeClr>
            </a:solidFill>
            <a:headEnd type="none" w="med" len="med"/>
            <a:tailEnd type="oval" w="lg"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6CC5F00F-31EC-2CEF-6AF4-90386D0A9348}"/>
              </a:ext>
            </a:extLst>
          </p:cNvPr>
          <p:cNvCxnSpPr>
            <a:cxnSpLocks/>
          </p:cNvCxnSpPr>
          <p:nvPr/>
        </p:nvCxnSpPr>
        <p:spPr bwMode="auto">
          <a:xfrm flipV="1">
            <a:off x="1800196" y="3940022"/>
            <a:ext cx="0" cy="502855"/>
          </a:xfrm>
          <a:prstGeom prst="line">
            <a:avLst/>
          </a:prstGeom>
          <a:ln w="19050" cap="sq">
            <a:solidFill>
              <a:schemeClr val="tx1">
                <a:lumMod val="50000"/>
                <a:lumOff val="50000"/>
              </a:schemeClr>
            </a:solidFill>
            <a:headEnd type="none" w="med" len="med"/>
            <a:tailEnd type="oval" w="lg" len="lg"/>
          </a:ln>
          <a:effectLst/>
        </p:spPr>
        <p:style>
          <a:lnRef idx="1">
            <a:schemeClr val="dk1"/>
          </a:lnRef>
          <a:fillRef idx="0">
            <a:schemeClr val="dk1"/>
          </a:fillRef>
          <a:effectRef idx="0">
            <a:schemeClr val="dk1"/>
          </a:effectRef>
          <a:fontRef idx="minor">
            <a:schemeClr val="tx1"/>
          </a:fontRef>
        </p:style>
      </p:cxnSp>
      <p:sp>
        <p:nvSpPr>
          <p:cNvPr id="25" name="Rectangle 24">
            <a:extLst>
              <a:ext uri="{FF2B5EF4-FFF2-40B4-BE49-F238E27FC236}">
                <a16:creationId xmlns:a16="http://schemas.microsoft.com/office/drawing/2014/main" id="{87CB2395-DF5F-1BC9-20AC-579FD38087B8}"/>
              </a:ext>
            </a:extLst>
          </p:cNvPr>
          <p:cNvSpPr/>
          <p:nvPr/>
        </p:nvSpPr>
        <p:spPr bwMode="auto">
          <a:xfrm>
            <a:off x="496716" y="4706786"/>
            <a:ext cx="6675202" cy="1716799"/>
          </a:xfrm>
          <a:prstGeom prst="rect">
            <a:avLst/>
          </a:prstGeom>
          <a:solidFill>
            <a:schemeClr val="bg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IBM Plex Sans Light"/>
                <a:ea typeface="+mn-ea"/>
                <a:cs typeface="+mn-cs"/>
              </a:rPr>
              <a:t> </a:t>
            </a:r>
          </a:p>
        </p:txBody>
      </p:sp>
      <p:sp>
        <p:nvSpPr>
          <p:cNvPr id="5" name="Slide Number Placeholder 4">
            <a:extLst>
              <a:ext uri="{FF2B5EF4-FFF2-40B4-BE49-F238E27FC236}">
                <a16:creationId xmlns:a16="http://schemas.microsoft.com/office/drawing/2014/main" id="{F6C00B65-5548-0F79-0645-F15253DCC1C1}"/>
              </a:ext>
            </a:extLst>
          </p:cNvPr>
          <p:cNvSpPr>
            <a:spLocks noGrp="1"/>
          </p:cNvSpPr>
          <p:nvPr>
            <p:ph type="sldNum" sz="quarter" idx="2"/>
          </p:nvPr>
        </p:nvSpPr>
        <p:spPr>
          <a:xfrm>
            <a:off x="11693172" y="6506940"/>
            <a:ext cx="180133" cy="159976"/>
          </a:xfrm>
        </p:spPr>
        <p:txBody>
          <a:bodyPr/>
          <a:lstStyle/>
          <a:p>
            <a:pPr marL="0" marR="0" lvl="0" indent="0" algn="l" defTabSz="1828647"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800" b="0" i="0" u="none" strike="noStrike" kern="1200" cap="none" spc="0" normalizeH="0" baseline="0" noProof="0">
                <a:ln>
                  <a:noFill/>
                </a:ln>
                <a:solidFill>
                  <a:srgbClr val="000000"/>
                </a:solidFill>
                <a:effectLst/>
                <a:uLnTx/>
                <a:uFillTx/>
                <a:latin typeface="IBM Plex Sans Regular"/>
                <a:ea typeface="Helvetica Neue"/>
                <a:cs typeface="Helvetica Neue"/>
              </a:rPr>
              <a:pPr marL="0" marR="0" lvl="0" indent="0" algn="l" defTabSz="1828647"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1200" cap="none" spc="0" normalizeH="0" baseline="0" noProof="0" dirty="0">
              <a:ln>
                <a:noFill/>
              </a:ln>
              <a:solidFill>
                <a:srgbClr val="000000"/>
              </a:solidFill>
              <a:effectLst/>
              <a:uLnTx/>
              <a:uFillTx/>
              <a:latin typeface="IBM Plex Sans Regular"/>
              <a:ea typeface="Helvetica Neue"/>
              <a:cs typeface="Helvetica Neue"/>
            </a:endParaRPr>
          </a:p>
        </p:txBody>
      </p:sp>
      <p:sp>
        <p:nvSpPr>
          <p:cNvPr id="38" name="TextBox 37">
            <a:extLst>
              <a:ext uri="{FF2B5EF4-FFF2-40B4-BE49-F238E27FC236}">
                <a16:creationId xmlns:a16="http://schemas.microsoft.com/office/drawing/2014/main" id="{B3605501-3A4A-DA28-5FD1-54B147B2530E}"/>
              </a:ext>
            </a:extLst>
          </p:cNvPr>
          <p:cNvSpPr txBox="1"/>
          <p:nvPr/>
        </p:nvSpPr>
        <p:spPr>
          <a:xfrm>
            <a:off x="290325" y="191084"/>
            <a:ext cx="11577125" cy="486223"/>
          </a:xfrm>
          <a:prstGeom prst="rect">
            <a:avLst/>
          </a:prstGeom>
          <a:noFill/>
        </p:spPr>
        <p:txBody>
          <a:bodyPr wrap="square">
            <a:spAutoFit/>
          </a:bodyPr>
          <a:lstStyle/>
          <a:p>
            <a:pPr marL="0" marR="0" lvl="0" indent="0" algn="l" defTabSz="457109" rtl="0" eaLnBrk="1" fontAlgn="base" latinLnBrk="0" hangingPunct="1">
              <a:lnSpc>
                <a:spcPct val="90000"/>
              </a:lnSpc>
              <a:spcBef>
                <a:spcPct val="0"/>
              </a:spcBef>
              <a:spcAft>
                <a:spcPct val="0"/>
              </a:spcAft>
              <a:buClrTx/>
              <a:buSzTx/>
              <a:buFontTx/>
              <a:buNone/>
              <a:tabLst/>
              <a:defRPr/>
            </a:pPr>
            <a:r>
              <a:rPr kumimoji="0" lang="en-US" sz="2844" b="0" i="0" u="none" strike="noStrike" kern="0" cap="none" spc="0" normalizeH="0" baseline="0" noProof="0" dirty="0">
                <a:ln>
                  <a:noFill/>
                </a:ln>
                <a:solidFill>
                  <a:srgbClr val="000000"/>
                </a:solidFill>
                <a:effectLst/>
                <a:uLnTx/>
                <a:uFillTx/>
                <a:latin typeface="IBM Plex Sans Light"/>
                <a:ea typeface="+mn-ea"/>
                <a:cs typeface="+mn-cs"/>
              </a:rPr>
              <a:t>watsonx Orchestrate vision</a:t>
            </a:r>
            <a:endParaRPr kumimoji="0" lang="en-US" sz="2844" b="0" i="0" u="none" strike="noStrike" kern="0" cap="none" spc="0" normalizeH="0" baseline="0" noProof="0" dirty="0">
              <a:ln>
                <a:noFill/>
              </a:ln>
              <a:solidFill>
                <a:srgbClr val="0F62FE"/>
              </a:solidFill>
              <a:effectLst/>
              <a:uLnTx/>
              <a:uFillTx/>
              <a:latin typeface="IBM Plex Sans Light" panose="020B0403050203000203" pitchFamily="34" charset="0"/>
              <a:ea typeface="+mn-ea"/>
              <a:cs typeface="+mn-cs"/>
            </a:endParaRPr>
          </a:p>
        </p:txBody>
      </p:sp>
      <p:sp>
        <p:nvSpPr>
          <p:cNvPr id="27" name="TextBox 26">
            <a:extLst>
              <a:ext uri="{FF2B5EF4-FFF2-40B4-BE49-F238E27FC236}">
                <a16:creationId xmlns:a16="http://schemas.microsoft.com/office/drawing/2014/main" id="{D6F2F35A-0AA7-33FD-DBC0-07033A3E91E1}"/>
              </a:ext>
            </a:extLst>
          </p:cNvPr>
          <p:cNvSpPr txBox="1"/>
          <p:nvPr/>
        </p:nvSpPr>
        <p:spPr>
          <a:xfrm>
            <a:off x="1370264" y="5268143"/>
            <a:ext cx="2136225" cy="1556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0" marR="0" lvl="0" indent="0" algn="l" defTabSz="1218956" rtl="0" eaLnBrk="1" fontAlgn="auto" latinLnBrk="0" hangingPunct="1">
              <a:lnSpc>
                <a:spcPct val="110000"/>
              </a:lnSpc>
              <a:spcBef>
                <a:spcPts val="0"/>
              </a:spcBef>
              <a:spcAft>
                <a:spcPts val="0"/>
              </a:spcAft>
              <a:buClrTx/>
              <a:buSzPct val="100000"/>
              <a:buFontTx/>
              <a:buNone/>
              <a:tabLst/>
              <a:defRPr/>
            </a:pPr>
            <a:r>
              <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rPr>
              <a:t>Domain Specific Skill Catalog</a:t>
            </a:r>
          </a:p>
          <a:p>
            <a:pPr marL="0" marR="0" lvl="0" indent="0" algn="l" defTabSz="1218956" rtl="0" eaLnBrk="1" fontAlgn="auto" latinLnBrk="0" hangingPunct="1">
              <a:lnSpc>
                <a:spcPct val="110000"/>
              </a:lnSpc>
              <a:spcBef>
                <a:spcPts val="0"/>
              </a:spcBef>
              <a:spcAft>
                <a:spcPts val="0"/>
              </a:spcAft>
              <a:buClrTx/>
              <a:buSzPct val="100000"/>
              <a:buFontTx/>
              <a:buNone/>
              <a:tabLst/>
              <a:defRPr/>
            </a:pPr>
            <a:endPar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endParaRPr>
          </a:p>
          <a:p>
            <a:pPr marL="0" marR="0" lvl="0" indent="0" algn="l" defTabSz="1218956" rtl="0" eaLnBrk="1" fontAlgn="auto" latinLnBrk="0" hangingPunct="1">
              <a:lnSpc>
                <a:spcPct val="110000"/>
              </a:lnSpc>
              <a:spcBef>
                <a:spcPts val="0"/>
              </a:spcBef>
              <a:spcAft>
                <a:spcPts val="0"/>
              </a:spcAft>
              <a:buClrTx/>
              <a:buSzPct val="100000"/>
              <a:buFontTx/>
              <a:buNone/>
              <a:tabLst/>
              <a:defRPr/>
            </a:pPr>
            <a:endPar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endParaRPr>
          </a:p>
        </p:txBody>
      </p:sp>
      <p:sp>
        <p:nvSpPr>
          <p:cNvPr id="29" name="Rectangle 28">
            <a:extLst>
              <a:ext uri="{FF2B5EF4-FFF2-40B4-BE49-F238E27FC236}">
                <a16:creationId xmlns:a16="http://schemas.microsoft.com/office/drawing/2014/main" id="{3729A398-7304-7A74-DFB1-4379196D016E}"/>
              </a:ext>
            </a:extLst>
          </p:cNvPr>
          <p:cNvSpPr/>
          <p:nvPr/>
        </p:nvSpPr>
        <p:spPr bwMode="auto">
          <a:xfrm>
            <a:off x="493791" y="4279804"/>
            <a:ext cx="6675202" cy="433185"/>
          </a:xfrm>
          <a:prstGeom prst="rect">
            <a:avLst/>
          </a:prstGeom>
          <a:solidFill>
            <a:schemeClr val="bg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ctr" defTabSz="1218956" rtl="0" eaLnBrk="1" fontAlgn="auto" latinLnBrk="0" hangingPunct="1">
              <a:lnSpc>
                <a:spcPct val="110000"/>
              </a:lnSpc>
              <a:spcBef>
                <a:spcPts val="0"/>
              </a:spcBef>
              <a:spcAft>
                <a:spcPts val="0"/>
              </a:spcAft>
              <a:buClrTx/>
              <a:buSzPct val="100000"/>
              <a:buFontTx/>
              <a:buNone/>
              <a:tabLst/>
              <a:defRPr/>
            </a:pPr>
            <a:r>
              <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rPr>
              <a:t>AI Assistant Builder</a:t>
            </a:r>
          </a:p>
          <a:p>
            <a:pPr marL="0" marR="0" lvl="0" indent="0" algn="ctr" defTabSz="1218956" rtl="0" eaLnBrk="1" fontAlgn="auto" latinLnBrk="0" hangingPunct="1">
              <a:lnSpc>
                <a:spcPct val="11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Customize AI Assistant to the Enterprise use case leaning on generative AI</a:t>
            </a:r>
          </a:p>
        </p:txBody>
      </p:sp>
      <p:sp>
        <p:nvSpPr>
          <p:cNvPr id="40" name="Text Placeholder 3">
            <a:extLst>
              <a:ext uri="{FF2B5EF4-FFF2-40B4-BE49-F238E27FC236}">
                <a16:creationId xmlns:a16="http://schemas.microsoft.com/office/drawing/2014/main" id="{31CF4341-E328-CBC9-89D6-64E5A170C2C4}"/>
              </a:ext>
            </a:extLst>
          </p:cNvPr>
          <p:cNvSpPr txBox="1">
            <a:spLocks/>
          </p:cNvSpPr>
          <p:nvPr/>
        </p:nvSpPr>
        <p:spPr>
          <a:xfrm>
            <a:off x="7614328" y="3274733"/>
            <a:ext cx="4453523" cy="12404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257124" marR="0" lvl="0" indent="-257124" algn="l" defTabSz="1218956" rtl="0" eaLnBrk="1" fontAlgn="auto" latinLnBrk="0" hangingPunct="1">
              <a:lnSpc>
                <a:spcPct val="110000"/>
              </a:lnSpc>
              <a:spcBef>
                <a:spcPts val="0"/>
              </a:spcBef>
              <a:spcAft>
                <a:spcPts val="0"/>
              </a:spcAft>
              <a:buClrTx/>
              <a:buSzTx/>
              <a:buFont typeface="+mj-lt"/>
              <a:buAutoNum type="arabicPeriod" startAt="2"/>
              <a:tabLst/>
              <a:defRPr/>
            </a:pPr>
            <a:r>
              <a:rPr kumimoji="0" lang="en-US" sz="1400" b="1"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Expand pre-built domain Assistants with watson</a:t>
            </a:r>
            <a:r>
              <a:rPr kumimoji="0" lang="en-US" sz="1400" b="1" i="0" u="none" strike="noStrike" kern="0" cap="none" spc="0" normalizeH="0" baseline="0" noProof="0" dirty="0">
                <a:ln>
                  <a:noFill/>
                </a:ln>
                <a:solidFill>
                  <a:srgbClr val="0F62FE"/>
                </a:solidFill>
                <a:effectLst/>
                <a:uLnTx/>
                <a:uFillTx/>
                <a:latin typeface="IBM Plex Sans" panose="020B0503050203000203" pitchFamily="34" charset="0"/>
                <a:ea typeface="+mj-ea"/>
                <a:cs typeface="+mj-cs"/>
                <a:sym typeface="IBM Plex Sans Light"/>
              </a:rPr>
              <a:t>x</a:t>
            </a:r>
            <a:r>
              <a:rPr kumimoji="0" lang="en-US" sz="1400" b="1"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 Orchestrate Skill Studio</a:t>
            </a: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endParaRPr>
          </a:p>
          <a:p>
            <a:pPr marL="257917" marR="0" lvl="0" indent="0" algn="l" defTabSz="1218956" rtl="0" eaLnBrk="1" fontAlgn="auto" latinLnBrk="0" hangingPunct="1">
              <a:lnSpc>
                <a:spcPct val="11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Leverage </a:t>
            </a:r>
            <a:r>
              <a:rPr kumimoji="0" lang="en-US" sz="1400" b="0" i="1"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AI Assistant builder</a:t>
            </a:r>
            <a:r>
              <a:rPr kumimoji="0" lang="en-US" sz="14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 and </a:t>
            </a:r>
            <a:r>
              <a:rPr kumimoji="0" lang="en-US" sz="1400" b="0" i="1"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Skill studio </a:t>
            </a:r>
            <a:r>
              <a:rPr kumimoji="0" lang="en-US" sz="14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to further extend domain specific assistants to go live. </a:t>
            </a:r>
          </a:p>
          <a:p>
            <a:pPr marL="257917" marR="0" lvl="0" indent="0" algn="l" defTabSz="1218956" rtl="0" eaLnBrk="1" fontAlgn="auto" latinLnBrk="0" hangingPunct="1">
              <a:lnSpc>
                <a:spcPct val="11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endParaRPr>
          </a:p>
        </p:txBody>
      </p:sp>
      <p:sp>
        <p:nvSpPr>
          <p:cNvPr id="42" name="TextBox 41">
            <a:extLst>
              <a:ext uri="{FF2B5EF4-FFF2-40B4-BE49-F238E27FC236}">
                <a16:creationId xmlns:a16="http://schemas.microsoft.com/office/drawing/2014/main" id="{1FD515F9-0A67-4C5F-7B14-4504F38DA72E}"/>
              </a:ext>
            </a:extLst>
          </p:cNvPr>
          <p:cNvSpPr txBox="1"/>
          <p:nvPr/>
        </p:nvSpPr>
        <p:spPr>
          <a:xfrm>
            <a:off x="63898" y="3711223"/>
            <a:ext cx="3507691" cy="1929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0" marR="0" lvl="0" indent="0" algn="ctr" defTabSz="1218956" rtl="0" eaLnBrk="1" fontAlgn="auto" latinLnBrk="0" hangingPunct="1">
              <a:lnSpc>
                <a:spcPct val="110000"/>
              </a:lnSpc>
              <a:spcBef>
                <a:spcPts val="0"/>
              </a:spcBef>
              <a:spcAft>
                <a:spcPts val="0"/>
              </a:spcAft>
              <a:buClrTx/>
              <a:buSzPct val="100000"/>
              <a:buFontTx/>
              <a:buNone/>
              <a:tabLst/>
              <a:defRPr/>
            </a:pPr>
            <a:r>
              <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rPr>
              <a:t>Domain Specific Assistants</a:t>
            </a:r>
          </a:p>
          <a:p>
            <a:pPr marL="0" marR="0" lvl="0" indent="0" algn="ctr" defTabSz="1218956" rtl="0" eaLnBrk="1" fontAlgn="auto" latinLnBrk="0" hangingPunct="1">
              <a:lnSpc>
                <a:spcPct val="110000"/>
              </a:lnSpc>
              <a:spcBef>
                <a:spcPts val="0"/>
              </a:spcBef>
              <a:spcAft>
                <a:spcPts val="0"/>
              </a:spcAft>
              <a:buClrTx/>
              <a:buSzPct val="100000"/>
              <a:buFontTx/>
              <a:buNone/>
              <a:tabLst/>
              <a:defRPr/>
            </a:pPr>
            <a:endPar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endParaRPr>
          </a:p>
          <a:p>
            <a:pPr marL="0" marR="0" lvl="0" indent="0" algn="ctr" defTabSz="1218956" rtl="0" eaLnBrk="1" fontAlgn="auto" latinLnBrk="0" hangingPunct="1">
              <a:lnSpc>
                <a:spcPct val="110000"/>
              </a:lnSpc>
              <a:spcBef>
                <a:spcPts val="0"/>
              </a:spcBef>
              <a:spcAft>
                <a:spcPts val="0"/>
              </a:spcAft>
              <a:buClrTx/>
              <a:buSzPct val="100000"/>
              <a:buFontTx/>
              <a:buNone/>
              <a:tabLst/>
              <a:defRPr/>
            </a:pPr>
            <a:endPar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endParaRPr>
          </a:p>
        </p:txBody>
      </p:sp>
      <p:sp>
        <p:nvSpPr>
          <p:cNvPr id="43" name="Text Placeholder 3">
            <a:extLst>
              <a:ext uri="{FF2B5EF4-FFF2-40B4-BE49-F238E27FC236}">
                <a16:creationId xmlns:a16="http://schemas.microsoft.com/office/drawing/2014/main" id="{3F8F0DA1-59F0-32FF-2A2B-84672C2A2B1A}"/>
              </a:ext>
            </a:extLst>
          </p:cNvPr>
          <p:cNvSpPr txBox="1">
            <a:spLocks/>
          </p:cNvSpPr>
          <p:nvPr/>
        </p:nvSpPr>
        <p:spPr>
          <a:xfrm>
            <a:off x="7614328" y="1282938"/>
            <a:ext cx="4343880" cy="12404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257124" marR="0" lvl="0" indent="-257124" algn="l" defTabSz="1218956" rtl="0" eaLnBrk="1" fontAlgn="auto" latinLnBrk="0" hangingPunct="1">
              <a:lnSpc>
                <a:spcPct val="110000"/>
              </a:lnSpc>
              <a:spcBef>
                <a:spcPts val="0"/>
              </a:spcBef>
              <a:spcAft>
                <a:spcPts val="0"/>
              </a:spcAft>
              <a:buClrTx/>
              <a:buSzTx/>
              <a:buFont typeface="+mj-lt"/>
              <a:buAutoNum type="arabicPeriod"/>
              <a:tabLst/>
              <a:defRPr/>
            </a:pPr>
            <a:r>
              <a:rPr kumimoji="0" lang="en-US" sz="1400" b="1"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Launch domain specific Assistants to accelerate your journey of building AI Assistants</a:t>
            </a:r>
          </a:p>
          <a:p>
            <a:pPr marL="293629" marR="0" lvl="0" indent="-293629" algn="l" defTabSz="1218956" rtl="0" eaLnBrk="1" fontAlgn="auto" latinLnBrk="0" hangingPunct="1">
              <a:lnSpc>
                <a:spcPct val="110000"/>
              </a:lnSpc>
              <a:spcBef>
                <a:spcPts val="0"/>
              </a:spcBef>
              <a:spcAft>
                <a:spcPts val="0"/>
              </a:spcAft>
              <a:buClrTx/>
              <a:buSzTx/>
              <a:buFontTx/>
              <a:buNone/>
              <a:tabLst/>
              <a:defRPr/>
            </a:pPr>
            <a:br>
              <a:rPr kumimoji="0" lang="en-US" sz="16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br>
            <a:r>
              <a:rPr kumimoji="0" lang="en-US" sz="14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Leverage the pre-built </a:t>
            </a:r>
            <a:r>
              <a:rPr kumimoji="0" lang="en-US" sz="1400" b="0" i="1"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skill catalog </a:t>
            </a:r>
            <a:r>
              <a:rPr kumimoji="0" lang="en-US" sz="14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to launch AI Assistants that come pre-infused with domain relevant integrations, skills and business logic tied to repeatable use cases with high ROI.</a:t>
            </a:r>
            <a:br>
              <a:rPr kumimoji="0" lang="en-US" sz="14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br>
            <a:endParaRPr kumimoji="0" lang="en-US" sz="14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endParaRPr>
          </a:p>
        </p:txBody>
      </p:sp>
      <p:cxnSp>
        <p:nvCxnSpPr>
          <p:cNvPr id="137" name="Straight Connector 136">
            <a:extLst>
              <a:ext uri="{FF2B5EF4-FFF2-40B4-BE49-F238E27FC236}">
                <a16:creationId xmlns:a16="http://schemas.microsoft.com/office/drawing/2014/main" id="{857C1F4D-D260-1D1F-CAFF-5AAE2ACE81ED}"/>
              </a:ext>
            </a:extLst>
          </p:cNvPr>
          <p:cNvCxnSpPr>
            <a:cxnSpLocks/>
          </p:cNvCxnSpPr>
          <p:nvPr/>
        </p:nvCxnSpPr>
        <p:spPr bwMode="auto">
          <a:xfrm flipH="1">
            <a:off x="3927789" y="5305808"/>
            <a:ext cx="8360" cy="884951"/>
          </a:xfrm>
          <a:prstGeom prst="line">
            <a:avLst/>
          </a:prstGeom>
          <a:ln w="28575">
            <a:solidFill>
              <a:schemeClr val="tx1"/>
            </a:solidFill>
            <a:prstDash val="dashDot"/>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8" name="Rounded Rectangle 137">
            <a:extLst>
              <a:ext uri="{FF2B5EF4-FFF2-40B4-BE49-F238E27FC236}">
                <a16:creationId xmlns:a16="http://schemas.microsoft.com/office/drawing/2014/main" id="{FCAE1942-6680-4489-9848-61056E05463A}"/>
              </a:ext>
            </a:extLst>
          </p:cNvPr>
          <p:cNvSpPr>
            <a:spLocks/>
          </p:cNvSpPr>
          <p:nvPr/>
        </p:nvSpPr>
        <p:spPr bwMode="auto">
          <a:xfrm flipH="1">
            <a:off x="2213431" y="5494794"/>
            <a:ext cx="1188565" cy="274284"/>
          </a:xfrm>
          <a:prstGeom prst="roundRect">
            <a:avLst/>
          </a:prstGeom>
          <a:solidFill>
            <a:schemeClr val="bg1"/>
          </a:solidFill>
          <a:ln w="19050">
            <a:solidFill>
              <a:srgbClr val="3DDBD9"/>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HR Skills</a:t>
            </a:r>
          </a:p>
        </p:txBody>
      </p:sp>
      <p:sp>
        <p:nvSpPr>
          <p:cNvPr id="139" name="Rounded Rectangle 138">
            <a:extLst>
              <a:ext uri="{FF2B5EF4-FFF2-40B4-BE49-F238E27FC236}">
                <a16:creationId xmlns:a16="http://schemas.microsoft.com/office/drawing/2014/main" id="{0617F5DF-8F9E-C925-43FD-767A6216717D}"/>
              </a:ext>
            </a:extLst>
          </p:cNvPr>
          <p:cNvSpPr>
            <a:spLocks/>
          </p:cNvSpPr>
          <p:nvPr/>
        </p:nvSpPr>
        <p:spPr bwMode="auto">
          <a:xfrm flipH="1">
            <a:off x="891577" y="5489258"/>
            <a:ext cx="1188565" cy="274284"/>
          </a:xfrm>
          <a:prstGeom prst="roundRect">
            <a:avLst/>
          </a:prstGeom>
          <a:solidFill>
            <a:schemeClr val="bg1"/>
          </a:solidFill>
          <a:ln w="19050">
            <a:solidFill>
              <a:srgbClr val="7030A0"/>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Sales Skills</a:t>
            </a:r>
          </a:p>
        </p:txBody>
      </p:sp>
      <p:sp>
        <p:nvSpPr>
          <p:cNvPr id="141" name="Rounded Rectangle 140">
            <a:extLst>
              <a:ext uri="{FF2B5EF4-FFF2-40B4-BE49-F238E27FC236}">
                <a16:creationId xmlns:a16="http://schemas.microsoft.com/office/drawing/2014/main" id="{B2E96FB8-FE63-C445-F9A4-581F2174DE6C}"/>
              </a:ext>
            </a:extLst>
          </p:cNvPr>
          <p:cNvSpPr>
            <a:spLocks/>
          </p:cNvSpPr>
          <p:nvPr/>
        </p:nvSpPr>
        <p:spPr bwMode="auto">
          <a:xfrm flipH="1">
            <a:off x="897859" y="5911081"/>
            <a:ext cx="1188565" cy="274284"/>
          </a:xfrm>
          <a:prstGeom prst="roundRect">
            <a:avLst/>
          </a:prstGeom>
          <a:solidFill>
            <a:schemeClr val="bg1"/>
          </a:solidFill>
          <a:ln w="19050">
            <a:solidFill>
              <a:srgbClr val="FA4D56"/>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Procurement Skills</a:t>
            </a:r>
          </a:p>
        </p:txBody>
      </p:sp>
      <p:sp>
        <p:nvSpPr>
          <p:cNvPr id="165" name="Rounded Rectangle 164">
            <a:extLst>
              <a:ext uri="{FF2B5EF4-FFF2-40B4-BE49-F238E27FC236}">
                <a16:creationId xmlns:a16="http://schemas.microsoft.com/office/drawing/2014/main" id="{99E850BB-48E6-353A-0998-D66D6A17E097}"/>
              </a:ext>
            </a:extLst>
          </p:cNvPr>
          <p:cNvSpPr>
            <a:spLocks/>
          </p:cNvSpPr>
          <p:nvPr/>
        </p:nvSpPr>
        <p:spPr bwMode="auto">
          <a:xfrm flipH="1">
            <a:off x="2216326" y="5911081"/>
            <a:ext cx="1188565" cy="274284"/>
          </a:xfrm>
          <a:prstGeom prst="roundRect">
            <a:avLst/>
          </a:prstGeom>
          <a:solidFill>
            <a:schemeClr val="bg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Customer Care Skills</a:t>
            </a:r>
          </a:p>
        </p:txBody>
      </p:sp>
      <p:sp>
        <p:nvSpPr>
          <p:cNvPr id="28" name="TextBox 27">
            <a:extLst>
              <a:ext uri="{FF2B5EF4-FFF2-40B4-BE49-F238E27FC236}">
                <a16:creationId xmlns:a16="http://schemas.microsoft.com/office/drawing/2014/main" id="{680B4E0D-798A-EA6A-8BB5-96C87A421A11}"/>
              </a:ext>
            </a:extLst>
          </p:cNvPr>
          <p:cNvSpPr txBox="1"/>
          <p:nvPr/>
        </p:nvSpPr>
        <p:spPr>
          <a:xfrm>
            <a:off x="673253" y="4763781"/>
            <a:ext cx="6234618" cy="45689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0" marR="0" lvl="0" indent="0" algn="ctr" defTabSz="1218956" rtl="0" eaLnBrk="1" fontAlgn="auto" latinLnBrk="0" hangingPunct="1">
              <a:lnSpc>
                <a:spcPct val="110000"/>
              </a:lnSpc>
              <a:spcBef>
                <a:spcPts val="0"/>
              </a:spcBef>
              <a:spcAft>
                <a:spcPts val="0"/>
              </a:spcAft>
              <a:buClrTx/>
              <a:buSzPct val="100000"/>
              <a:buFontTx/>
              <a:buNone/>
              <a:tabLst/>
              <a:defRPr/>
            </a:pPr>
            <a:r>
              <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rPr>
              <a:t>Skill Studio</a:t>
            </a:r>
          </a:p>
          <a:p>
            <a:pPr marL="0" marR="0" lvl="0" indent="0" algn="ctr" defTabSz="1218956" rtl="0" eaLnBrk="1" fontAlgn="auto" latinLnBrk="0" hangingPunct="1">
              <a:lnSpc>
                <a:spcPct val="11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Build custom automations and design skill flows to resolve end to end processes invokable through the AI Assistant</a:t>
            </a:r>
          </a:p>
        </p:txBody>
      </p:sp>
      <p:sp>
        <p:nvSpPr>
          <p:cNvPr id="13" name="Rounded Rectangle 12">
            <a:extLst>
              <a:ext uri="{FF2B5EF4-FFF2-40B4-BE49-F238E27FC236}">
                <a16:creationId xmlns:a16="http://schemas.microsoft.com/office/drawing/2014/main" id="{45C05417-BBC1-7894-6162-FE38A942C873}"/>
              </a:ext>
            </a:extLst>
          </p:cNvPr>
          <p:cNvSpPr>
            <a:spLocks/>
          </p:cNvSpPr>
          <p:nvPr/>
        </p:nvSpPr>
        <p:spPr bwMode="auto">
          <a:xfrm flipH="1">
            <a:off x="596230" y="3320295"/>
            <a:ext cx="777139" cy="319998"/>
          </a:xfrm>
          <a:prstGeom prst="roundRect">
            <a:avLst/>
          </a:prstGeom>
          <a:solidFill>
            <a:schemeClr val="bg1"/>
          </a:solidFill>
          <a:ln w="19050">
            <a:solidFill>
              <a:srgbClr val="3DDBD9"/>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AI Assistant for HR</a:t>
            </a:r>
          </a:p>
        </p:txBody>
      </p:sp>
      <p:sp>
        <p:nvSpPr>
          <p:cNvPr id="14" name="Rounded Rectangle 13">
            <a:extLst>
              <a:ext uri="{FF2B5EF4-FFF2-40B4-BE49-F238E27FC236}">
                <a16:creationId xmlns:a16="http://schemas.microsoft.com/office/drawing/2014/main" id="{8CACD2D0-0D2C-5C88-D328-27F15A712EF4}"/>
              </a:ext>
            </a:extLst>
          </p:cNvPr>
          <p:cNvSpPr>
            <a:spLocks/>
          </p:cNvSpPr>
          <p:nvPr/>
        </p:nvSpPr>
        <p:spPr bwMode="auto">
          <a:xfrm flipH="1">
            <a:off x="1826898" y="3320295"/>
            <a:ext cx="796538" cy="319998"/>
          </a:xfrm>
          <a:prstGeom prst="roundRect">
            <a:avLst/>
          </a:prstGeom>
          <a:solidFill>
            <a:schemeClr val="bg1"/>
          </a:solidFill>
          <a:ln w="19050">
            <a:solidFill>
              <a:srgbClr val="7030A0"/>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AI Assistant for Sales</a:t>
            </a:r>
          </a:p>
        </p:txBody>
      </p:sp>
      <p:sp>
        <p:nvSpPr>
          <p:cNvPr id="15" name="Rounded Rectangle 14">
            <a:extLst>
              <a:ext uri="{FF2B5EF4-FFF2-40B4-BE49-F238E27FC236}">
                <a16:creationId xmlns:a16="http://schemas.microsoft.com/office/drawing/2014/main" id="{CA830096-60AA-818B-3987-A8CEAC6BAD56}"/>
              </a:ext>
            </a:extLst>
          </p:cNvPr>
          <p:cNvSpPr>
            <a:spLocks/>
          </p:cNvSpPr>
          <p:nvPr/>
        </p:nvSpPr>
        <p:spPr bwMode="auto">
          <a:xfrm flipH="1">
            <a:off x="2965024" y="3308224"/>
            <a:ext cx="1071888" cy="319998"/>
          </a:xfrm>
          <a:prstGeom prst="roundRect">
            <a:avLst/>
          </a:prstGeom>
          <a:solidFill>
            <a:schemeClr val="bg1"/>
          </a:solidFill>
          <a:ln w="19050">
            <a:solidFill>
              <a:srgbClr val="FA4D56"/>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AI Assistant        for Procurement</a:t>
            </a:r>
          </a:p>
        </p:txBody>
      </p:sp>
      <p:sp>
        <p:nvSpPr>
          <p:cNvPr id="20" name="Oval 19">
            <a:extLst>
              <a:ext uri="{FF2B5EF4-FFF2-40B4-BE49-F238E27FC236}">
                <a16:creationId xmlns:a16="http://schemas.microsoft.com/office/drawing/2014/main" id="{57D52EC9-E752-0B59-5F64-62A8DAD25AAA}"/>
              </a:ext>
            </a:extLst>
          </p:cNvPr>
          <p:cNvSpPr/>
          <p:nvPr/>
        </p:nvSpPr>
        <p:spPr bwMode="auto">
          <a:xfrm>
            <a:off x="1375334" y="3900970"/>
            <a:ext cx="323936" cy="270380"/>
          </a:xfrm>
          <a:prstGeom prst="ellipse">
            <a:avLst/>
          </a:prstGeom>
          <a:solidFill>
            <a:schemeClr val="accent2"/>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BM Plex Sans Light"/>
                <a:ea typeface="+mn-ea"/>
                <a:cs typeface="+mn-cs"/>
              </a:rPr>
              <a:t>1</a:t>
            </a:r>
          </a:p>
        </p:txBody>
      </p:sp>
      <p:sp>
        <p:nvSpPr>
          <p:cNvPr id="3" name="TextBox 2">
            <a:extLst>
              <a:ext uri="{FF2B5EF4-FFF2-40B4-BE49-F238E27FC236}">
                <a16:creationId xmlns:a16="http://schemas.microsoft.com/office/drawing/2014/main" id="{E8BA9FC6-8328-23B1-D73F-01D98C719E03}"/>
              </a:ext>
            </a:extLst>
          </p:cNvPr>
          <p:cNvSpPr txBox="1"/>
          <p:nvPr/>
        </p:nvSpPr>
        <p:spPr>
          <a:xfrm rot="16200000">
            <a:off x="3496043" y="5683523"/>
            <a:ext cx="548569" cy="13319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0" marR="0" lvl="0" indent="0" algn="ctr" defTabSz="1218956" rtl="0" eaLnBrk="1" fontAlgn="auto" latinLnBrk="0" hangingPunct="1">
              <a:lnSpc>
                <a:spcPct val="110000"/>
              </a:lnSpc>
              <a:spcBef>
                <a:spcPts val="0"/>
              </a:spcBef>
              <a:spcAft>
                <a:spcPts val="0"/>
              </a:spcAft>
              <a:buClrTx/>
              <a:buSzPct val="100000"/>
              <a:buFontTx/>
              <a:buNone/>
              <a:tabLst/>
              <a:defRPr/>
            </a:pPr>
            <a:r>
              <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rPr>
              <a:t>Add-on</a:t>
            </a:r>
          </a:p>
          <a:p>
            <a:pPr marL="0" marR="0" lvl="0" indent="0" algn="l" defTabSz="1218956" rtl="0" eaLnBrk="1" fontAlgn="auto" latinLnBrk="0" hangingPunct="1">
              <a:lnSpc>
                <a:spcPct val="110000"/>
              </a:lnSpc>
              <a:spcBef>
                <a:spcPts val="0"/>
              </a:spcBef>
              <a:spcAft>
                <a:spcPts val="0"/>
              </a:spcAft>
              <a:buClrTx/>
              <a:buSzPct val="100000"/>
              <a:buFontTx/>
              <a:buNone/>
              <a:tabLst/>
              <a:defRPr/>
            </a:pPr>
            <a:endPar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endParaRPr>
          </a:p>
          <a:p>
            <a:pPr marL="0" marR="0" lvl="0" indent="0" algn="l" defTabSz="1218956" rtl="0" eaLnBrk="1" fontAlgn="auto" latinLnBrk="0" hangingPunct="1">
              <a:lnSpc>
                <a:spcPct val="110000"/>
              </a:lnSpc>
              <a:spcBef>
                <a:spcPts val="0"/>
              </a:spcBef>
              <a:spcAft>
                <a:spcPts val="0"/>
              </a:spcAft>
              <a:buClrTx/>
              <a:buSzPct val="100000"/>
              <a:buFontTx/>
              <a:buNone/>
              <a:tabLst/>
              <a:defRPr/>
            </a:pPr>
            <a:endPar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endParaRPr>
          </a:p>
        </p:txBody>
      </p:sp>
      <p:sp>
        <p:nvSpPr>
          <p:cNvPr id="6" name="Rectangle 5">
            <a:extLst>
              <a:ext uri="{FF2B5EF4-FFF2-40B4-BE49-F238E27FC236}">
                <a16:creationId xmlns:a16="http://schemas.microsoft.com/office/drawing/2014/main" id="{893EFF5B-0C9B-61BA-E718-F0FFB6A0515C}"/>
              </a:ext>
            </a:extLst>
          </p:cNvPr>
          <p:cNvSpPr/>
          <p:nvPr/>
        </p:nvSpPr>
        <p:spPr bwMode="auto">
          <a:xfrm>
            <a:off x="496717" y="1292814"/>
            <a:ext cx="6675202" cy="402051"/>
          </a:xfrm>
          <a:prstGeom prst="rect">
            <a:avLst/>
          </a:prstGeom>
          <a:solidFill>
            <a:schemeClr val="bg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ctr" defTabSz="1218956" rtl="0" eaLnBrk="1" fontAlgn="auto" latinLnBrk="0" hangingPunct="1">
              <a:lnSpc>
                <a:spcPct val="110000"/>
              </a:lnSpc>
              <a:spcBef>
                <a:spcPts val="0"/>
              </a:spcBef>
              <a:spcAft>
                <a:spcPts val="0"/>
              </a:spcAft>
              <a:buClrTx/>
              <a:buSzPct val="100000"/>
              <a:buFontTx/>
              <a:buNone/>
              <a:tabLst/>
              <a:defRPr/>
            </a:pPr>
            <a:r>
              <a:rPr kumimoji="0" lang="en-US" sz="900" b="1" i="0" u="none" strike="noStrike" kern="1200" cap="none" spc="0" normalizeH="0" baseline="0" noProof="0" dirty="0">
                <a:ln>
                  <a:noFill/>
                </a:ln>
                <a:solidFill>
                  <a:srgbClr val="000000"/>
                </a:solidFill>
                <a:effectLst/>
                <a:uLnTx/>
                <a:uFillTx/>
                <a:latin typeface=""/>
                <a:ea typeface="+mn-ea"/>
                <a:cs typeface="+mn-cs"/>
              </a:rPr>
              <a:t>Unified user interface</a:t>
            </a:r>
          </a:p>
          <a:p>
            <a:pPr marL="0" marR="0" lvl="0" indent="0" algn="ctr" defTabSz="1218956" rtl="0" eaLnBrk="1" fontAlgn="auto" latinLnBrk="0" hangingPunct="1">
              <a:lnSpc>
                <a:spcPct val="11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0000"/>
                </a:solidFill>
                <a:effectLst/>
                <a:uLnTx/>
                <a:uFillTx/>
                <a:latin typeface=""/>
                <a:ea typeface="+mn-ea"/>
                <a:cs typeface="+mn-cs"/>
              </a:rPr>
              <a:t>w</a:t>
            </a:r>
            <a:r>
              <a:rPr kumimoji="0" lang="en-US" sz="900" b="0" i="0" u="none" strike="noStrike" kern="1200" cap="none" spc="0" normalizeH="0" baseline="0" noProof="0" dirty="0" err="1">
                <a:ln>
                  <a:noFill/>
                </a:ln>
                <a:solidFill>
                  <a:srgbClr val="000000"/>
                </a:solidFill>
                <a:effectLst/>
                <a:uLnTx/>
                <a:uFillTx/>
                <a:latin typeface=""/>
                <a:ea typeface="+mn-ea"/>
                <a:cs typeface="+mn-cs"/>
              </a:rPr>
              <a:t>atsonx</a:t>
            </a:r>
            <a:r>
              <a:rPr kumimoji="0" lang="en-US" sz="900" b="0" i="0" u="none" strike="noStrike" kern="1200" cap="none" spc="0" normalizeH="0" baseline="0" noProof="0" dirty="0">
                <a:ln>
                  <a:noFill/>
                </a:ln>
                <a:solidFill>
                  <a:srgbClr val="000000"/>
                </a:solidFill>
                <a:effectLst/>
                <a:uLnTx/>
                <a:uFillTx/>
                <a:latin typeface=""/>
                <a:ea typeface="+mn-ea"/>
                <a:cs typeface="+mn-cs"/>
              </a:rPr>
              <a:t> Orchestrate LLM-based router with agentic architecture to plug in IBM watsonx Assistants or 3</a:t>
            </a:r>
            <a:r>
              <a:rPr kumimoji="0" lang="en-US" sz="900" b="0" i="0" u="none" strike="noStrike" kern="1200" cap="none" spc="0" normalizeH="0" baseline="30000" noProof="0" dirty="0">
                <a:ln>
                  <a:noFill/>
                </a:ln>
                <a:solidFill>
                  <a:srgbClr val="000000"/>
                </a:solidFill>
                <a:effectLst/>
                <a:uLnTx/>
                <a:uFillTx/>
                <a:latin typeface=""/>
                <a:ea typeface="+mn-ea"/>
                <a:cs typeface="+mn-cs"/>
              </a:rPr>
              <a:t>rd</a:t>
            </a:r>
            <a:r>
              <a:rPr kumimoji="0" lang="en-US" sz="900" b="0" i="0" u="none" strike="noStrike" kern="1200" cap="none" spc="0" normalizeH="0" baseline="0" noProof="0" dirty="0">
                <a:ln>
                  <a:noFill/>
                </a:ln>
                <a:solidFill>
                  <a:srgbClr val="000000"/>
                </a:solidFill>
                <a:effectLst/>
                <a:uLnTx/>
                <a:uFillTx/>
                <a:latin typeface=""/>
                <a:ea typeface="+mn-ea"/>
                <a:cs typeface="+mn-cs"/>
              </a:rPr>
              <a:t> party ones</a:t>
            </a:r>
          </a:p>
        </p:txBody>
      </p:sp>
      <p:cxnSp>
        <p:nvCxnSpPr>
          <p:cNvPr id="30" name="Elbow Connector 29">
            <a:extLst>
              <a:ext uri="{FF2B5EF4-FFF2-40B4-BE49-F238E27FC236}">
                <a16:creationId xmlns:a16="http://schemas.microsoft.com/office/drawing/2014/main" id="{9C4D085F-D026-5934-0D90-9796B12CB6C0}"/>
              </a:ext>
            </a:extLst>
          </p:cNvPr>
          <p:cNvCxnSpPr>
            <a:cxnSpLocks/>
            <a:stCxn id="29" idx="1"/>
            <a:endCxn id="6" idx="1"/>
          </p:cNvCxnSpPr>
          <p:nvPr/>
        </p:nvCxnSpPr>
        <p:spPr bwMode="auto">
          <a:xfrm rot="10800000" flipH="1">
            <a:off x="493790" y="1493839"/>
            <a:ext cx="2926" cy="3002557"/>
          </a:xfrm>
          <a:prstGeom prst="bentConnector3">
            <a:avLst>
              <a:gd name="adj1" fmla="val -3905689"/>
            </a:avLst>
          </a:prstGeom>
          <a:ln w="1905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pic>
        <p:nvPicPr>
          <p:cNvPr id="36" name="Picture 35" descr="A screenshot of a phone&#10;&#10;Description automatically generated">
            <a:extLst>
              <a:ext uri="{FF2B5EF4-FFF2-40B4-BE49-F238E27FC236}">
                <a16:creationId xmlns:a16="http://schemas.microsoft.com/office/drawing/2014/main" id="{ECC95E90-846B-01C3-65E4-E9D66A3E505E}"/>
              </a:ext>
            </a:extLst>
          </p:cNvPr>
          <p:cNvPicPr>
            <a:picLocks noChangeAspect="1"/>
          </p:cNvPicPr>
          <p:nvPr/>
        </p:nvPicPr>
        <p:blipFill rotWithShape="1">
          <a:blip r:embed="rId3"/>
          <a:srcRect l="1052"/>
          <a:stretch/>
        </p:blipFill>
        <p:spPr>
          <a:xfrm>
            <a:off x="3094348" y="1980643"/>
            <a:ext cx="781630" cy="1234279"/>
          </a:xfrm>
          <a:prstGeom prst="roundRect">
            <a:avLst>
              <a:gd name="adj" fmla="val 1667"/>
            </a:avLst>
          </a:prstGeom>
          <a:ln>
            <a:solidFill>
              <a:schemeClr val="tx1"/>
            </a:solidFill>
          </a:ln>
        </p:spPr>
      </p:pic>
      <p:pic>
        <p:nvPicPr>
          <p:cNvPr id="37" name="Picture 36" descr="A screenshot of a phone&#10;&#10;Description automatically generated">
            <a:extLst>
              <a:ext uri="{FF2B5EF4-FFF2-40B4-BE49-F238E27FC236}">
                <a16:creationId xmlns:a16="http://schemas.microsoft.com/office/drawing/2014/main" id="{48BC7401-8CFE-05AF-4775-3673207105B5}"/>
              </a:ext>
            </a:extLst>
          </p:cNvPr>
          <p:cNvPicPr>
            <a:picLocks noChangeAspect="1"/>
          </p:cNvPicPr>
          <p:nvPr/>
        </p:nvPicPr>
        <p:blipFill>
          <a:blip r:embed="rId4"/>
          <a:stretch>
            <a:fillRect/>
          </a:stretch>
        </p:blipFill>
        <p:spPr>
          <a:xfrm>
            <a:off x="1817744" y="1980643"/>
            <a:ext cx="791374" cy="1234279"/>
          </a:xfrm>
          <a:prstGeom prst="roundRect">
            <a:avLst>
              <a:gd name="adj" fmla="val 0"/>
            </a:avLst>
          </a:prstGeom>
          <a:ln>
            <a:solidFill>
              <a:schemeClr val="tx1"/>
            </a:solidFill>
          </a:ln>
        </p:spPr>
      </p:pic>
      <p:pic>
        <p:nvPicPr>
          <p:cNvPr id="39" name="Picture 38" descr="A screenshot of a phone&#10;&#10;Description automatically generated">
            <a:extLst>
              <a:ext uri="{FF2B5EF4-FFF2-40B4-BE49-F238E27FC236}">
                <a16:creationId xmlns:a16="http://schemas.microsoft.com/office/drawing/2014/main" id="{A3647650-E820-2F58-1FA6-AC1E87FC4B16}"/>
              </a:ext>
            </a:extLst>
          </p:cNvPr>
          <p:cNvPicPr>
            <a:picLocks/>
          </p:cNvPicPr>
          <p:nvPr/>
        </p:nvPicPr>
        <p:blipFill>
          <a:blip r:embed="rId5"/>
          <a:stretch>
            <a:fillRect/>
          </a:stretch>
        </p:blipFill>
        <p:spPr>
          <a:xfrm>
            <a:off x="598195" y="1980643"/>
            <a:ext cx="777139" cy="1234279"/>
          </a:xfrm>
          <a:prstGeom prst="roundRect">
            <a:avLst>
              <a:gd name="adj" fmla="val 3395"/>
            </a:avLst>
          </a:prstGeom>
          <a:ln>
            <a:solidFill>
              <a:schemeClr val="tx1"/>
            </a:solidFill>
          </a:ln>
        </p:spPr>
      </p:pic>
      <p:grpSp>
        <p:nvGrpSpPr>
          <p:cNvPr id="2" name="Group 1">
            <a:extLst>
              <a:ext uri="{FF2B5EF4-FFF2-40B4-BE49-F238E27FC236}">
                <a16:creationId xmlns:a16="http://schemas.microsoft.com/office/drawing/2014/main" id="{86B9D0E8-F43F-8091-DADF-F729ED679F39}"/>
              </a:ext>
            </a:extLst>
          </p:cNvPr>
          <p:cNvGrpSpPr/>
          <p:nvPr/>
        </p:nvGrpSpPr>
        <p:grpSpPr>
          <a:xfrm>
            <a:off x="5671674" y="5387233"/>
            <a:ext cx="1372308" cy="962434"/>
            <a:chOff x="5943056" y="11255711"/>
            <a:chExt cx="2744974" cy="1925118"/>
          </a:xfrm>
        </p:grpSpPr>
        <p:sp>
          <p:nvSpPr>
            <p:cNvPr id="8" name="Text Placeholder 3">
              <a:extLst>
                <a:ext uri="{FF2B5EF4-FFF2-40B4-BE49-F238E27FC236}">
                  <a16:creationId xmlns:a16="http://schemas.microsoft.com/office/drawing/2014/main" id="{B88D47C3-BAA5-6283-C280-E428CDCB6BDB}"/>
                </a:ext>
              </a:extLst>
            </p:cNvPr>
            <p:cNvSpPr txBox="1">
              <a:spLocks/>
            </p:cNvSpPr>
            <p:nvPr/>
          </p:nvSpPr>
          <p:spPr>
            <a:xfrm>
              <a:off x="5943056" y="12142442"/>
              <a:ext cx="2744974" cy="1038387"/>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ctr" defTabSz="914507"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Gen AI catalog powered by </a:t>
              </a:r>
              <a:r>
                <a:rPr kumimoji="0" lang="en-US" sz="900"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watsonx.ai</a:t>
              </a: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models</a:t>
              </a:r>
            </a:p>
          </p:txBody>
        </p:sp>
        <p:grpSp>
          <p:nvGrpSpPr>
            <p:cNvPr id="9" name="Group 8">
              <a:extLst>
                <a:ext uri="{FF2B5EF4-FFF2-40B4-BE49-F238E27FC236}">
                  <a16:creationId xmlns:a16="http://schemas.microsoft.com/office/drawing/2014/main" id="{5E55CBE8-0583-49D5-4E0A-B3F114515B9F}"/>
                </a:ext>
              </a:extLst>
            </p:cNvPr>
            <p:cNvGrpSpPr/>
            <p:nvPr/>
          </p:nvGrpSpPr>
          <p:grpSpPr>
            <a:xfrm>
              <a:off x="6966153" y="11255711"/>
              <a:ext cx="719077" cy="720000"/>
              <a:chOff x="5392815" y="10851330"/>
              <a:chExt cx="719077" cy="720000"/>
            </a:xfrm>
          </p:grpSpPr>
          <p:sp>
            <p:nvSpPr>
              <p:cNvPr id="16" name="Rounded Rectangle 15">
                <a:extLst>
                  <a:ext uri="{FF2B5EF4-FFF2-40B4-BE49-F238E27FC236}">
                    <a16:creationId xmlns:a16="http://schemas.microsoft.com/office/drawing/2014/main" id="{D9F7ECB1-09F8-0F9B-A09F-8349C06CCD3C}"/>
                  </a:ext>
                </a:extLst>
              </p:cNvPr>
              <p:cNvSpPr>
                <a:spLocks noChangeAspect="1"/>
              </p:cNvSpPr>
              <p:nvPr/>
            </p:nvSpPr>
            <p:spPr bwMode="auto">
              <a:xfrm>
                <a:off x="5392815" y="10851330"/>
                <a:ext cx="719077" cy="720000"/>
              </a:xfrm>
              <a:prstGeom prst="round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IBM Plex Sans Light"/>
                  <a:ea typeface="+mn-ea"/>
                  <a:cs typeface="+mn-cs"/>
                </a:endParaRPr>
              </a:p>
            </p:txBody>
          </p:sp>
          <p:pic>
            <p:nvPicPr>
              <p:cNvPr id="23" name="Graphic 22">
                <a:extLst>
                  <a:ext uri="{FF2B5EF4-FFF2-40B4-BE49-F238E27FC236}">
                    <a16:creationId xmlns:a16="http://schemas.microsoft.com/office/drawing/2014/main" id="{780E7B03-9756-EAFF-07F1-97DFE001169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54353" y="11013330"/>
                <a:ext cx="396000" cy="396000"/>
              </a:xfrm>
              <a:prstGeom prst="rect">
                <a:avLst/>
              </a:prstGeom>
            </p:spPr>
          </p:pic>
        </p:grpSp>
      </p:grpSp>
      <p:grpSp>
        <p:nvGrpSpPr>
          <p:cNvPr id="24" name="Group 23">
            <a:extLst>
              <a:ext uri="{FF2B5EF4-FFF2-40B4-BE49-F238E27FC236}">
                <a16:creationId xmlns:a16="http://schemas.microsoft.com/office/drawing/2014/main" id="{BAAEF79F-0B9F-A966-56D2-D46EC58EF87C}"/>
              </a:ext>
            </a:extLst>
          </p:cNvPr>
          <p:cNvGrpSpPr/>
          <p:nvPr/>
        </p:nvGrpSpPr>
        <p:grpSpPr>
          <a:xfrm>
            <a:off x="3924893" y="5381122"/>
            <a:ext cx="833053" cy="790726"/>
            <a:chOff x="11250693" y="10014728"/>
            <a:chExt cx="1666323" cy="1581658"/>
          </a:xfrm>
        </p:grpSpPr>
        <p:sp>
          <p:nvSpPr>
            <p:cNvPr id="26" name="Text Placeholder 3">
              <a:extLst>
                <a:ext uri="{FF2B5EF4-FFF2-40B4-BE49-F238E27FC236}">
                  <a16:creationId xmlns:a16="http://schemas.microsoft.com/office/drawing/2014/main" id="{E01FC139-1998-FF10-585A-49404C67B6A1}"/>
                </a:ext>
              </a:extLst>
            </p:cNvPr>
            <p:cNvSpPr txBox="1">
              <a:spLocks/>
            </p:cNvSpPr>
            <p:nvPr/>
          </p:nvSpPr>
          <p:spPr>
            <a:xfrm>
              <a:off x="11250693" y="10895403"/>
              <a:ext cx="1666323" cy="700983"/>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ctr" defTabSz="914507"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App </a:t>
              </a:r>
              <a:b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catalog</a:t>
              </a:r>
            </a:p>
          </p:txBody>
        </p:sp>
        <p:sp>
          <p:nvSpPr>
            <p:cNvPr id="32" name="Rounded Rectangle 31">
              <a:extLst>
                <a:ext uri="{FF2B5EF4-FFF2-40B4-BE49-F238E27FC236}">
                  <a16:creationId xmlns:a16="http://schemas.microsoft.com/office/drawing/2014/main" id="{52439C78-FDC0-EAFA-E186-47258B91EAA7}"/>
                </a:ext>
              </a:extLst>
            </p:cNvPr>
            <p:cNvSpPr>
              <a:spLocks noChangeAspect="1"/>
            </p:cNvSpPr>
            <p:nvPr/>
          </p:nvSpPr>
          <p:spPr bwMode="auto">
            <a:xfrm>
              <a:off x="11721043" y="10014728"/>
              <a:ext cx="719077" cy="720000"/>
            </a:xfrm>
            <a:prstGeom prst="round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IBM Plex Sans Light"/>
                <a:ea typeface="+mn-ea"/>
                <a:cs typeface="+mn-cs"/>
              </a:endParaRPr>
            </a:p>
          </p:txBody>
        </p:sp>
        <p:pic>
          <p:nvPicPr>
            <p:cNvPr id="33" name="Graphic 32">
              <a:extLst>
                <a:ext uri="{FF2B5EF4-FFF2-40B4-BE49-F238E27FC236}">
                  <a16:creationId xmlns:a16="http://schemas.microsoft.com/office/drawing/2014/main" id="{6AD816B8-BC92-BF84-2091-DCF99557661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882581" y="10176728"/>
              <a:ext cx="396000" cy="396000"/>
            </a:xfrm>
            <a:prstGeom prst="rect">
              <a:avLst/>
            </a:prstGeom>
          </p:spPr>
        </p:pic>
      </p:grpSp>
      <p:grpSp>
        <p:nvGrpSpPr>
          <p:cNvPr id="34" name="Group 33">
            <a:extLst>
              <a:ext uri="{FF2B5EF4-FFF2-40B4-BE49-F238E27FC236}">
                <a16:creationId xmlns:a16="http://schemas.microsoft.com/office/drawing/2014/main" id="{83E2DCF7-5FA8-5888-7B81-362372B29270}"/>
              </a:ext>
            </a:extLst>
          </p:cNvPr>
          <p:cNvGrpSpPr/>
          <p:nvPr/>
        </p:nvGrpSpPr>
        <p:grpSpPr>
          <a:xfrm>
            <a:off x="4843988" y="5376006"/>
            <a:ext cx="833053" cy="790726"/>
            <a:chOff x="13573287" y="10014728"/>
            <a:chExt cx="1666323" cy="1581658"/>
          </a:xfrm>
        </p:grpSpPr>
        <p:grpSp>
          <p:nvGrpSpPr>
            <p:cNvPr id="35" name="Group 34">
              <a:extLst>
                <a:ext uri="{FF2B5EF4-FFF2-40B4-BE49-F238E27FC236}">
                  <a16:creationId xmlns:a16="http://schemas.microsoft.com/office/drawing/2014/main" id="{35854FCE-5896-842A-3113-AAB05E68E4D5}"/>
                </a:ext>
              </a:extLst>
            </p:cNvPr>
            <p:cNvGrpSpPr/>
            <p:nvPr/>
          </p:nvGrpSpPr>
          <p:grpSpPr>
            <a:xfrm>
              <a:off x="13573287" y="10014728"/>
              <a:ext cx="1666323" cy="1581658"/>
              <a:chOff x="20797968" y="11264043"/>
              <a:chExt cx="1666323" cy="1581658"/>
            </a:xfrm>
          </p:grpSpPr>
          <p:sp>
            <p:nvSpPr>
              <p:cNvPr id="53" name="Text Placeholder 3">
                <a:extLst>
                  <a:ext uri="{FF2B5EF4-FFF2-40B4-BE49-F238E27FC236}">
                    <a16:creationId xmlns:a16="http://schemas.microsoft.com/office/drawing/2014/main" id="{A6D2E5A7-E163-AAC2-DE68-884CB386E60F}"/>
                  </a:ext>
                </a:extLst>
              </p:cNvPr>
              <p:cNvSpPr txBox="1">
                <a:spLocks/>
              </p:cNvSpPr>
              <p:nvPr/>
            </p:nvSpPr>
            <p:spPr>
              <a:xfrm>
                <a:off x="20797968" y="12144718"/>
                <a:ext cx="1666323" cy="700983"/>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ctr" defTabSz="914507"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Assistant catalog</a:t>
                </a:r>
              </a:p>
            </p:txBody>
          </p:sp>
          <p:sp>
            <p:nvSpPr>
              <p:cNvPr id="54" name="Rounded Rectangle 53">
                <a:extLst>
                  <a:ext uri="{FF2B5EF4-FFF2-40B4-BE49-F238E27FC236}">
                    <a16:creationId xmlns:a16="http://schemas.microsoft.com/office/drawing/2014/main" id="{DEA01FFE-070B-D5DB-6169-33630A692C1B}"/>
                  </a:ext>
                </a:extLst>
              </p:cNvPr>
              <p:cNvSpPr>
                <a:spLocks noChangeAspect="1"/>
              </p:cNvSpPr>
              <p:nvPr/>
            </p:nvSpPr>
            <p:spPr bwMode="auto">
              <a:xfrm>
                <a:off x="21268318" y="11264043"/>
                <a:ext cx="719077" cy="720000"/>
              </a:xfrm>
              <a:prstGeom prst="round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IBM Plex Sans Light"/>
                  <a:ea typeface="+mn-ea"/>
                  <a:cs typeface="+mn-cs"/>
                </a:endParaRPr>
              </a:p>
            </p:txBody>
          </p:sp>
        </p:grpSp>
        <p:pic>
          <p:nvPicPr>
            <p:cNvPr id="41" name="Graphic 40">
              <a:extLst>
                <a:ext uri="{FF2B5EF4-FFF2-40B4-BE49-F238E27FC236}">
                  <a16:creationId xmlns:a16="http://schemas.microsoft.com/office/drawing/2014/main" id="{6C1463F9-E4E9-F367-B43A-839C44232E4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202300" y="10201944"/>
              <a:ext cx="396000" cy="396000"/>
            </a:xfrm>
            <a:prstGeom prst="rect">
              <a:avLst/>
            </a:prstGeom>
          </p:spPr>
        </p:pic>
      </p:grpSp>
      <p:sp>
        <p:nvSpPr>
          <p:cNvPr id="135" name="TextBox 134">
            <a:extLst>
              <a:ext uri="{FF2B5EF4-FFF2-40B4-BE49-F238E27FC236}">
                <a16:creationId xmlns:a16="http://schemas.microsoft.com/office/drawing/2014/main" id="{6DBA1D83-C36B-14E4-0D98-99405D0C3863}"/>
              </a:ext>
            </a:extLst>
          </p:cNvPr>
          <p:cNvSpPr txBox="1"/>
          <p:nvPr/>
        </p:nvSpPr>
        <p:spPr>
          <a:xfrm>
            <a:off x="4459482" y="3671247"/>
            <a:ext cx="2577694" cy="2012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0" marR="0" lvl="0" indent="0" algn="ctr" defTabSz="1218956" rtl="0" eaLnBrk="1" fontAlgn="auto" latinLnBrk="0" hangingPunct="1">
              <a:lnSpc>
                <a:spcPct val="110000"/>
              </a:lnSpc>
              <a:spcBef>
                <a:spcPts val="0"/>
              </a:spcBef>
              <a:spcAft>
                <a:spcPts val="0"/>
              </a:spcAft>
              <a:buClrTx/>
              <a:buSzPct val="100000"/>
              <a:buFontTx/>
              <a:buNone/>
              <a:tabLst/>
              <a:defRPr/>
            </a:pPr>
            <a:r>
              <a:rPr kumimoji="0" lang="en-US" sz="900" b="1" i="0"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rPr>
              <a:t>Custom team productivity assistant</a:t>
            </a:r>
          </a:p>
        </p:txBody>
      </p:sp>
      <p:sp>
        <p:nvSpPr>
          <p:cNvPr id="136" name="Oval 135">
            <a:extLst>
              <a:ext uri="{FF2B5EF4-FFF2-40B4-BE49-F238E27FC236}">
                <a16:creationId xmlns:a16="http://schemas.microsoft.com/office/drawing/2014/main" id="{7046F1BA-A41B-1B79-2ED2-CFB5A5EFC35F}"/>
              </a:ext>
            </a:extLst>
          </p:cNvPr>
          <p:cNvSpPr/>
          <p:nvPr/>
        </p:nvSpPr>
        <p:spPr bwMode="auto">
          <a:xfrm>
            <a:off x="5307810" y="3872476"/>
            <a:ext cx="323935" cy="271017"/>
          </a:xfrm>
          <a:prstGeom prst="ellipse">
            <a:avLst/>
          </a:prstGeom>
          <a:solidFill>
            <a:schemeClr val="accent2"/>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BM Plex Sans Light"/>
                <a:ea typeface="+mn-ea"/>
                <a:cs typeface="+mn-cs"/>
              </a:rPr>
              <a:t>3</a:t>
            </a:r>
          </a:p>
        </p:txBody>
      </p:sp>
      <p:sp>
        <p:nvSpPr>
          <p:cNvPr id="140" name="Rounded Rectangle 139">
            <a:extLst>
              <a:ext uri="{FF2B5EF4-FFF2-40B4-BE49-F238E27FC236}">
                <a16:creationId xmlns:a16="http://schemas.microsoft.com/office/drawing/2014/main" id="{3834499C-49D8-0849-E4D3-23D28A770CDE}"/>
              </a:ext>
            </a:extLst>
          </p:cNvPr>
          <p:cNvSpPr>
            <a:spLocks/>
          </p:cNvSpPr>
          <p:nvPr/>
        </p:nvSpPr>
        <p:spPr bwMode="auto">
          <a:xfrm flipH="1">
            <a:off x="4575786" y="2868635"/>
            <a:ext cx="1097137" cy="319998"/>
          </a:xfrm>
          <a:prstGeom prst="roundRect">
            <a:avLst/>
          </a:pr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Incentives assistant</a:t>
            </a:r>
          </a:p>
        </p:txBody>
      </p:sp>
      <p:sp>
        <p:nvSpPr>
          <p:cNvPr id="142" name="Rounded Rectangle 141">
            <a:extLst>
              <a:ext uri="{FF2B5EF4-FFF2-40B4-BE49-F238E27FC236}">
                <a16:creationId xmlns:a16="http://schemas.microsoft.com/office/drawing/2014/main" id="{6D468056-6695-B5CB-4FBD-12A559F6979D}"/>
              </a:ext>
            </a:extLst>
          </p:cNvPr>
          <p:cNvSpPr>
            <a:spLocks/>
          </p:cNvSpPr>
          <p:nvPr/>
        </p:nvSpPr>
        <p:spPr bwMode="auto">
          <a:xfrm flipH="1">
            <a:off x="5705135" y="2866750"/>
            <a:ext cx="1097137" cy="319998"/>
          </a:xfrm>
          <a:prstGeom prst="roundRect">
            <a:avLst/>
          </a:pr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EPM</a:t>
            </a:r>
            <a:br>
              <a:rPr kumimoji="0" lang="en-US" sz="900" b="0" i="0" u="none" strike="noStrike" kern="1200" cap="none" spc="0" normalizeH="0" baseline="0" noProof="0" dirty="0">
                <a:ln>
                  <a:noFill/>
                </a:ln>
                <a:solidFill>
                  <a:srgbClr val="000000"/>
                </a:solidFill>
                <a:effectLst/>
                <a:uLnTx/>
                <a:uFillTx/>
                <a:latin typeface="IBM Plex Sans Light"/>
                <a:ea typeface="+mn-ea"/>
                <a:cs typeface="+mn-cs"/>
              </a:rPr>
            </a:b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 assistant</a:t>
            </a:r>
          </a:p>
        </p:txBody>
      </p:sp>
      <p:sp>
        <p:nvSpPr>
          <p:cNvPr id="143" name="Rounded Rectangle 142">
            <a:extLst>
              <a:ext uri="{FF2B5EF4-FFF2-40B4-BE49-F238E27FC236}">
                <a16:creationId xmlns:a16="http://schemas.microsoft.com/office/drawing/2014/main" id="{8BDD58C6-B213-BE9E-5E7D-8DF7A23F454B}"/>
              </a:ext>
            </a:extLst>
          </p:cNvPr>
          <p:cNvSpPr>
            <a:spLocks/>
          </p:cNvSpPr>
          <p:nvPr/>
        </p:nvSpPr>
        <p:spPr bwMode="auto">
          <a:xfrm flipH="1">
            <a:off x="4575786" y="2439024"/>
            <a:ext cx="1097137" cy="319998"/>
          </a:xfrm>
          <a:prstGeom prst="roundRect">
            <a:avLst/>
          </a:pr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Access tools assistant</a:t>
            </a:r>
          </a:p>
        </p:txBody>
      </p:sp>
      <p:sp>
        <p:nvSpPr>
          <p:cNvPr id="144" name="Rounded Rectangle 143">
            <a:extLst>
              <a:ext uri="{FF2B5EF4-FFF2-40B4-BE49-F238E27FC236}">
                <a16:creationId xmlns:a16="http://schemas.microsoft.com/office/drawing/2014/main" id="{487F7756-C038-E0F5-297E-DD39E93C0066}"/>
              </a:ext>
            </a:extLst>
          </p:cNvPr>
          <p:cNvSpPr>
            <a:spLocks/>
          </p:cNvSpPr>
          <p:nvPr/>
        </p:nvSpPr>
        <p:spPr bwMode="auto">
          <a:xfrm flipH="1">
            <a:off x="5705135" y="2437139"/>
            <a:ext cx="1097137" cy="319998"/>
          </a:xfrm>
          <a:prstGeom prst="roundRect">
            <a:avLst/>
          </a:pr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Business Partner</a:t>
            </a:r>
            <a:br>
              <a:rPr kumimoji="0" lang="en-US" sz="900" b="0" i="0" u="none" strike="noStrike" kern="1200" cap="none" spc="0" normalizeH="0" baseline="0" noProof="0" dirty="0">
                <a:ln>
                  <a:noFill/>
                </a:ln>
                <a:solidFill>
                  <a:srgbClr val="000000"/>
                </a:solidFill>
                <a:effectLst/>
                <a:uLnTx/>
                <a:uFillTx/>
                <a:latin typeface="IBM Plex Sans Light"/>
                <a:ea typeface="+mn-ea"/>
                <a:cs typeface="+mn-cs"/>
              </a:rPr>
            </a:b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 assistant</a:t>
            </a:r>
          </a:p>
        </p:txBody>
      </p:sp>
      <p:sp>
        <p:nvSpPr>
          <p:cNvPr id="145" name="TextBox 144">
            <a:extLst>
              <a:ext uri="{FF2B5EF4-FFF2-40B4-BE49-F238E27FC236}">
                <a16:creationId xmlns:a16="http://schemas.microsoft.com/office/drawing/2014/main" id="{BB4995DD-9382-A887-C14C-DA6D87EBCB97}"/>
              </a:ext>
            </a:extLst>
          </p:cNvPr>
          <p:cNvSpPr txBox="1"/>
          <p:nvPr/>
        </p:nvSpPr>
        <p:spPr>
          <a:xfrm>
            <a:off x="4378500" y="3296362"/>
            <a:ext cx="2577694" cy="2012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0" marR="0" lvl="0" indent="0" algn="ctr" defTabSz="1218956" rtl="0" eaLnBrk="1" fontAlgn="auto" latinLnBrk="0" hangingPunct="1">
              <a:lnSpc>
                <a:spcPct val="110000"/>
              </a:lnSpc>
              <a:spcBef>
                <a:spcPts val="0"/>
              </a:spcBef>
              <a:spcAft>
                <a:spcPts val="0"/>
              </a:spcAft>
              <a:buClrTx/>
              <a:buSzPct val="100000"/>
              <a:buFontTx/>
              <a:buNone/>
              <a:tabLst/>
              <a:defRPr/>
            </a:pPr>
            <a:r>
              <a:rPr kumimoji="0" lang="en-US" sz="900" b="0" i="1" u="none" strike="noStrike" kern="1200" cap="none" spc="0" normalizeH="0" baseline="0" noProof="0" dirty="0">
                <a:ln>
                  <a:noFill/>
                </a:ln>
                <a:solidFill>
                  <a:srgbClr val="000000"/>
                </a:solidFill>
                <a:effectLst/>
                <a:uLnTx/>
                <a:uFillTx/>
                <a:latin typeface="IBM Plex Sans SmBld" panose="020B0503050203000203" pitchFamily="34" charset="0"/>
                <a:ea typeface="+mn-ea"/>
                <a:cs typeface="+mn-cs"/>
              </a:rPr>
              <a:t>…and many more</a:t>
            </a:r>
          </a:p>
        </p:txBody>
      </p:sp>
      <p:sp>
        <p:nvSpPr>
          <p:cNvPr id="146" name="Rounded Rectangle 145">
            <a:extLst>
              <a:ext uri="{FF2B5EF4-FFF2-40B4-BE49-F238E27FC236}">
                <a16:creationId xmlns:a16="http://schemas.microsoft.com/office/drawing/2014/main" id="{0FB70475-DEE0-07F7-14FE-A380338CE3F3}"/>
              </a:ext>
            </a:extLst>
          </p:cNvPr>
          <p:cNvSpPr>
            <a:spLocks/>
          </p:cNvSpPr>
          <p:nvPr/>
        </p:nvSpPr>
        <p:spPr bwMode="auto">
          <a:xfrm flipH="1">
            <a:off x="4585261" y="1980888"/>
            <a:ext cx="1097137" cy="319998"/>
          </a:xfrm>
          <a:prstGeom prst="roundRect">
            <a:avLst/>
          </a:pr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RFP</a:t>
            </a:r>
            <a:br>
              <a:rPr kumimoji="0" lang="en-US" sz="900" b="0" i="0" u="none" strike="noStrike" kern="1200" cap="none" spc="0" normalizeH="0" baseline="0" noProof="0" dirty="0">
                <a:ln>
                  <a:noFill/>
                </a:ln>
                <a:solidFill>
                  <a:srgbClr val="000000"/>
                </a:solidFill>
                <a:effectLst/>
                <a:uLnTx/>
                <a:uFillTx/>
                <a:latin typeface="IBM Plex Sans Light"/>
                <a:ea typeface="+mn-ea"/>
                <a:cs typeface="+mn-cs"/>
              </a:rPr>
            </a:b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assistant</a:t>
            </a:r>
          </a:p>
        </p:txBody>
      </p:sp>
      <p:sp>
        <p:nvSpPr>
          <p:cNvPr id="147" name="Rounded Rectangle 146">
            <a:extLst>
              <a:ext uri="{FF2B5EF4-FFF2-40B4-BE49-F238E27FC236}">
                <a16:creationId xmlns:a16="http://schemas.microsoft.com/office/drawing/2014/main" id="{4D2C96D2-04D3-0E99-89DA-A59C4E2B9338}"/>
              </a:ext>
            </a:extLst>
          </p:cNvPr>
          <p:cNvSpPr>
            <a:spLocks/>
          </p:cNvSpPr>
          <p:nvPr/>
        </p:nvSpPr>
        <p:spPr bwMode="auto">
          <a:xfrm flipH="1">
            <a:off x="5714610" y="1979003"/>
            <a:ext cx="1097137" cy="319998"/>
          </a:xfrm>
          <a:prstGeom prst="roundRect">
            <a:avLst/>
          </a:pr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Order</a:t>
            </a:r>
            <a:br>
              <a:rPr kumimoji="0" lang="en-US" sz="900" b="0" i="0" u="none" strike="noStrike" kern="1200" cap="none" spc="0" normalizeH="0" baseline="0" noProof="0" dirty="0">
                <a:ln>
                  <a:noFill/>
                </a:ln>
                <a:solidFill>
                  <a:srgbClr val="000000"/>
                </a:solidFill>
                <a:effectLst/>
                <a:uLnTx/>
                <a:uFillTx/>
                <a:latin typeface="IBM Plex Sans Light"/>
                <a:ea typeface="+mn-ea"/>
                <a:cs typeface="+mn-cs"/>
              </a:rPr>
            </a:br>
            <a:r>
              <a:rPr kumimoji="0" lang="en-US" sz="900" b="0" i="0" u="none" strike="noStrike" kern="1200" cap="none" spc="0" normalizeH="0" baseline="0" noProof="0" dirty="0">
                <a:ln>
                  <a:noFill/>
                </a:ln>
                <a:solidFill>
                  <a:srgbClr val="000000"/>
                </a:solidFill>
                <a:effectLst/>
                <a:uLnTx/>
                <a:uFillTx/>
                <a:latin typeface="IBM Plex Sans Light"/>
                <a:ea typeface="+mn-ea"/>
                <a:cs typeface="+mn-cs"/>
              </a:rPr>
              <a:t> assistant</a:t>
            </a:r>
          </a:p>
        </p:txBody>
      </p:sp>
      <p:sp>
        <p:nvSpPr>
          <p:cNvPr id="19" name="Text Placeholder 3">
            <a:extLst>
              <a:ext uri="{FF2B5EF4-FFF2-40B4-BE49-F238E27FC236}">
                <a16:creationId xmlns:a16="http://schemas.microsoft.com/office/drawing/2014/main" id="{10661808-B286-F12F-DBBB-D992997ACAB9}"/>
              </a:ext>
            </a:extLst>
          </p:cNvPr>
          <p:cNvSpPr txBox="1">
            <a:spLocks/>
          </p:cNvSpPr>
          <p:nvPr/>
        </p:nvSpPr>
        <p:spPr>
          <a:xfrm>
            <a:off x="7614328" y="4948383"/>
            <a:ext cx="4453523" cy="12404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3.  Build new custom Assistants with watson</a:t>
            </a:r>
            <a:r>
              <a:rPr kumimoji="0" lang="en-US" sz="1400" b="1" i="0" u="none" strike="noStrike" kern="0" cap="none" spc="0" normalizeH="0" baseline="0" noProof="0" dirty="0">
                <a:ln>
                  <a:noFill/>
                </a:ln>
                <a:solidFill>
                  <a:srgbClr val="0F62FE"/>
                </a:solidFill>
                <a:effectLst/>
                <a:uLnTx/>
                <a:uFillTx/>
                <a:latin typeface="IBM Plex Sans" panose="020B0503050203000203" pitchFamily="34" charset="0"/>
                <a:ea typeface="+mj-ea"/>
                <a:cs typeface="+mj-cs"/>
                <a:sym typeface="IBM Plex Sans Light"/>
              </a:rPr>
              <a:t>x</a:t>
            </a:r>
            <a:br>
              <a:rPr kumimoji="0" lang="en-US" sz="1400" b="1"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br>
            <a:r>
              <a:rPr kumimoji="0" lang="en-US" sz="1400" b="1"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      Orchestrate Skill Studio</a:t>
            </a: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endParaRPr>
          </a:p>
          <a:p>
            <a:pPr marL="257917" marR="0" lvl="0" indent="0" algn="l" defTabSz="1218956" rtl="0" eaLnBrk="1" fontAlgn="auto" latinLnBrk="0" hangingPunct="1">
              <a:lnSpc>
                <a:spcPct val="11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Enterprise teams can build and manage their own custom Catalog of skills and invoke them through AI Assistant interface</a:t>
            </a:r>
          </a:p>
        </p:txBody>
      </p:sp>
      <p:sp>
        <p:nvSpPr>
          <p:cNvPr id="7" name="Oval 6">
            <a:extLst>
              <a:ext uri="{FF2B5EF4-FFF2-40B4-BE49-F238E27FC236}">
                <a16:creationId xmlns:a16="http://schemas.microsoft.com/office/drawing/2014/main" id="{45922BFD-CA81-D817-2585-A764E5166387}"/>
              </a:ext>
            </a:extLst>
          </p:cNvPr>
          <p:cNvSpPr/>
          <p:nvPr/>
        </p:nvSpPr>
        <p:spPr bwMode="auto">
          <a:xfrm>
            <a:off x="5472089" y="6131336"/>
            <a:ext cx="323935" cy="271017"/>
          </a:xfrm>
          <a:prstGeom prst="ellipse">
            <a:avLst/>
          </a:prstGeom>
          <a:solidFill>
            <a:schemeClr val="accent2"/>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BM Plex Sans Light"/>
                <a:ea typeface="+mn-ea"/>
                <a:cs typeface="+mn-cs"/>
              </a:rPr>
              <a:t>2</a:t>
            </a:r>
          </a:p>
        </p:txBody>
      </p:sp>
      <p:sp>
        <p:nvSpPr>
          <p:cNvPr id="12" name="Rectangle 11">
            <a:extLst>
              <a:ext uri="{FF2B5EF4-FFF2-40B4-BE49-F238E27FC236}">
                <a16:creationId xmlns:a16="http://schemas.microsoft.com/office/drawing/2014/main" id="{FD8A9C34-0745-1704-E214-4E04474FB8E0}"/>
              </a:ext>
            </a:extLst>
          </p:cNvPr>
          <p:cNvSpPr/>
          <p:nvPr/>
        </p:nvSpPr>
        <p:spPr>
          <a:xfrm>
            <a:off x="281174" y="1089507"/>
            <a:ext cx="810922" cy="359067"/>
          </a:xfrm>
          <a:prstGeom prst="rect">
            <a:avLst/>
          </a:prstGeom>
          <a:solidFill>
            <a:schemeClr val="accent4">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397" tIns="25397" rIns="25397" bIns="25397" numCol="1" spcCol="38100" rtlCol="0" anchor="ctr">
            <a:spAutoFit/>
          </a:bodyPr>
          <a:lstStyle/>
          <a:p>
            <a:pPr marL="0" marR="0" lvl="0" indent="0" algn="ctr" defTabSz="412667"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E5F6FF">
                    <a:lumMod val="10000"/>
                  </a:srgbClr>
                </a:solidFill>
                <a:effectLst/>
                <a:uLnTx/>
                <a:uFillTx/>
                <a:latin typeface="Helvetica Neue Medium"/>
                <a:ea typeface="Helvetica Neue Medium"/>
                <a:cs typeface="Helvetica Neue Medium"/>
                <a:sym typeface="Helvetica Neue Medium"/>
              </a:rPr>
              <a:t>NEW – closed beta</a:t>
            </a:r>
          </a:p>
        </p:txBody>
      </p:sp>
      <p:sp>
        <p:nvSpPr>
          <p:cNvPr id="17" name="Footer Placeholder 6">
            <a:extLst>
              <a:ext uri="{FF2B5EF4-FFF2-40B4-BE49-F238E27FC236}">
                <a16:creationId xmlns:a16="http://schemas.microsoft.com/office/drawing/2014/main" id="{E97A22BA-56D8-755F-B3AF-81FFE0D26699}"/>
              </a:ext>
            </a:extLst>
          </p:cNvPr>
          <p:cNvSpPr txBox="1">
            <a:spLocks/>
          </p:cNvSpPr>
          <p:nvPr/>
        </p:nvSpPr>
        <p:spPr>
          <a:xfrm>
            <a:off x="287092" y="6454252"/>
            <a:ext cx="2166339" cy="197451"/>
          </a:xfrm>
          <a:prstGeom prst="rect">
            <a:avLst/>
          </a:prstGeom>
        </p:spPr>
        <p:txBody>
          <a:bodyPr vert="horz" lIns="0" tIns="0" rIns="0" bIns="0" rtlCol="0" anchor="ctr"/>
          <a:lstStyle>
            <a:defPPr>
              <a:defRPr lang="en-US"/>
            </a:defPPr>
            <a:lvl1pPr marL="0" marR="0" indent="0" algn="l" defTabSz="685992" rtl="0" eaLnBrk="1" fontAlgn="auto" latinLnBrk="0" hangingPunct="1">
              <a:lnSpc>
                <a:spcPct val="100000"/>
              </a:lnSpc>
              <a:spcBef>
                <a:spcPts val="0"/>
              </a:spcBef>
              <a:spcAft>
                <a:spcPts val="0"/>
              </a:spcAft>
              <a:buClrTx/>
              <a:buSzTx/>
              <a:buFontTx/>
              <a:buNone/>
              <a:tabLst/>
              <a:defRPr sz="600" b="0" i="0" kern="1200">
                <a:solidFill>
                  <a:schemeClr val="tx1"/>
                </a:solidFill>
                <a:latin typeface="IBM Plex Sans" panose="020B0503050203000203" pitchFamily="34" charset="0"/>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marL="0" marR="0" lvl="0" indent="0" algn="l" defTabSz="812417" rtl="0" eaLnBrk="1" fontAlgn="auto" latinLnBrk="0" hangingPunct="1">
              <a:lnSpc>
                <a:spcPct val="100000"/>
              </a:lnSpc>
              <a:spcBef>
                <a:spcPts val="0"/>
              </a:spcBef>
              <a:spcAft>
                <a:spcPts val="0"/>
              </a:spcAft>
              <a:buClrTx/>
              <a:buSzTx/>
              <a:buFontTx/>
              <a:buNone/>
              <a:tabLst/>
              <a:defRPr/>
            </a:pPr>
            <a:r>
              <a:rPr kumimoji="0" lang="en-US" sz="711" b="0" i="0" u="none" strike="noStrike" kern="1200" cap="none" spc="0" normalizeH="0" baseline="0" noProof="0" dirty="0">
                <a:ln>
                  <a:noFill/>
                </a:ln>
                <a:solidFill>
                  <a:srgbClr val="000000"/>
                </a:solidFill>
                <a:effectLst/>
                <a:uLnTx/>
                <a:uFillTx/>
                <a:latin typeface="IBM Plex Sans Regular"/>
                <a:ea typeface="+mn-ea"/>
                <a:cs typeface="+mn-cs"/>
                <a:sym typeface="Helvetica Neue"/>
              </a:rPr>
              <a:t>IBM  </a:t>
            </a:r>
            <a:r>
              <a:rPr kumimoji="0" lang="en-US" sz="711" b="0" i="0" u="none" strike="noStrike" kern="1200" cap="none" spc="0" normalizeH="0" baseline="0" noProof="0" dirty="0" err="1">
                <a:ln>
                  <a:noFill/>
                </a:ln>
                <a:solidFill>
                  <a:srgbClr val="000000"/>
                </a:solidFill>
                <a:effectLst/>
                <a:uLnTx/>
                <a:uFillTx/>
                <a:latin typeface="IBM Plex Sans Regular"/>
                <a:ea typeface="+mn-ea"/>
                <a:cs typeface="+mn-cs"/>
                <a:sym typeface="Helvetica Neue"/>
              </a:rPr>
              <a:t>watson</a:t>
            </a:r>
            <a:r>
              <a:rPr kumimoji="0" lang="en-US" sz="711" b="0" i="0" u="none" strike="noStrike" kern="1200" cap="none" spc="0" normalizeH="0" baseline="0" noProof="0" dirty="0">
                <a:ln>
                  <a:noFill/>
                </a:ln>
                <a:solidFill>
                  <a:srgbClr val="000000"/>
                </a:solidFill>
                <a:effectLst/>
                <a:uLnTx/>
                <a:uFillTx/>
                <a:latin typeface="IBM Plex Sans Regular"/>
                <a:ea typeface="+mn-ea"/>
                <a:cs typeface="+mn-cs"/>
                <a:sym typeface="Helvetica Neue"/>
              </a:rPr>
              <a:t> Orchestrate / © 2024 IBM Corporation</a:t>
            </a:r>
          </a:p>
        </p:txBody>
      </p:sp>
    </p:spTree>
    <p:extLst>
      <p:ext uri="{BB962C8B-B14F-4D97-AF65-F5344CB8AC3E}">
        <p14:creationId xmlns:p14="http://schemas.microsoft.com/office/powerpoint/2010/main" val="12716069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3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7"/>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4"/>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4"/>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0"/>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35"/>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42"/>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45"/>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40"/>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43"/>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44"/>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47"/>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46"/>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136"/>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19"/>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30"/>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6"/>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7" grpId="0" animBg="1"/>
      <p:bldP spid="29" grpId="0" animBg="1"/>
      <p:bldP spid="40" grpId="0" animBg="1"/>
      <p:bldP spid="42" grpId="0" animBg="1"/>
      <p:bldP spid="43" grpId="0" animBg="1"/>
      <p:bldP spid="138" grpId="0" animBg="1"/>
      <p:bldP spid="139" grpId="0" animBg="1"/>
      <p:bldP spid="141" grpId="0" animBg="1"/>
      <p:bldP spid="165" grpId="0" animBg="1"/>
      <p:bldP spid="28" grpId="0" animBg="1"/>
      <p:bldP spid="13" grpId="0" animBg="1"/>
      <p:bldP spid="14" grpId="0" animBg="1"/>
      <p:bldP spid="15" grpId="0" animBg="1"/>
      <p:bldP spid="20" grpId="0" animBg="1"/>
      <p:bldP spid="3" grpId="0" animBg="1"/>
      <p:bldP spid="6" grpId="0" animBg="1"/>
      <p:bldP spid="135" grpId="0" animBg="1"/>
      <p:bldP spid="136" grpId="0" animBg="1"/>
      <p:bldP spid="140" grpId="0" animBg="1"/>
      <p:bldP spid="142" grpId="0" animBg="1"/>
      <p:bldP spid="143" grpId="0" animBg="1"/>
      <p:bldP spid="144" grpId="0" animBg="1"/>
      <p:bldP spid="145" grpId="0" animBg="1"/>
      <p:bldP spid="146" grpId="0" animBg="1"/>
      <p:bldP spid="147" grpId="0" animBg="1"/>
      <p:bldP spid="19" grpId="0" animBg="1"/>
      <p:bldP spid="7" grpId="0" animBg="1"/>
      <p:bldP spid="12"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CDA2847-DF3B-1AC8-A6DC-D95FFB2999E6}"/>
              </a:ext>
            </a:extLst>
          </p:cNvPr>
          <p:cNvSpPr txBox="1"/>
          <p:nvPr/>
        </p:nvSpPr>
        <p:spPr>
          <a:xfrm>
            <a:off x="306396" y="866803"/>
            <a:ext cx="2593775" cy="48705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0" marR="0" lvl="0" indent="0" algn="l" defTabSz="2437912" rtl="0" eaLnBrk="1" fontAlgn="auto" latinLnBrk="0" hangingPunct="1">
              <a:lnSpc>
                <a:spcPct val="100000"/>
              </a:lnSpc>
              <a:spcBef>
                <a:spcPts val="2899"/>
              </a:spcBef>
              <a:spcAft>
                <a:spcPts val="0"/>
              </a:spcAft>
              <a:buClrTx/>
              <a:buSzPct val="100000"/>
              <a:buFontTx/>
              <a:buNone/>
              <a:tabLst/>
              <a:defRPr/>
            </a:pPr>
            <a:r>
              <a:rPr kumimoji="0" lang="en-US" sz="1400" b="1" i="0" u="none" strike="noStrike" kern="0" cap="none" spc="0" normalizeH="0" baseline="0" noProof="0" dirty="0">
                <a:ln>
                  <a:noFill/>
                </a:ln>
                <a:solidFill>
                  <a:srgbClr val="0F62FE"/>
                </a:solidFill>
                <a:effectLst/>
                <a:uLnTx/>
                <a:uFillTx/>
                <a:latin typeface="IBM Plex Sans Light"/>
                <a:ea typeface="+mn-ea"/>
                <a:cs typeface="+mn-cs"/>
                <a:sym typeface="IBM Plex Sans Light"/>
              </a:rPr>
              <a:t>File Sharing and Hosting</a:t>
            </a:r>
          </a:p>
        </p:txBody>
      </p:sp>
      <p:sp>
        <p:nvSpPr>
          <p:cNvPr id="5" name="TextBox 4">
            <a:extLst>
              <a:ext uri="{FF2B5EF4-FFF2-40B4-BE49-F238E27FC236}">
                <a16:creationId xmlns:a16="http://schemas.microsoft.com/office/drawing/2014/main" id="{EFB716E2-AC5C-12D2-6303-0E23FDC89DAF}"/>
              </a:ext>
            </a:extLst>
          </p:cNvPr>
          <p:cNvSpPr txBox="1"/>
          <p:nvPr/>
        </p:nvSpPr>
        <p:spPr>
          <a:xfrm>
            <a:off x="8239821" y="4713047"/>
            <a:ext cx="2378544" cy="48705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F62FE"/>
                </a:solidFill>
                <a:effectLst/>
                <a:uLnTx/>
                <a:uFillTx/>
                <a:latin typeface="IBM Plex Sans Light"/>
                <a:ea typeface="+mn-ea"/>
                <a:cs typeface="+mn-cs"/>
              </a:rPr>
              <a:t>Project management</a:t>
            </a:r>
          </a:p>
        </p:txBody>
      </p:sp>
      <p:sp>
        <p:nvSpPr>
          <p:cNvPr id="22" name="TextBox 21">
            <a:extLst>
              <a:ext uri="{FF2B5EF4-FFF2-40B4-BE49-F238E27FC236}">
                <a16:creationId xmlns:a16="http://schemas.microsoft.com/office/drawing/2014/main" id="{08ADD4B5-107C-F9A4-8920-A6B34600C476}"/>
              </a:ext>
            </a:extLst>
          </p:cNvPr>
          <p:cNvSpPr txBox="1"/>
          <p:nvPr/>
        </p:nvSpPr>
        <p:spPr>
          <a:xfrm>
            <a:off x="4033790" y="882536"/>
            <a:ext cx="3295554" cy="48705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F62FE"/>
                </a:solidFill>
                <a:effectLst/>
                <a:uLnTx/>
                <a:uFillTx/>
                <a:latin typeface="IBM Plex Sans Light"/>
                <a:ea typeface="+mn-ea"/>
                <a:cs typeface="+mn-cs"/>
              </a:rPr>
              <a:t>Communication and collaboration</a:t>
            </a:r>
          </a:p>
        </p:txBody>
      </p:sp>
      <p:sp>
        <p:nvSpPr>
          <p:cNvPr id="26" name="TextBox 25">
            <a:extLst>
              <a:ext uri="{FF2B5EF4-FFF2-40B4-BE49-F238E27FC236}">
                <a16:creationId xmlns:a16="http://schemas.microsoft.com/office/drawing/2014/main" id="{0D754390-58EB-EADF-4240-80359DC347C5}"/>
              </a:ext>
            </a:extLst>
          </p:cNvPr>
          <p:cNvSpPr txBox="1"/>
          <p:nvPr/>
        </p:nvSpPr>
        <p:spPr>
          <a:xfrm>
            <a:off x="4228747" y="3196454"/>
            <a:ext cx="3295554" cy="48705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F62FE"/>
              </a:solidFill>
              <a:effectLst/>
              <a:uLnTx/>
              <a:uFillTx/>
              <a:latin typeface="IBM Plex Sans Light"/>
              <a:ea typeface="+mn-ea"/>
              <a:cs typeface="+mn-cs"/>
            </a:endParaRPr>
          </a:p>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F62FE"/>
                </a:solidFill>
                <a:effectLst/>
                <a:uLnTx/>
                <a:uFillTx/>
                <a:latin typeface="IBM Plex Sans Light"/>
                <a:ea typeface="+mn-ea"/>
                <a:cs typeface="+mn-cs"/>
              </a:rPr>
              <a:t>Sales Automation</a:t>
            </a:r>
          </a:p>
        </p:txBody>
      </p:sp>
      <p:sp>
        <p:nvSpPr>
          <p:cNvPr id="40" name="TextBox 39">
            <a:extLst>
              <a:ext uri="{FF2B5EF4-FFF2-40B4-BE49-F238E27FC236}">
                <a16:creationId xmlns:a16="http://schemas.microsoft.com/office/drawing/2014/main" id="{0EB999C3-2DD0-0525-18FA-6095D90B0BBC}"/>
              </a:ext>
            </a:extLst>
          </p:cNvPr>
          <p:cNvSpPr txBox="1"/>
          <p:nvPr/>
        </p:nvSpPr>
        <p:spPr>
          <a:xfrm>
            <a:off x="8219915" y="893883"/>
            <a:ext cx="3295554" cy="48705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F62FE"/>
                </a:solidFill>
                <a:effectLst/>
                <a:uLnTx/>
                <a:uFillTx/>
                <a:latin typeface="IBM Plex Sans Light"/>
                <a:ea typeface="+mn-ea"/>
                <a:cs typeface="+mn-cs"/>
              </a:rPr>
              <a:t>Customer Support</a:t>
            </a:r>
          </a:p>
        </p:txBody>
      </p:sp>
      <p:sp>
        <p:nvSpPr>
          <p:cNvPr id="46" name="TextBox 45">
            <a:extLst>
              <a:ext uri="{FF2B5EF4-FFF2-40B4-BE49-F238E27FC236}">
                <a16:creationId xmlns:a16="http://schemas.microsoft.com/office/drawing/2014/main" id="{95453B90-C260-C7DD-BB8B-70A007FC68DC}"/>
              </a:ext>
            </a:extLst>
          </p:cNvPr>
          <p:cNvSpPr txBox="1"/>
          <p:nvPr/>
        </p:nvSpPr>
        <p:spPr>
          <a:xfrm>
            <a:off x="150139" y="3148892"/>
            <a:ext cx="3526071" cy="30777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F62FE"/>
                </a:solidFill>
                <a:effectLst/>
                <a:uLnTx/>
                <a:uFillTx/>
                <a:latin typeface="IBM Plex Sans Light"/>
                <a:ea typeface="+mn-ea"/>
                <a:cs typeface="+mn-cs"/>
              </a:rPr>
              <a:t>Human capital management</a:t>
            </a:r>
          </a:p>
        </p:txBody>
      </p:sp>
      <p:sp>
        <p:nvSpPr>
          <p:cNvPr id="7" name="TextBox 6">
            <a:extLst>
              <a:ext uri="{FF2B5EF4-FFF2-40B4-BE49-F238E27FC236}">
                <a16:creationId xmlns:a16="http://schemas.microsoft.com/office/drawing/2014/main" id="{2A6F48FA-6F05-EE78-9A56-700A5989624B}"/>
              </a:ext>
            </a:extLst>
          </p:cNvPr>
          <p:cNvSpPr txBox="1"/>
          <p:nvPr/>
        </p:nvSpPr>
        <p:spPr>
          <a:xfrm>
            <a:off x="3386614" y="4501141"/>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376" marR="0" lvl="0" indent="-446660" algn="l" defTabSz="2437912" rtl="0" eaLnBrk="1" fontAlgn="auto" latinLnBrk="0" hangingPunct="1">
              <a:lnSpc>
                <a:spcPct val="100000"/>
              </a:lnSpc>
              <a:spcBef>
                <a:spcPts val="2899"/>
              </a:spcBef>
              <a:spcAft>
                <a:spcPts val="0"/>
              </a:spcAft>
              <a:buClrTx/>
              <a:buSzPct val="100000"/>
              <a:buFontTx/>
              <a:buChar char="–"/>
              <a:tabLst/>
              <a:defRPr/>
            </a:pPr>
            <a:endParaRPr kumimoji="0" lang="en-US" sz="18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grpSp>
        <p:nvGrpSpPr>
          <p:cNvPr id="35" name="Group 34">
            <a:extLst>
              <a:ext uri="{FF2B5EF4-FFF2-40B4-BE49-F238E27FC236}">
                <a16:creationId xmlns:a16="http://schemas.microsoft.com/office/drawing/2014/main" id="{1193B34D-FEC7-984A-E204-7B3ED9B525F7}"/>
              </a:ext>
            </a:extLst>
          </p:cNvPr>
          <p:cNvGrpSpPr/>
          <p:nvPr/>
        </p:nvGrpSpPr>
        <p:grpSpPr>
          <a:xfrm>
            <a:off x="231333" y="1174026"/>
            <a:ext cx="3687124" cy="1576695"/>
            <a:chOff x="545222" y="1350721"/>
            <a:chExt cx="3352367" cy="1433545"/>
          </a:xfrm>
        </p:grpSpPr>
        <p:pic>
          <p:nvPicPr>
            <p:cNvPr id="17" name="Picture 16" descr="A close-up of a logo&#10;&#10;Description automatically generated">
              <a:extLst>
                <a:ext uri="{FF2B5EF4-FFF2-40B4-BE49-F238E27FC236}">
                  <a16:creationId xmlns:a16="http://schemas.microsoft.com/office/drawing/2014/main" id="{4378D45E-BB95-9606-323D-779C61132B97}"/>
                </a:ext>
              </a:extLst>
            </p:cNvPr>
            <p:cNvPicPr>
              <a:picLocks noChangeAspect="1"/>
            </p:cNvPicPr>
            <p:nvPr/>
          </p:nvPicPr>
          <p:blipFill>
            <a:blip r:embed="rId3"/>
            <a:stretch>
              <a:fillRect/>
            </a:stretch>
          </p:blipFill>
          <p:spPr>
            <a:xfrm>
              <a:off x="1952233" y="1782606"/>
              <a:ext cx="1909513" cy="475749"/>
            </a:xfrm>
            <a:prstGeom prst="rect">
              <a:avLst/>
            </a:prstGeom>
          </p:spPr>
        </p:pic>
        <p:pic>
          <p:nvPicPr>
            <p:cNvPr id="19" name="Picture 18" descr="A close up of a sign&#10;&#10;Description automatically generated">
              <a:extLst>
                <a:ext uri="{FF2B5EF4-FFF2-40B4-BE49-F238E27FC236}">
                  <a16:creationId xmlns:a16="http://schemas.microsoft.com/office/drawing/2014/main" id="{2F83B8A4-595D-0996-5B66-867E1A0D091C}"/>
                </a:ext>
              </a:extLst>
            </p:cNvPr>
            <p:cNvPicPr>
              <a:picLocks noChangeAspect="1"/>
            </p:cNvPicPr>
            <p:nvPr/>
          </p:nvPicPr>
          <p:blipFill>
            <a:blip r:embed="rId4"/>
            <a:stretch>
              <a:fillRect/>
            </a:stretch>
          </p:blipFill>
          <p:spPr>
            <a:xfrm>
              <a:off x="1954485" y="1350721"/>
              <a:ext cx="1238251" cy="462715"/>
            </a:xfrm>
            <a:prstGeom prst="rect">
              <a:avLst/>
            </a:prstGeom>
          </p:spPr>
        </p:pic>
        <p:pic>
          <p:nvPicPr>
            <p:cNvPr id="28" name="Picture 27" descr="A close up of a box&#10;&#10;Description automatically generated">
              <a:extLst>
                <a:ext uri="{FF2B5EF4-FFF2-40B4-BE49-F238E27FC236}">
                  <a16:creationId xmlns:a16="http://schemas.microsoft.com/office/drawing/2014/main" id="{6AB222EB-8CF9-F559-149B-CD4679805977}"/>
                </a:ext>
              </a:extLst>
            </p:cNvPr>
            <p:cNvPicPr>
              <a:picLocks noChangeAspect="1"/>
            </p:cNvPicPr>
            <p:nvPr/>
          </p:nvPicPr>
          <p:blipFill>
            <a:blip r:embed="rId5"/>
            <a:stretch>
              <a:fillRect/>
            </a:stretch>
          </p:blipFill>
          <p:spPr>
            <a:xfrm>
              <a:off x="545222" y="1821709"/>
              <a:ext cx="1173078" cy="436646"/>
            </a:xfrm>
            <a:prstGeom prst="rect">
              <a:avLst/>
            </a:prstGeom>
          </p:spPr>
        </p:pic>
        <p:pic>
          <p:nvPicPr>
            <p:cNvPr id="33" name="Picture 32" descr="A black text on a white background&#10;&#10;Description automatically generated">
              <a:extLst>
                <a:ext uri="{FF2B5EF4-FFF2-40B4-BE49-F238E27FC236}">
                  <a16:creationId xmlns:a16="http://schemas.microsoft.com/office/drawing/2014/main" id="{B595065F-7098-2F28-72A9-9DCA691E6C2B}"/>
                </a:ext>
              </a:extLst>
            </p:cNvPr>
            <p:cNvPicPr>
              <a:picLocks noChangeAspect="1"/>
            </p:cNvPicPr>
            <p:nvPr/>
          </p:nvPicPr>
          <p:blipFill>
            <a:blip r:embed="rId6"/>
            <a:stretch>
              <a:fillRect/>
            </a:stretch>
          </p:blipFill>
          <p:spPr>
            <a:xfrm>
              <a:off x="571735" y="1408853"/>
              <a:ext cx="1270837" cy="436646"/>
            </a:xfrm>
            <a:prstGeom prst="rect">
              <a:avLst/>
            </a:prstGeom>
          </p:spPr>
        </p:pic>
        <p:pic>
          <p:nvPicPr>
            <p:cNvPr id="34" name="Picture 33" descr="A close up of a logo&#10;&#10;Description automatically generated">
              <a:extLst>
                <a:ext uri="{FF2B5EF4-FFF2-40B4-BE49-F238E27FC236}">
                  <a16:creationId xmlns:a16="http://schemas.microsoft.com/office/drawing/2014/main" id="{1EA3B163-EFF9-28A7-1248-CBA3B6CF29BD}"/>
                </a:ext>
              </a:extLst>
            </p:cNvPr>
            <p:cNvPicPr>
              <a:picLocks noChangeAspect="1"/>
            </p:cNvPicPr>
            <p:nvPr/>
          </p:nvPicPr>
          <p:blipFill>
            <a:blip r:embed="rId7"/>
            <a:stretch>
              <a:fillRect/>
            </a:stretch>
          </p:blipFill>
          <p:spPr>
            <a:xfrm>
              <a:off x="545222" y="2238544"/>
              <a:ext cx="1873642" cy="545722"/>
            </a:xfrm>
            <a:prstGeom prst="rect">
              <a:avLst/>
            </a:prstGeom>
          </p:spPr>
        </p:pic>
        <p:pic>
          <p:nvPicPr>
            <p:cNvPr id="14" name="Picture 13" descr="A black text on a white background&#10;&#10;Description automatically generated">
              <a:extLst>
                <a:ext uri="{FF2B5EF4-FFF2-40B4-BE49-F238E27FC236}">
                  <a16:creationId xmlns:a16="http://schemas.microsoft.com/office/drawing/2014/main" id="{71151787-C5D8-4BA3-6C30-CAF71DD0364A}"/>
                </a:ext>
              </a:extLst>
            </p:cNvPr>
            <p:cNvPicPr>
              <a:picLocks noChangeAspect="1"/>
            </p:cNvPicPr>
            <p:nvPr/>
          </p:nvPicPr>
          <p:blipFill>
            <a:blip r:embed="rId8"/>
            <a:stretch>
              <a:fillRect/>
            </a:stretch>
          </p:blipFill>
          <p:spPr>
            <a:xfrm>
              <a:off x="1916388" y="2185436"/>
              <a:ext cx="1981201" cy="475749"/>
            </a:xfrm>
            <a:prstGeom prst="rect">
              <a:avLst/>
            </a:prstGeom>
          </p:spPr>
        </p:pic>
      </p:grpSp>
      <p:grpSp>
        <p:nvGrpSpPr>
          <p:cNvPr id="129" name="Group 128">
            <a:extLst>
              <a:ext uri="{FF2B5EF4-FFF2-40B4-BE49-F238E27FC236}">
                <a16:creationId xmlns:a16="http://schemas.microsoft.com/office/drawing/2014/main" id="{BAB9F44A-3C50-38F0-F449-AE46EDB765DF}"/>
              </a:ext>
            </a:extLst>
          </p:cNvPr>
          <p:cNvGrpSpPr/>
          <p:nvPr/>
        </p:nvGrpSpPr>
        <p:grpSpPr>
          <a:xfrm>
            <a:off x="178909" y="3533165"/>
            <a:ext cx="3576502" cy="1788068"/>
            <a:chOff x="250421" y="3456632"/>
            <a:chExt cx="3251789" cy="1625728"/>
          </a:xfrm>
        </p:grpSpPr>
        <p:pic>
          <p:nvPicPr>
            <p:cNvPr id="39" name="Picture 38" descr="A close up of a sign&#10;&#10;Description automatically generated">
              <a:extLst>
                <a:ext uri="{FF2B5EF4-FFF2-40B4-BE49-F238E27FC236}">
                  <a16:creationId xmlns:a16="http://schemas.microsoft.com/office/drawing/2014/main" id="{E3EA28DB-5CA6-A53C-7A69-91EAE60A08B5}"/>
                </a:ext>
              </a:extLst>
            </p:cNvPr>
            <p:cNvPicPr>
              <a:picLocks noChangeAspect="1"/>
            </p:cNvPicPr>
            <p:nvPr/>
          </p:nvPicPr>
          <p:blipFill>
            <a:blip r:embed="rId9"/>
            <a:stretch>
              <a:fillRect/>
            </a:stretch>
          </p:blipFill>
          <p:spPr>
            <a:xfrm>
              <a:off x="1835197" y="4595246"/>
              <a:ext cx="1667013" cy="487114"/>
            </a:xfrm>
            <a:prstGeom prst="rect">
              <a:avLst/>
            </a:prstGeom>
          </p:spPr>
        </p:pic>
        <p:grpSp>
          <p:nvGrpSpPr>
            <p:cNvPr id="58" name="Group 57">
              <a:extLst>
                <a:ext uri="{FF2B5EF4-FFF2-40B4-BE49-F238E27FC236}">
                  <a16:creationId xmlns:a16="http://schemas.microsoft.com/office/drawing/2014/main" id="{5F76E39B-02C7-4962-F536-4A4FCF5EEEA2}"/>
                </a:ext>
              </a:extLst>
            </p:cNvPr>
            <p:cNvGrpSpPr/>
            <p:nvPr/>
          </p:nvGrpSpPr>
          <p:grpSpPr>
            <a:xfrm>
              <a:off x="250421" y="3456632"/>
              <a:ext cx="3204016" cy="1537991"/>
              <a:chOff x="8537430" y="4894836"/>
              <a:chExt cx="3204016" cy="1537991"/>
            </a:xfrm>
          </p:grpSpPr>
          <p:pic>
            <p:nvPicPr>
              <p:cNvPr id="38" name="Picture 37" descr="A black text on a white background&#10;&#10;Description automatically generated">
                <a:extLst>
                  <a:ext uri="{FF2B5EF4-FFF2-40B4-BE49-F238E27FC236}">
                    <a16:creationId xmlns:a16="http://schemas.microsoft.com/office/drawing/2014/main" id="{0F2C2E72-9635-09CB-9FEB-E0EFB3A1EF99}"/>
                  </a:ext>
                </a:extLst>
              </p:cNvPr>
              <p:cNvPicPr>
                <a:picLocks noChangeAspect="1"/>
              </p:cNvPicPr>
              <p:nvPr/>
            </p:nvPicPr>
            <p:blipFill>
              <a:blip r:embed="rId10"/>
              <a:stretch>
                <a:fillRect/>
              </a:stretch>
            </p:blipFill>
            <p:spPr>
              <a:xfrm>
                <a:off x="8551767" y="6000328"/>
                <a:ext cx="1261950" cy="432499"/>
              </a:xfrm>
              <a:prstGeom prst="rect">
                <a:avLst/>
              </a:prstGeom>
            </p:spPr>
          </p:pic>
          <p:grpSp>
            <p:nvGrpSpPr>
              <p:cNvPr id="57" name="Group 56">
                <a:extLst>
                  <a:ext uri="{FF2B5EF4-FFF2-40B4-BE49-F238E27FC236}">
                    <a16:creationId xmlns:a16="http://schemas.microsoft.com/office/drawing/2014/main" id="{563ED416-8D30-4956-59A4-8826F46CDFA1}"/>
                  </a:ext>
                </a:extLst>
              </p:cNvPr>
              <p:cNvGrpSpPr/>
              <p:nvPr/>
            </p:nvGrpSpPr>
            <p:grpSpPr>
              <a:xfrm>
                <a:off x="8537430" y="4894836"/>
                <a:ext cx="3204016" cy="1167468"/>
                <a:chOff x="8629397" y="4924325"/>
                <a:chExt cx="3204016" cy="1167468"/>
              </a:xfrm>
            </p:grpSpPr>
            <p:pic>
              <p:nvPicPr>
                <p:cNvPr id="49" name="Picture 48" descr="A close up of a logo&#10;&#10;Description automatically generated">
                  <a:extLst>
                    <a:ext uri="{FF2B5EF4-FFF2-40B4-BE49-F238E27FC236}">
                      <a16:creationId xmlns:a16="http://schemas.microsoft.com/office/drawing/2014/main" id="{090EBB9A-EBAF-4027-4369-637C18C05AA4}"/>
                    </a:ext>
                  </a:extLst>
                </p:cNvPr>
                <p:cNvPicPr>
                  <a:picLocks noChangeAspect="1"/>
                </p:cNvPicPr>
                <p:nvPr/>
              </p:nvPicPr>
              <p:blipFill>
                <a:blip r:embed="rId11"/>
                <a:stretch>
                  <a:fillRect/>
                </a:stretch>
              </p:blipFill>
              <p:spPr>
                <a:xfrm>
                  <a:off x="10195695" y="4924325"/>
                  <a:ext cx="1369245" cy="394285"/>
                </a:xfrm>
                <a:prstGeom prst="rect">
                  <a:avLst/>
                </a:prstGeom>
              </p:spPr>
            </p:pic>
            <p:pic>
              <p:nvPicPr>
                <p:cNvPr id="51" name="Picture 50" descr="A close up of a sign&#10;&#10;Description automatically generated">
                  <a:extLst>
                    <a:ext uri="{FF2B5EF4-FFF2-40B4-BE49-F238E27FC236}">
                      <a16:creationId xmlns:a16="http://schemas.microsoft.com/office/drawing/2014/main" id="{962DBFA9-CBCD-B382-FD8D-B109A7238C3A}"/>
                    </a:ext>
                  </a:extLst>
                </p:cNvPr>
                <p:cNvPicPr>
                  <a:picLocks noChangeAspect="1"/>
                </p:cNvPicPr>
                <p:nvPr/>
              </p:nvPicPr>
              <p:blipFill>
                <a:blip r:embed="rId12"/>
                <a:stretch>
                  <a:fillRect/>
                </a:stretch>
              </p:blipFill>
              <p:spPr>
                <a:xfrm>
                  <a:off x="8643734" y="5699319"/>
                  <a:ext cx="1763530" cy="387116"/>
                </a:xfrm>
                <a:prstGeom prst="rect">
                  <a:avLst/>
                </a:prstGeom>
              </p:spPr>
            </p:pic>
            <p:pic>
              <p:nvPicPr>
                <p:cNvPr id="53" name="Picture 52" descr="A close-up of a text&#10;&#10;Description automatically generated">
                  <a:extLst>
                    <a:ext uri="{FF2B5EF4-FFF2-40B4-BE49-F238E27FC236}">
                      <a16:creationId xmlns:a16="http://schemas.microsoft.com/office/drawing/2014/main" id="{6472F769-05AD-50A5-C8DD-67906DFCCB5F}"/>
                    </a:ext>
                  </a:extLst>
                </p:cNvPr>
                <p:cNvPicPr>
                  <a:picLocks noChangeAspect="1"/>
                </p:cNvPicPr>
                <p:nvPr/>
              </p:nvPicPr>
              <p:blipFill>
                <a:blip r:embed="rId13"/>
                <a:stretch>
                  <a:fillRect/>
                </a:stretch>
              </p:blipFill>
              <p:spPr>
                <a:xfrm>
                  <a:off x="8629397" y="5374204"/>
                  <a:ext cx="1777867" cy="379947"/>
                </a:xfrm>
                <a:prstGeom prst="rect">
                  <a:avLst/>
                </a:prstGeom>
              </p:spPr>
            </p:pic>
            <p:pic>
              <p:nvPicPr>
                <p:cNvPr id="55" name="Picture 54" descr="A close up of a sign&#10;&#10;Description automatically generated">
                  <a:extLst>
                    <a:ext uri="{FF2B5EF4-FFF2-40B4-BE49-F238E27FC236}">
                      <a16:creationId xmlns:a16="http://schemas.microsoft.com/office/drawing/2014/main" id="{763069AA-0298-CA4B-BCF2-160777F5EC2A}"/>
                    </a:ext>
                  </a:extLst>
                </p:cNvPr>
                <p:cNvPicPr>
                  <a:picLocks noChangeAspect="1"/>
                </p:cNvPicPr>
                <p:nvPr/>
              </p:nvPicPr>
              <p:blipFill>
                <a:blip r:embed="rId14"/>
                <a:stretch>
                  <a:fillRect/>
                </a:stretch>
              </p:blipFill>
              <p:spPr>
                <a:xfrm>
                  <a:off x="8629397" y="4924942"/>
                  <a:ext cx="1218698" cy="437298"/>
                </a:xfrm>
                <a:prstGeom prst="rect">
                  <a:avLst/>
                </a:prstGeom>
              </p:spPr>
            </p:pic>
            <p:pic>
              <p:nvPicPr>
                <p:cNvPr id="47" name="Picture 46" descr="A black text on a white background&#10;&#10;Description automatically generated">
                  <a:extLst>
                    <a:ext uri="{FF2B5EF4-FFF2-40B4-BE49-F238E27FC236}">
                      <a16:creationId xmlns:a16="http://schemas.microsoft.com/office/drawing/2014/main" id="{E4CB60B1-CE39-1389-6AB3-4ED96F363E09}"/>
                    </a:ext>
                  </a:extLst>
                </p:cNvPr>
                <p:cNvPicPr>
                  <a:picLocks noChangeAspect="1"/>
                </p:cNvPicPr>
                <p:nvPr/>
              </p:nvPicPr>
              <p:blipFill>
                <a:blip r:embed="rId15"/>
                <a:stretch>
                  <a:fillRect/>
                </a:stretch>
              </p:blipFill>
              <p:spPr>
                <a:xfrm>
                  <a:off x="10213260" y="5338857"/>
                  <a:ext cx="1620153" cy="365609"/>
                </a:xfrm>
                <a:prstGeom prst="rect">
                  <a:avLst/>
                </a:prstGeom>
              </p:spPr>
            </p:pic>
            <p:pic>
              <p:nvPicPr>
                <p:cNvPr id="43" name="Picture 42" descr="A close up of a sign&#10;&#10;Description automatically generated">
                  <a:extLst>
                    <a:ext uri="{FF2B5EF4-FFF2-40B4-BE49-F238E27FC236}">
                      <a16:creationId xmlns:a16="http://schemas.microsoft.com/office/drawing/2014/main" id="{614F0E10-A662-3774-FB4D-90F82E0E07FE}"/>
                    </a:ext>
                  </a:extLst>
                </p:cNvPr>
                <p:cNvPicPr>
                  <a:picLocks noChangeAspect="1"/>
                </p:cNvPicPr>
                <p:nvPr/>
              </p:nvPicPr>
              <p:blipFill>
                <a:blip r:embed="rId16"/>
                <a:stretch>
                  <a:fillRect/>
                </a:stretch>
              </p:blipFill>
              <p:spPr>
                <a:xfrm>
                  <a:off x="10213260" y="5682992"/>
                  <a:ext cx="1155306" cy="408801"/>
                </a:xfrm>
                <a:prstGeom prst="rect">
                  <a:avLst/>
                </a:prstGeom>
              </p:spPr>
            </p:pic>
          </p:grpSp>
        </p:grpSp>
      </p:grpSp>
      <p:grpSp>
        <p:nvGrpSpPr>
          <p:cNvPr id="71" name="Group 70">
            <a:extLst>
              <a:ext uri="{FF2B5EF4-FFF2-40B4-BE49-F238E27FC236}">
                <a16:creationId xmlns:a16="http://schemas.microsoft.com/office/drawing/2014/main" id="{74BB45D4-332F-EA54-7C7C-FE51A834C373}"/>
              </a:ext>
            </a:extLst>
          </p:cNvPr>
          <p:cNvGrpSpPr/>
          <p:nvPr/>
        </p:nvGrpSpPr>
        <p:grpSpPr>
          <a:xfrm>
            <a:off x="8175027" y="5000538"/>
            <a:ext cx="2961658" cy="1312540"/>
            <a:chOff x="266669" y="5029998"/>
            <a:chExt cx="2692767" cy="1193374"/>
          </a:xfrm>
        </p:grpSpPr>
        <p:pic>
          <p:nvPicPr>
            <p:cNvPr id="66" name="Picture 65" descr="A close up of a sign&#10;&#10;Description automatically generated">
              <a:extLst>
                <a:ext uri="{FF2B5EF4-FFF2-40B4-BE49-F238E27FC236}">
                  <a16:creationId xmlns:a16="http://schemas.microsoft.com/office/drawing/2014/main" id="{0B887164-CA55-7A00-D246-7776A1735DAE}"/>
                </a:ext>
              </a:extLst>
            </p:cNvPr>
            <p:cNvPicPr>
              <a:picLocks noChangeAspect="1"/>
            </p:cNvPicPr>
            <p:nvPr/>
          </p:nvPicPr>
          <p:blipFill>
            <a:blip r:embed="rId17"/>
            <a:stretch>
              <a:fillRect/>
            </a:stretch>
          </p:blipFill>
          <p:spPr>
            <a:xfrm>
              <a:off x="292924" y="5423098"/>
              <a:ext cx="1476777" cy="387116"/>
            </a:xfrm>
            <a:prstGeom prst="rect">
              <a:avLst/>
            </a:prstGeom>
          </p:spPr>
        </p:pic>
        <p:pic>
          <p:nvPicPr>
            <p:cNvPr id="70" name="Picture 69" descr="A black text on a white background&#10;&#10;Description automatically generated">
              <a:extLst>
                <a:ext uri="{FF2B5EF4-FFF2-40B4-BE49-F238E27FC236}">
                  <a16:creationId xmlns:a16="http://schemas.microsoft.com/office/drawing/2014/main" id="{025C7136-97C2-A0B6-DA63-F30081F094B1}"/>
                </a:ext>
              </a:extLst>
            </p:cNvPr>
            <p:cNvPicPr>
              <a:picLocks noChangeAspect="1"/>
            </p:cNvPicPr>
            <p:nvPr/>
          </p:nvPicPr>
          <p:blipFill>
            <a:blip r:embed="rId18"/>
            <a:stretch>
              <a:fillRect/>
            </a:stretch>
          </p:blipFill>
          <p:spPr>
            <a:xfrm>
              <a:off x="292924" y="5082058"/>
              <a:ext cx="1469607" cy="408623"/>
            </a:xfrm>
            <a:prstGeom prst="rect">
              <a:avLst/>
            </a:prstGeom>
          </p:spPr>
        </p:pic>
        <p:pic>
          <p:nvPicPr>
            <p:cNvPr id="62" name="Picture 61" descr="A close up of a sign&#10;&#10;Description automatically generated">
              <a:extLst>
                <a:ext uri="{FF2B5EF4-FFF2-40B4-BE49-F238E27FC236}">
                  <a16:creationId xmlns:a16="http://schemas.microsoft.com/office/drawing/2014/main" id="{11353FE9-E9B4-E893-55F8-7D9676AF4E95}"/>
                </a:ext>
              </a:extLst>
            </p:cNvPr>
            <p:cNvPicPr>
              <a:picLocks noChangeAspect="1"/>
            </p:cNvPicPr>
            <p:nvPr/>
          </p:nvPicPr>
          <p:blipFill>
            <a:blip r:embed="rId19"/>
            <a:stretch>
              <a:fillRect/>
            </a:stretch>
          </p:blipFill>
          <p:spPr>
            <a:xfrm>
              <a:off x="1673430" y="5029998"/>
              <a:ext cx="1197194" cy="394285"/>
            </a:xfrm>
            <a:prstGeom prst="rect">
              <a:avLst/>
            </a:prstGeom>
          </p:spPr>
        </p:pic>
        <p:pic>
          <p:nvPicPr>
            <p:cNvPr id="60" name="Picture 59" descr="A black text on a white background&#10;&#10;Description automatically generated">
              <a:extLst>
                <a:ext uri="{FF2B5EF4-FFF2-40B4-BE49-F238E27FC236}">
                  <a16:creationId xmlns:a16="http://schemas.microsoft.com/office/drawing/2014/main" id="{FDCC186B-3680-1F42-9424-FB4BD85E11DA}"/>
                </a:ext>
              </a:extLst>
            </p:cNvPr>
            <p:cNvPicPr>
              <a:picLocks noChangeAspect="1"/>
            </p:cNvPicPr>
            <p:nvPr/>
          </p:nvPicPr>
          <p:blipFill>
            <a:blip r:embed="rId20"/>
            <a:stretch>
              <a:fillRect/>
            </a:stretch>
          </p:blipFill>
          <p:spPr>
            <a:xfrm>
              <a:off x="266669" y="5778905"/>
              <a:ext cx="1276050" cy="444467"/>
            </a:xfrm>
            <a:prstGeom prst="rect">
              <a:avLst/>
            </a:prstGeom>
          </p:spPr>
        </p:pic>
        <p:pic>
          <p:nvPicPr>
            <p:cNvPr id="64" name="Picture 63" descr="A close up of a sign&#10;&#10;Description automatically generated">
              <a:extLst>
                <a:ext uri="{FF2B5EF4-FFF2-40B4-BE49-F238E27FC236}">
                  <a16:creationId xmlns:a16="http://schemas.microsoft.com/office/drawing/2014/main" id="{87CD6788-6345-4C41-F5EE-0A251BA17D2B}"/>
                </a:ext>
              </a:extLst>
            </p:cNvPr>
            <p:cNvPicPr>
              <a:picLocks noChangeAspect="1"/>
            </p:cNvPicPr>
            <p:nvPr/>
          </p:nvPicPr>
          <p:blipFill>
            <a:blip r:embed="rId21"/>
            <a:stretch>
              <a:fillRect/>
            </a:stretch>
          </p:blipFill>
          <p:spPr>
            <a:xfrm>
              <a:off x="1672241" y="5406692"/>
              <a:ext cx="1010804" cy="408623"/>
            </a:xfrm>
            <a:prstGeom prst="rect">
              <a:avLst/>
            </a:prstGeom>
          </p:spPr>
        </p:pic>
        <p:pic>
          <p:nvPicPr>
            <p:cNvPr id="68" name="Picture 67" descr="A black text on a white background&#10;&#10;Description automatically generated">
              <a:extLst>
                <a:ext uri="{FF2B5EF4-FFF2-40B4-BE49-F238E27FC236}">
                  <a16:creationId xmlns:a16="http://schemas.microsoft.com/office/drawing/2014/main" id="{C665B2D8-1445-CDC3-B733-D5CB1C7A63FF}"/>
                </a:ext>
              </a:extLst>
            </p:cNvPr>
            <p:cNvPicPr>
              <a:picLocks noChangeAspect="1"/>
            </p:cNvPicPr>
            <p:nvPr/>
          </p:nvPicPr>
          <p:blipFill>
            <a:blip r:embed="rId22"/>
            <a:stretch>
              <a:fillRect/>
            </a:stretch>
          </p:blipFill>
          <p:spPr>
            <a:xfrm>
              <a:off x="1669050" y="5809053"/>
              <a:ext cx="1290386" cy="408623"/>
            </a:xfrm>
            <a:prstGeom prst="rect">
              <a:avLst/>
            </a:prstGeom>
          </p:spPr>
        </p:pic>
      </p:grpSp>
      <p:grpSp>
        <p:nvGrpSpPr>
          <p:cNvPr id="88" name="Group 87">
            <a:extLst>
              <a:ext uri="{FF2B5EF4-FFF2-40B4-BE49-F238E27FC236}">
                <a16:creationId xmlns:a16="http://schemas.microsoft.com/office/drawing/2014/main" id="{54479990-B1AA-64F4-344E-065A86A6E760}"/>
              </a:ext>
            </a:extLst>
          </p:cNvPr>
          <p:cNvGrpSpPr/>
          <p:nvPr/>
        </p:nvGrpSpPr>
        <p:grpSpPr>
          <a:xfrm>
            <a:off x="3964359" y="1141879"/>
            <a:ext cx="3426331" cy="1865636"/>
            <a:chOff x="4008003" y="1135828"/>
            <a:chExt cx="3115252" cy="1696253"/>
          </a:xfrm>
        </p:grpSpPr>
        <p:pic>
          <p:nvPicPr>
            <p:cNvPr id="73" name="Picture 72" descr="A close up of a logo&#10;&#10;Description automatically generated">
              <a:extLst>
                <a:ext uri="{FF2B5EF4-FFF2-40B4-BE49-F238E27FC236}">
                  <a16:creationId xmlns:a16="http://schemas.microsoft.com/office/drawing/2014/main" id="{CD26816B-C643-17E5-DCEB-EAAD6E9EC5BA}"/>
                </a:ext>
              </a:extLst>
            </p:cNvPr>
            <p:cNvPicPr>
              <a:picLocks noChangeAspect="1"/>
            </p:cNvPicPr>
            <p:nvPr/>
          </p:nvPicPr>
          <p:blipFill>
            <a:blip r:embed="rId23"/>
            <a:stretch>
              <a:fillRect/>
            </a:stretch>
          </p:blipFill>
          <p:spPr>
            <a:xfrm>
              <a:off x="4033400" y="2365029"/>
              <a:ext cx="1648112" cy="441599"/>
            </a:xfrm>
            <a:prstGeom prst="rect">
              <a:avLst/>
            </a:prstGeom>
          </p:spPr>
        </p:pic>
        <p:pic>
          <p:nvPicPr>
            <p:cNvPr id="79" name="Picture 78" descr="A close up of a sign&#10;&#10;Description automatically generated">
              <a:extLst>
                <a:ext uri="{FF2B5EF4-FFF2-40B4-BE49-F238E27FC236}">
                  <a16:creationId xmlns:a16="http://schemas.microsoft.com/office/drawing/2014/main" id="{8D5AE49F-185F-BFBF-297C-1550502ED7DA}"/>
                </a:ext>
              </a:extLst>
            </p:cNvPr>
            <p:cNvPicPr>
              <a:picLocks noChangeAspect="1"/>
            </p:cNvPicPr>
            <p:nvPr/>
          </p:nvPicPr>
          <p:blipFill>
            <a:blip r:embed="rId24"/>
            <a:stretch>
              <a:fillRect/>
            </a:stretch>
          </p:blipFill>
          <p:spPr>
            <a:xfrm>
              <a:off x="5699073" y="1539910"/>
              <a:ext cx="1040914" cy="465256"/>
            </a:xfrm>
            <a:prstGeom prst="rect">
              <a:avLst/>
            </a:prstGeom>
          </p:spPr>
        </p:pic>
        <p:pic>
          <p:nvPicPr>
            <p:cNvPr id="81" name="Picture 80" descr="A white background with black text&#10;&#10;Description automatically generated">
              <a:extLst>
                <a:ext uri="{FF2B5EF4-FFF2-40B4-BE49-F238E27FC236}">
                  <a16:creationId xmlns:a16="http://schemas.microsoft.com/office/drawing/2014/main" id="{E3D61475-8CE1-41B2-A57C-E4AF269F0E9D}"/>
                </a:ext>
              </a:extLst>
            </p:cNvPr>
            <p:cNvPicPr>
              <a:picLocks noChangeAspect="1"/>
            </p:cNvPicPr>
            <p:nvPr/>
          </p:nvPicPr>
          <p:blipFill>
            <a:blip r:embed="rId25"/>
            <a:stretch>
              <a:fillRect/>
            </a:stretch>
          </p:blipFill>
          <p:spPr>
            <a:xfrm>
              <a:off x="5765045" y="1942836"/>
              <a:ext cx="1088227" cy="481028"/>
            </a:xfrm>
            <a:prstGeom prst="rect">
              <a:avLst/>
            </a:prstGeom>
          </p:spPr>
        </p:pic>
        <p:pic>
          <p:nvPicPr>
            <p:cNvPr id="83" name="Picture 82" descr="A black text on a white background&#10;&#10;Description automatically generated">
              <a:extLst>
                <a:ext uri="{FF2B5EF4-FFF2-40B4-BE49-F238E27FC236}">
                  <a16:creationId xmlns:a16="http://schemas.microsoft.com/office/drawing/2014/main" id="{E638DE3A-C462-A832-35E8-BE24CF17511B}"/>
                </a:ext>
              </a:extLst>
            </p:cNvPr>
            <p:cNvPicPr>
              <a:picLocks noChangeAspect="1"/>
            </p:cNvPicPr>
            <p:nvPr/>
          </p:nvPicPr>
          <p:blipFill>
            <a:blip r:embed="rId26"/>
            <a:stretch>
              <a:fillRect/>
            </a:stretch>
          </p:blipFill>
          <p:spPr>
            <a:xfrm>
              <a:off x="4016696" y="1579047"/>
              <a:ext cx="1269598" cy="473142"/>
            </a:xfrm>
            <a:prstGeom prst="rect">
              <a:avLst/>
            </a:prstGeom>
          </p:spPr>
        </p:pic>
        <p:pic>
          <p:nvPicPr>
            <p:cNvPr id="85" name="Picture 84" descr="A close up of a sign&#10;&#10;Description automatically generated">
              <a:extLst>
                <a:ext uri="{FF2B5EF4-FFF2-40B4-BE49-F238E27FC236}">
                  <a16:creationId xmlns:a16="http://schemas.microsoft.com/office/drawing/2014/main" id="{B0AB8139-0E06-7603-67C3-AC6F3D59446B}"/>
                </a:ext>
              </a:extLst>
            </p:cNvPr>
            <p:cNvPicPr>
              <a:picLocks noChangeAspect="1"/>
            </p:cNvPicPr>
            <p:nvPr/>
          </p:nvPicPr>
          <p:blipFill>
            <a:blip r:embed="rId27"/>
            <a:stretch>
              <a:fillRect/>
            </a:stretch>
          </p:blipFill>
          <p:spPr>
            <a:xfrm>
              <a:off x="4008003" y="1169722"/>
              <a:ext cx="1111884" cy="473142"/>
            </a:xfrm>
            <a:prstGeom prst="rect">
              <a:avLst/>
            </a:prstGeom>
          </p:spPr>
        </p:pic>
        <p:pic>
          <p:nvPicPr>
            <p:cNvPr id="77" name="Picture 76" descr="A close up of a logo&#10;&#10;Description automatically generated">
              <a:extLst>
                <a:ext uri="{FF2B5EF4-FFF2-40B4-BE49-F238E27FC236}">
                  <a16:creationId xmlns:a16="http://schemas.microsoft.com/office/drawing/2014/main" id="{52003460-CBCB-0B68-9FE8-727C2D54A958}"/>
                </a:ext>
              </a:extLst>
            </p:cNvPr>
            <p:cNvPicPr>
              <a:picLocks noChangeAspect="1"/>
            </p:cNvPicPr>
            <p:nvPr/>
          </p:nvPicPr>
          <p:blipFill>
            <a:blip r:embed="rId28"/>
            <a:stretch>
              <a:fillRect/>
            </a:stretch>
          </p:blipFill>
          <p:spPr>
            <a:xfrm>
              <a:off x="5722405" y="2398367"/>
              <a:ext cx="969941" cy="433714"/>
            </a:xfrm>
            <a:prstGeom prst="rect">
              <a:avLst/>
            </a:prstGeom>
          </p:spPr>
        </p:pic>
        <p:pic>
          <p:nvPicPr>
            <p:cNvPr id="75" name="Picture 74" descr="A black text on a white background&#10;&#10;Description automatically generated">
              <a:extLst>
                <a:ext uri="{FF2B5EF4-FFF2-40B4-BE49-F238E27FC236}">
                  <a16:creationId xmlns:a16="http://schemas.microsoft.com/office/drawing/2014/main" id="{A73BEA14-87BE-E750-9436-2809B8A057DD}"/>
                </a:ext>
              </a:extLst>
            </p:cNvPr>
            <p:cNvPicPr>
              <a:picLocks noChangeAspect="1"/>
            </p:cNvPicPr>
            <p:nvPr/>
          </p:nvPicPr>
          <p:blipFill>
            <a:blip r:embed="rId29"/>
            <a:stretch>
              <a:fillRect/>
            </a:stretch>
          </p:blipFill>
          <p:spPr>
            <a:xfrm>
              <a:off x="4033574" y="1983122"/>
              <a:ext cx="1435197" cy="402170"/>
            </a:xfrm>
            <a:prstGeom prst="rect">
              <a:avLst/>
            </a:prstGeom>
          </p:spPr>
        </p:pic>
        <p:pic>
          <p:nvPicPr>
            <p:cNvPr id="87" name="Picture 86" descr="A close-up of a sign&#10;&#10;Description automatically generated">
              <a:extLst>
                <a:ext uri="{FF2B5EF4-FFF2-40B4-BE49-F238E27FC236}">
                  <a16:creationId xmlns:a16="http://schemas.microsoft.com/office/drawing/2014/main" id="{4AB26F20-984F-19C0-0A4E-38DB6ECDF085}"/>
                </a:ext>
              </a:extLst>
            </p:cNvPr>
            <p:cNvPicPr>
              <a:picLocks noChangeAspect="1"/>
            </p:cNvPicPr>
            <p:nvPr/>
          </p:nvPicPr>
          <p:blipFill>
            <a:blip r:embed="rId30"/>
            <a:stretch>
              <a:fillRect/>
            </a:stretch>
          </p:blipFill>
          <p:spPr>
            <a:xfrm>
              <a:off x="5700375" y="1135828"/>
              <a:ext cx="1422880" cy="461679"/>
            </a:xfrm>
            <a:prstGeom prst="rect">
              <a:avLst/>
            </a:prstGeom>
          </p:spPr>
        </p:pic>
      </p:grpSp>
      <p:grpSp>
        <p:nvGrpSpPr>
          <p:cNvPr id="106" name="Group 105">
            <a:extLst>
              <a:ext uri="{FF2B5EF4-FFF2-40B4-BE49-F238E27FC236}">
                <a16:creationId xmlns:a16="http://schemas.microsoft.com/office/drawing/2014/main" id="{1F98F6E6-4D96-810E-43E5-FE7DD6FE2B45}"/>
              </a:ext>
            </a:extLst>
          </p:cNvPr>
          <p:cNvGrpSpPr/>
          <p:nvPr/>
        </p:nvGrpSpPr>
        <p:grpSpPr>
          <a:xfrm>
            <a:off x="4180879" y="3720719"/>
            <a:ext cx="3265583" cy="1853415"/>
            <a:chOff x="3904385" y="3366963"/>
            <a:chExt cx="2969098" cy="1685142"/>
          </a:xfrm>
        </p:grpSpPr>
        <p:grpSp>
          <p:nvGrpSpPr>
            <p:cNvPr id="105" name="Group 104">
              <a:extLst>
                <a:ext uri="{FF2B5EF4-FFF2-40B4-BE49-F238E27FC236}">
                  <a16:creationId xmlns:a16="http://schemas.microsoft.com/office/drawing/2014/main" id="{E9F1DAE9-C7D4-A0F3-0D8B-2178A8980DEB}"/>
                </a:ext>
              </a:extLst>
            </p:cNvPr>
            <p:cNvGrpSpPr/>
            <p:nvPr/>
          </p:nvGrpSpPr>
          <p:grpSpPr>
            <a:xfrm>
              <a:off x="3904385" y="3366963"/>
              <a:ext cx="2969098" cy="1568237"/>
              <a:chOff x="3914571" y="3346402"/>
              <a:chExt cx="2969098" cy="1568237"/>
            </a:xfrm>
          </p:grpSpPr>
          <p:pic>
            <p:nvPicPr>
              <p:cNvPr id="100" name="Picture 99" descr="A close-up of a sign&#10;&#10;Description automatically generated">
                <a:extLst>
                  <a:ext uri="{FF2B5EF4-FFF2-40B4-BE49-F238E27FC236}">
                    <a16:creationId xmlns:a16="http://schemas.microsoft.com/office/drawing/2014/main" id="{306D40E1-53B5-4545-69A5-1610D2D3A184}"/>
                  </a:ext>
                </a:extLst>
              </p:cNvPr>
              <p:cNvPicPr>
                <a:picLocks noChangeAspect="1"/>
              </p:cNvPicPr>
              <p:nvPr/>
            </p:nvPicPr>
            <p:blipFill>
              <a:blip r:embed="rId31"/>
              <a:stretch>
                <a:fillRect/>
              </a:stretch>
            </p:blipFill>
            <p:spPr>
              <a:xfrm>
                <a:off x="3914571" y="4130547"/>
                <a:ext cx="1939653" cy="432815"/>
              </a:xfrm>
              <a:prstGeom prst="rect">
                <a:avLst/>
              </a:prstGeom>
            </p:spPr>
          </p:pic>
          <p:pic>
            <p:nvPicPr>
              <p:cNvPr id="92" name="Picture 91" descr="A close up of a logo&#10;&#10;Description automatically generated">
                <a:extLst>
                  <a:ext uri="{FF2B5EF4-FFF2-40B4-BE49-F238E27FC236}">
                    <a16:creationId xmlns:a16="http://schemas.microsoft.com/office/drawing/2014/main" id="{554BA5BF-0FF6-E60D-CBE5-943323DFF6DD}"/>
                  </a:ext>
                </a:extLst>
              </p:cNvPr>
              <p:cNvPicPr>
                <a:picLocks noChangeAspect="1"/>
              </p:cNvPicPr>
              <p:nvPr/>
            </p:nvPicPr>
            <p:blipFill>
              <a:blip r:embed="rId32"/>
              <a:stretch>
                <a:fillRect/>
              </a:stretch>
            </p:blipFill>
            <p:spPr>
              <a:xfrm>
                <a:off x="5621956" y="4102298"/>
                <a:ext cx="1261713" cy="408623"/>
              </a:xfrm>
              <a:prstGeom prst="rect">
                <a:avLst/>
              </a:prstGeom>
            </p:spPr>
          </p:pic>
          <p:pic>
            <p:nvPicPr>
              <p:cNvPr id="94" name="Picture 93" descr="A close-up of a sign&#10;&#10;Description automatically generated">
                <a:extLst>
                  <a:ext uri="{FF2B5EF4-FFF2-40B4-BE49-F238E27FC236}">
                    <a16:creationId xmlns:a16="http://schemas.microsoft.com/office/drawing/2014/main" id="{10A09B5B-1C04-6425-65E7-55C18C476593}"/>
                  </a:ext>
                </a:extLst>
              </p:cNvPr>
              <p:cNvPicPr>
                <a:picLocks noChangeAspect="1"/>
              </p:cNvPicPr>
              <p:nvPr/>
            </p:nvPicPr>
            <p:blipFill>
              <a:blip r:embed="rId33"/>
              <a:stretch>
                <a:fillRect/>
              </a:stretch>
            </p:blipFill>
            <p:spPr>
              <a:xfrm>
                <a:off x="5649209" y="3730992"/>
                <a:ext cx="1161349" cy="415791"/>
              </a:xfrm>
              <a:prstGeom prst="rect">
                <a:avLst/>
              </a:prstGeom>
            </p:spPr>
          </p:pic>
          <p:pic>
            <p:nvPicPr>
              <p:cNvPr id="98" name="Picture 97" descr="A close up of a sign&#10;&#10;Description automatically generated">
                <a:extLst>
                  <a:ext uri="{FF2B5EF4-FFF2-40B4-BE49-F238E27FC236}">
                    <a16:creationId xmlns:a16="http://schemas.microsoft.com/office/drawing/2014/main" id="{E9698809-7F4E-B78F-118A-C6E15476252C}"/>
                  </a:ext>
                </a:extLst>
              </p:cNvPr>
              <p:cNvPicPr>
                <a:picLocks noChangeAspect="1"/>
              </p:cNvPicPr>
              <p:nvPr/>
            </p:nvPicPr>
            <p:blipFill>
              <a:blip r:embed="rId34"/>
              <a:stretch>
                <a:fillRect/>
              </a:stretch>
            </p:blipFill>
            <p:spPr>
              <a:xfrm>
                <a:off x="3947314" y="3393386"/>
                <a:ext cx="1598646" cy="387116"/>
              </a:xfrm>
              <a:prstGeom prst="rect">
                <a:avLst/>
              </a:prstGeom>
            </p:spPr>
          </p:pic>
          <p:pic>
            <p:nvPicPr>
              <p:cNvPr id="102" name="Picture 101" descr="A close up of a button&#10;&#10;Description automatically generated">
                <a:extLst>
                  <a:ext uri="{FF2B5EF4-FFF2-40B4-BE49-F238E27FC236}">
                    <a16:creationId xmlns:a16="http://schemas.microsoft.com/office/drawing/2014/main" id="{DCFC893F-0730-55F5-FC1E-B7407E0EE116}"/>
                  </a:ext>
                </a:extLst>
              </p:cNvPr>
              <p:cNvPicPr>
                <a:picLocks noChangeAspect="1"/>
              </p:cNvPicPr>
              <p:nvPr/>
            </p:nvPicPr>
            <p:blipFill rotWithShape="1">
              <a:blip r:embed="rId35"/>
              <a:srcRect b="14285"/>
              <a:stretch/>
            </p:blipFill>
            <p:spPr>
              <a:xfrm>
                <a:off x="3942298" y="3737495"/>
                <a:ext cx="1159815" cy="404065"/>
              </a:xfrm>
              <a:prstGeom prst="rect">
                <a:avLst/>
              </a:prstGeom>
            </p:spPr>
          </p:pic>
          <p:pic>
            <p:nvPicPr>
              <p:cNvPr id="104" name="Picture 103" descr="A close-up of a sign&#10;&#10;Description automatically generated">
                <a:extLst>
                  <a:ext uri="{FF2B5EF4-FFF2-40B4-BE49-F238E27FC236}">
                    <a16:creationId xmlns:a16="http://schemas.microsoft.com/office/drawing/2014/main" id="{44B8C1EF-8E5B-E45B-48A0-98D7C83C3459}"/>
                  </a:ext>
                </a:extLst>
              </p:cNvPr>
              <p:cNvPicPr>
                <a:picLocks noChangeAspect="1"/>
              </p:cNvPicPr>
              <p:nvPr/>
            </p:nvPicPr>
            <p:blipFill>
              <a:blip r:embed="rId36"/>
              <a:stretch>
                <a:fillRect/>
              </a:stretch>
            </p:blipFill>
            <p:spPr>
              <a:xfrm>
                <a:off x="5649209" y="4506016"/>
                <a:ext cx="1211531" cy="408623"/>
              </a:xfrm>
              <a:prstGeom prst="rect">
                <a:avLst/>
              </a:prstGeom>
            </p:spPr>
          </p:pic>
          <p:pic>
            <p:nvPicPr>
              <p:cNvPr id="90" name="Picture 89" descr="A close up of a sign&#10;&#10;Description automatically generated">
                <a:extLst>
                  <a:ext uri="{FF2B5EF4-FFF2-40B4-BE49-F238E27FC236}">
                    <a16:creationId xmlns:a16="http://schemas.microsoft.com/office/drawing/2014/main" id="{B93380B6-E4B3-306B-CE42-D78A21C98A38}"/>
                  </a:ext>
                </a:extLst>
              </p:cNvPr>
              <p:cNvPicPr>
                <a:picLocks noChangeAspect="1"/>
              </p:cNvPicPr>
              <p:nvPr/>
            </p:nvPicPr>
            <p:blipFill>
              <a:blip r:embed="rId37"/>
              <a:stretch>
                <a:fillRect/>
              </a:stretch>
            </p:blipFill>
            <p:spPr>
              <a:xfrm>
                <a:off x="5649209" y="3346402"/>
                <a:ext cx="974959" cy="415791"/>
              </a:xfrm>
              <a:prstGeom prst="rect">
                <a:avLst/>
              </a:prstGeom>
            </p:spPr>
          </p:pic>
        </p:grpSp>
        <p:pic>
          <p:nvPicPr>
            <p:cNvPr id="42" name="Picture 41" descr="A black text on a white background&#10;&#10;Description automatically generated">
              <a:extLst>
                <a:ext uri="{FF2B5EF4-FFF2-40B4-BE49-F238E27FC236}">
                  <a16:creationId xmlns:a16="http://schemas.microsoft.com/office/drawing/2014/main" id="{578CEDA8-61C5-4AD3-BBD9-88322F3DAE9B}"/>
                </a:ext>
              </a:extLst>
            </p:cNvPr>
            <p:cNvPicPr>
              <a:picLocks noChangeAspect="1"/>
            </p:cNvPicPr>
            <p:nvPr/>
          </p:nvPicPr>
          <p:blipFill>
            <a:blip r:embed="rId38"/>
            <a:stretch>
              <a:fillRect/>
            </a:stretch>
          </p:blipFill>
          <p:spPr>
            <a:xfrm>
              <a:off x="3926744" y="4537183"/>
              <a:ext cx="1725836" cy="514922"/>
            </a:xfrm>
            <a:prstGeom prst="rect">
              <a:avLst/>
            </a:prstGeom>
          </p:spPr>
        </p:pic>
      </p:grpSp>
      <p:sp>
        <p:nvSpPr>
          <p:cNvPr id="107" name="TextBox 106">
            <a:extLst>
              <a:ext uri="{FF2B5EF4-FFF2-40B4-BE49-F238E27FC236}">
                <a16:creationId xmlns:a16="http://schemas.microsoft.com/office/drawing/2014/main" id="{55F15DBD-3438-A824-39BE-168C2B0ECD0D}"/>
              </a:ext>
            </a:extLst>
          </p:cNvPr>
          <p:cNvSpPr txBox="1"/>
          <p:nvPr/>
        </p:nvSpPr>
        <p:spPr>
          <a:xfrm>
            <a:off x="370615" y="6636688"/>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0" marR="0" lvl="0" indent="0" algn="l" defTabSz="2437912" rtl="0" eaLnBrk="1" fontAlgn="auto" latinLnBrk="0" hangingPunct="1">
              <a:lnSpc>
                <a:spcPct val="100000"/>
              </a:lnSpc>
              <a:spcBef>
                <a:spcPts val="2899"/>
              </a:spcBef>
              <a:spcAft>
                <a:spcPts val="0"/>
              </a:spcAft>
              <a:buClrTx/>
              <a:buSzPct val="100000"/>
              <a:buFontTx/>
              <a:buNone/>
              <a:tabLst/>
              <a:defRPr/>
            </a:pPr>
            <a:endParaRPr kumimoji="0" lang="en-US" sz="18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108" name="TextBox 107">
            <a:extLst>
              <a:ext uri="{FF2B5EF4-FFF2-40B4-BE49-F238E27FC236}">
                <a16:creationId xmlns:a16="http://schemas.microsoft.com/office/drawing/2014/main" id="{A3A67DA9-D96B-0747-DE2F-392DFEF3DCC6}"/>
              </a:ext>
            </a:extLst>
          </p:cNvPr>
          <p:cNvSpPr txBox="1"/>
          <p:nvPr/>
        </p:nvSpPr>
        <p:spPr>
          <a:xfrm>
            <a:off x="284924" y="5905811"/>
            <a:ext cx="2906678" cy="4622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0" marR="0" lvl="0" indent="0" algn="l" defTabSz="2437912" rtl="0" eaLnBrk="1" fontAlgn="auto" latinLnBrk="0" hangingPunct="1">
              <a:lnSpc>
                <a:spcPct val="100000"/>
              </a:lnSpc>
              <a:spcBef>
                <a:spcPts val="2899"/>
              </a:spcBef>
              <a:spcAft>
                <a:spcPts val="0"/>
              </a:spcAft>
              <a:buClrTx/>
              <a:buSzPct val="100000"/>
              <a:buFontTx/>
              <a:buNone/>
              <a:tabLst/>
              <a:defRPr/>
            </a:pPr>
            <a:r>
              <a:rPr kumimoji="0" lang="en-US" sz="1800" b="1" i="0" u="none" strike="noStrike" kern="0" cap="none" spc="0" normalizeH="0" baseline="0" noProof="0" dirty="0">
                <a:ln>
                  <a:noFill/>
                </a:ln>
                <a:solidFill>
                  <a:srgbClr val="000000"/>
                </a:solidFill>
                <a:effectLst/>
                <a:uLnTx/>
                <a:uFillTx/>
                <a:latin typeface="IBM Plex Sans Light"/>
                <a:ea typeface="+mn-ea"/>
                <a:cs typeface="+mn-cs"/>
                <a:sym typeface="IBM Plex Sans Light"/>
              </a:rPr>
              <a:t>…Plus many more! Check out the </a:t>
            </a:r>
            <a:r>
              <a:rPr kumimoji="0" lang="en-US" sz="1800" b="1" i="0" u="none" strike="noStrike" kern="0" cap="none" spc="0" normalizeH="0" baseline="0" noProof="0" dirty="0">
                <a:ln>
                  <a:noFill/>
                </a:ln>
                <a:solidFill>
                  <a:srgbClr val="000000"/>
                </a:solidFill>
                <a:effectLst/>
                <a:uLnTx/>
                <a:uFillTx/>
                <a:latin typeface="IBM Plex Sans Light"/>
                <a:ea typeface="+mn-ea"/>
                <a:cs typeface="+mn-cs"/>
                <a:sym typeface="IBM Plex Sans Light"/>
                <a:hlinkClick r:id="rId39"/>
              </a:rPr>
              <a:t>Skill Catalog docs </a:t>
            </a:r>
            <a:r>
              <a:rPr kumimoji="0" lang="en-US" sz="1800" b="1" i="0" u="none" strike="noStrike" kern="0" cap="none" spc="0" normalizeH="0" baseline="0" noProof="0" dirty="0">
                <a:ln>
                  <a:noFill/>
                </a:ln>
                <a:solidFill>
                  <a:srgbClr val="000000"/>
                </a:solidFill>
                <a:effectLst/>
                <a:uLnTx/>
                <a:uFillTx/>
                <a:latin typeface="IBM Plex Sans Light"/>
                <a:ea typeface="+mn-ea"/>
                <a:cs typeface="+mn-cs"/>
                <a:sym typeface="IBM Plex Sans Light"/>
              </a:rPr>
              <a:t>to see all apps and skills</a:t>
            </a:r>
          </a:p>
        </p:txBody>
      </p:sp>
      <p:grpSp>
        <p:nvGrpSpPr>
          <p:cNvPr id="131" name="Group 130">
            <a:extLst>
              <a:ext uri="{FF2B5EF4-FFF2-40B4-BE49-F238E27FC236}">
                <a16:creationId xmlns:a16="http://schemas.microsoft.com/office/drawing/2014/main" id="{395AD0C4-38AF-7E7A-6B6A-335C9DABEB1E}"/>
              </a:ext>
            </a:extLst>
          </p:cNvPr>
          <p:cNvGrpSpPr/>
          <p:nvPr/>
        </p:nvGrpSpPr>
        <p:grpSpPr>
          <a:xfrm>
            <a:off x="8166701" y="1061864"/>
            <a:ext cx="2785212" cy="1483747"/>
            <a:chOff x="8468505" y="1130157"/>
            <a:chExt cx="2532341" cy="1349036"/>
          </a:xfrm>
        </p:grpSpPr>
        <p:sp>
          <p:nvSpPr>
            <p:cNvPr id="109" name="TextBox 108">
              <a:extLst>
                <a:ext uri="{FF2B5EF4-FFF2-40B4-BE49-F238E27FC236}">
                  <a16:creationId xmlns:a16="http://schemas.microsoft.com/office/drawing/2014/main" id="{EAEECE5B-2BA3-6175-36C3-74964706C38E}"/>
                </a:ext>
              </a:extLst>
            </p:cNvPr>
            <p:cNvSpPr txBox="1"/>
            <p:nvPr/>
          </p:nvSpPr>
          <p:spPr>
            <a:xfrm>
              <a:off x="9349483" y="1130157"/>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376" marR="0" lvl="0" indent="-446660" algn="l" defTabSz="2437912" rtl="0" eaLnBrk="1" fontAlgn="auto" latinLnBrk="0" hangingPunct="1">
                <a:lnSpc>
                  <a:spcPct val="100000"/>
                </a:lnSpc>
                <a:spcBef>
                  <a:spcPts val="2899"/>
                </a:spcBef>
                <a:spcAft>
                  <a:spcPts val="0"/>
                </a:spcAft>
                <a:buClrTx/>
                <a:buSzPct val="100000"/>
                <a:buFontTx/>
                <a:buChar char="–"/>
                <a:tabLst/>
                <a:defRPr/>
              </a:pPr>
              <a:endParaRPr kumimoji="0" lang="en-US" sz="18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pic>
          <p:nvPicPr>
            <p:cNvPr id="111" name="Picture 110" descr="A black text on a white background&#10;&#10;Description automatically generated">
              <a:extLst>
                <a:ext uri="{FF2B5EF4-FFF2-40B4-BE49-F238E27FC236}">
                  <a16:creationId xmlns:a16="http://schemas.microsoft.com/office/drawing/2014/main" id="{8074ECFC-E702-87B0-D29F-FA0C8E845523}"/>
                </a:ext>
              </a:extLst>
            </p:cNvPr>
            <p:cNvPicPr>
              <a:picLocks noChangeAspect="1"/>
            </p:cNvPicPr>
            <p:nvPr/>
          </p:nvPicPr>
          <p:blipFill>
            <a:blip r:embed="rId40"/>
            <a:stretch>
              <a:fillRect/>
            </a:stretch>
          </p:blipFill>
          <p:spPr>
            <a:xfrm>
              <a:off x="8476076" y="2029708"/>
              <a:ext cx="1529825" cy="449485"/>
            </a:xfrm>
            <a:prstGeom prst="rect">
              <a:avLst/>
            </a:prstGeom>
          </p:spPr>
        </p:pic>
        <p:pic>
          <p:nvPicPr>
            <p:cNvPr id="115" name="Picture 114" descr="A close up of a sign&#10;&#10;Description automatically generated">
              <a:extLst>
                <a:ext uri="{FF2B5EF4-FFF2-40B4-BE49-F238E27FC236}">
                  <a16:creationId xmlns:a16="http://schemas.microsoft.com/office/drawing/2014/main" id="{5A646F7E-7F1A-4EA1-EC3F-D9D8D4B5CAC1}"/>
                </a:ext>
              </a:extLst>
            </p:cNvPr>
            <p:cNvPicPr>
              <a:picLocks noChangeAspect="1"/>
            </p:cNvPicPr>
            <p:nvPr/>
          </p:nvPicPr>
          <p:blipFill rotWithShape="1">
            <a:blip r:embed="rId41"/>
            <a:srcRect b="26349"/>
            <a:stretch/>
          </p:blipFill>
          <p:spPr>
            <a:xfrm>
              <a:off x="8468505" y="1586425"/>
              <a:ext cx="1411541" cy="365894"/>
            </a:xfrm>
            <a:prstGeom prst="rect">
              <a:avLst/>
            </a:prstGeom>
          </p:spPr>
        </p:pic>
        <p:pic>
          <p:nvPicPr>
            <p:cNvPr id="117" name="Picture 116" descr="A black text on a white background&#10;&#10;Description automatically generated">
              <a:extLst>
                <a:ext uri="{FF2B5EF4-FFF2-40B4-BE49-F238E27FC236}">
                  <a16:creationId xmlns:a16="http://schemas.microsoft.com/office/drawing/2014/main" id="{FF1F44EF-F98F-3DC4-2946-9B481FC5F66F}"/>
                </a:ext>
              </a:extLst>
            </p:cNvPr>
            <p:cNvPicPr>
              <a:picLocks noChangeAspect="1"/>
            </p:cNvPicPr>
            <p:nvPr/>
          </p:nvPicPr>
          <p:blipFill>
            <a:blip r:embed="rId42"/>
            <a:stretch>
              <a:fillRect/>
            </a:stretch>
          </p:blipFill>
          <p:spPr>
            <a:xfrm>
              <a:off x="9707591" y="1176180"/>
              <a:ext cx="1293255" cy="433714"/>
            </a:xfrm>
            <a:prstGeom prst="rect">
              <a:avLst/>
            </a:prstGeom>
          </p:spPr>
        </p:pic>
        <p:pic>
          <p:nvPicPr>
            <p:cNvPr id="119" name="Picture 118" descr="A screenshot of a phone&#10;&#10;Description automatically generated">
              <a:extLst>
                <a:ext uri="{FF2B5EF4-FFF2-40B4-BE49-F238E27FC236}">
                  <a16:creationId xmlns:a16="http://schemas.microsoft.com/office/drawing/2014/main" id="{996FA8A1-F269-692E-71C7-E763DDDA3C21}"/>
                </a:ext>
              </a:extLst>
            </p:cNvPr>
            <p:cNvPicPr>
              <a:picLocks noChangeAspect="1"/>
            </p:cNvPicPr>
            <p:nvPr/>
          </p:nvPicPr>
          <p:blipFill>
            <a:blip r:embed="rId43"/>
            <a:stretch>
              <a:fillRect/>
            </a:stretch>
          </p:blipFill>
          <p:spPr>
            <a:xfrm>
              <a:off x="8476076" y="1160348"/>
              <a:ext cx="1056684" cy="425828"/>
            </a:xfrm>
            <a:prstGeom prst="rect">
              <a:avLst/>
            </a:prstGeom>
          </p:spPr>
        </p:pic>
        <p:pic>
          <p:nvPicPr>
            <p:cNvPr id="113" name="Picture 112" descr="A close-up of a service&#10;&#10;Description automatically generated">
              <a:extLst>
                <a:ext uri="{FF2B5EF4-FFF2-40B4-BE49-F238E27FC236}">
                  <a16:creationId xmlns:a16="http://schemas.microsoft.com/office/drawing/2014/main" id="{353313CC-B5B0-6FD5-5578-76B3873431C4}"/>
                </a:ext>
              </a:extLst>
            </p:cNvPr>
            <p:cNvPicPr>
              <a:picLocks noChangeAspect="1"/>
            </p:cNvPicPr>
            <p:nvPr/>
          </p:nvPicPr>
          <p:blipFill>
            <a:blip r:embed="rId44"/>
            <a:stretch>
              <a:fillRect/>
            </a:stretch>
          </p:blipFill>
          <p:spPr>
            <a:xfrm>
              <a:off x="9724686" y="1577237"/>
              <a:ext cx="1269598" cy="417942"/>
            </a:xfrm>
            <a:prstGeom prst="rect">
              <a:avLst/>
            </a:prstGeom>
          </p:spPr>
        </p:pic>
      </p:grpSp>
      <p:sp>
        <p:nvSpPr>
          <p:cNvPr id="120" name="TextBox 119">
            <a:extLst>
              <a:ext uri="{FF2B5EF4-FFF2-40B4-BE49-F238E27FC236}">
                <a16:creationId xmlns:a16="http://schemas.microsoft.com/office/drawing/2014/main" id="{B7041EF2-2D55-8700-47D8-2260A1AC467F}"/>
              </a:ext>
            </a:extLst>
          </p:cNvPr>
          <p:cNvSpPr txBox="1"/>
          <p:nvPr/>
        </p:nvSpPr>
        <p:spPr>
          <a:xfrm>
            <a:off x="8231722" y="2763809"/>
            <a:ext cx="3295554" cy="48705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F62FE"/>
              </a:solidFill>
              <a:effectLst/>
              <a:uLnTx/>
              <a:uFillTx/>
              <a:latin typeface="IBM Plex Sans Light"/>
              <a:ea typeface="+mn-ea"/>
              <a:cs typeface="+mn-cs"/>
            </a:endParaRPr>
          </a:p>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F62FE"/>
                </a:solidFill>
                <a:effectLst/>
                <a:uLnTx/>
                <a:uFillTx/>
                <a:latin typeface="IBM Plex Sans Light"/>
                <a:ea typeface="+mn-ea"/>
                <a:cs typeface="+mn-cs"/>
              </a:rPr>
              <a:t>Procurement Automation</a:t>
            </a:r>
          </a:p>
        </p:txBody>
      </p:sp>
      <p:grpSp>
        <p:nvGrpSpPr>
          <p:cNvPr id="130" name="Group 129">
            <a:extLst>
              <a:ext uri="{FF2B5EF4-FFF2-40B4-BE49-F238E27FC236}">
                <a16:creationId xmlns:a16="http://schemas.microsoft.com/office/drawing/2014/main" id="{C2CFABF6-635C-6C3F-6CC2-AFC964C65706}"/>
              </a:ext>
            </a:extLst>
          </p:cNvPr>
          <p:cNvGrpSpPr/>
          <p:nvPr/>
        </p:nvGrpSpPr>
        <p:grpSpPr>
          <a:xfrm>
            <a:off x="8166701" y="3247973"/>
            <a:ext cx="2571192" cy="943882"/>
            <a:chOff x="8531670" y="3006072"/>
            <a:chExt cx="2337752" cy="858186"/>
          </a:xfrm>
        </p:grpSpPr>
        <p:pic>
          <p:nvPicPr>
            <p:cNvPr id="128" name="Picture 127" descr="A close-up of a sign&#10;&#10;Description automatically generated">
              <a:extLst>
                <a:ext uri="{FF2B5EF4-FFF2-40B4-BE49-F238E27FC236}">
                  <a16:creationId xmlns:a16="http://schemas.microsoft.com/office/drawing/2014/main" id="{71940AFD-795A-8020-8869-383A6CFAD4AA}"/>
                </a:ext>
              </a:extLst>
            </p:cNvPr>
            <p:cNvPicPr>
              <a:picLocks noChangeAspect="1"/>
            </p:cNvPicPr>
            <p:nvPr/>
          </p:nvPicPr>
          <p:blipFill>
            <a:blip r:embed="rId45"/>
            <a:stretch>
              <a:fillRect/>
            </a:stretch>
          </p:blipFill>
          <p:spPr>
            <a:xfrm>
              <a:off x="8533945" y="3414773"/>
              <a:ext cx="1190741" cy="449485"/>
            </a:xfrm>
            <a:prstGeom prst="rect">
              <a:avLst/>
            </a:prstGeom>
          </p:spPr>
        </p:pic>
        <p:pic>
          <p:nvPicPr>
            <p:cNvPr id="122" name="Picture 121" descr="A close-up of a sign&#10;&#10;Description automatically generated">
              <a:extLst>
                <a:ext uri="{FF2B5EF4-FFF2-40B4-BE49-F238E27FC236}">
                  <a16:creationId xmlns:a16="http://schemas.microsoft.com/office/drawing/2014/main" id="{BF3DB64E-2FBE-8973-52FB-4D9BACB7DC7D}"/>
                </a:ext>
              </a:extLst>
            </p:cNvPr>
            <p:cNvPicPr>
              <a:picLocks noChangeAspect="1"/>
            </p:cNvPicPr>
            <p:nvPr/>
          </p:nvPicPr>
          <p:blipFill>
            <a:blip r:embed="rId46"/>
            <a:stretch>
              <a:fillRect/>
            </a:stretch>
          </p:blipFill>
          <p:spPr>
            <a:xfrm>
              <a:off x="9669002" y="3408055"/>
              <a:ext cx="1174971" cy="425828"/>
            </a:xfrm>
            <a:prstGeom prst="rect">
              <a:avLst/>
            </a:prstGeom>
          </p:spPr>
        </p:pic>
        <p:pic>
          <p:nvPicPr>
            <p:cNvPr id="124" name="Picture 123" descr="A close up of a sign&#10;&#10;Description automatically generated">
              <a:extLst>
                <a:ext uri="{FF2B5EF4-FFF2-40B4-BE49-F238E27FC236}">
                  <a16:creationId xmlns:a16="http://schemas.microsoft.com/office/drawing/2014/main" id="{BE17EE5F-D82D-0582-D285-F2ADF7758053}"/>
                </a:ext>
              </a:extLst>
            </p:cNvPr>
            <p:cNvPicPr>
              <a:picLocks noChangeAspect="1"/>
            </p:cNvPicPr>
            <p:nvPr/>
          </p:nvPicPr>
          <p:blipFill>
            <a:blip r:embed="rId47"/>
            <a:stretch>
              <a:fillRect/>
            </a:stretch>
          </p:blipFill>
          <p:spPr>
            <a:xfrm>
              <a:off x="8531670" y="3006072"/>
              <a:ext cx="1111884" cy="465256"/>
            </a:xfrm>
            <a:prstGeom prst="rect">
              <a:avLst/>
            </a:prstGeom>
          </p:spPr>
        </p:pic>
        <p:pic>
          <p:nvPicPr>
            <p:cNvPr id="126" name="Picture 125" descr="A close up of a text&#10;&#10;Description automatically generated">
              <a:extLst>
                <a:ext uri="{FF2B5EF4-FFF2-40B4-BE49-F238E27FC236}">
                  <a16:creationId xmlns:a16="http://schemas.microsoft.com/office/drawing/2014/main" id="{06B7E8A4-FCFA-540A-808F-D56264915C70}"/>
                </a:ext>
              </a:extLst>
            </p:cNvPr>
            <p:cNvPicPr>
              <a:picLocks noChangeAspect="1"/>
            </p:cNvPicPr>
            <p:nvPr/>
          </p:nvPicPr>
          <p:blipFill>
            <a:blip r:embed="rId48"/>
            <a:stretch>
              <a:fillRect/>
            </a:stretch>
          </p:blipFill>
          <p:spPr>
            <a:xfrm>
              <a:off x="9643554" y="3048726"/>
              <a:ext cx="1225868" cy="379947"/>
            </a:xfrm>
            <a:prstGeom prst="rect">
              <a:avLst/>
            </a:prstGeom>
          </p:spPr>
        </p:pic>
      </p:grpSp>
      <p:sp>
        <p:nvSpPr>
          <p:cNvPr id="8" name="Text Placeholder 5">
            <a:extLst>
              <a:ext uri="{FF2B5EF4-FFF2-40B4-BE49-F238E27FC236}">
                <a16:creationId xmlns:a16="http://schemas.microsoft.com/office/drawing/2014/main" id="{73090B59-3E9B-8C84-5ED4-8A297237C04D}"/>
              </a:ext>
            </a:extLst>
          </p:cNvPr>
          <p:cNvSpPr>
            <a:spLocks noGrp="1"/>
          </p:cNvSpPr>
          <p:nvPr>
            <p:ph type="title"/>
          </p:nvPr>
        </p:nvSpPr>
        <p:spPr/>
        <p:txBody>
          <a:bodyPr/>
          <a:lstStyle/>
          <a:p>
            <a:r>
              <a:rPr lang="en-US" sz="2844" dirty="0"/>
              <a:t>Pre-built skills continue to grow</a:t>
            </a:r>
          </a:p>
        </p:txBody>
      </p:sp>
    </p:spTree>
    <p:extLst>
      <p:ext uri="{BB962C8B-B14F-4D97-AF65-F5344CB8AC3E}">
        <p14:creationId xmlns:p14="http://schemas.microsoft.com/office/powerpoint/2010/main" val="8137675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2" name="Group 181">
            <a:extLst>
              <a:ext uri="{FF2B5EF4-FFF2-40B4-BE49-F238E27FC236}">
                <a16:creationId xmlns:a16="http://schemas.microsoft.com/office/drawing/2014/main" id="{E5D106C8-2903-A0F5-854B-24E368CB0536}"/>
              </a:ext>
            </a:extLst>
          </p:cNvPr>
          <p:cNvGrpSpPr/>
          <p:nvPr/>
        </p:nvGrpSpPr>
        <p:grpSpPr>
          <a:xfrm>
            <a:off x="240920" y="4586395"/>
            <a:ext cx="11446524" cy="1259976"/>
            <a:chOff x="714152" y="9711371"/>
            <a:chExt cx="22896029" cy="2520280"/>
          </a:xfrm>
        </p:grpSpPr>
        <p:sp>
          <p:nvSpPr>
            <p:cNvPr id="181" name="Rounded Rectangle 180">
              <a:extLst>
                <a:ext uri="{FF2B5EF4-FFF2-40B4-BE49-F238E27FC236}">
                  <a16:creationId xmlns:a16="http://schemas.microsoft.com/office/drawing/2014/main" id="{BA975ECA-DA1A-68A8-FD6B-8C63675624B9}"/>
                </a:ext>
              </a:extLst>
            </p:cNvPr>
            <p:cNvSpPr/>
            <p:nvPr/>
          </p:nvSpPr>
          <p:spPr bwMode="auto">
            <a:xfrm>
              <a:off x="714152" y="9711371"/>
              <a:ext cx="22896029" cy="2520280"/>
            </a:xfrm>
            <a:prstGeom prst="roundRect">
              <a:avLst/>
            </a:prstGeom>
            <a:solidFill>
              <a:srgbClr val="F4F4F4"/>
            </a:solidFill>
            <a:ln w="19050">
              <a:noFill/>
              <a:headEnd type="none" w="med" len="med"/>
              <a:tailEnd type="none" w="med" len="med"/>
            </a:ln>
            <a:effectLst>
              <a:outerShdw blurRad="50800" dist="38100" dir="8100000" algn="tr"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grpSp>
          <p:nvGrpSpPr>
            <p:cNvPr id="161" name="Group 160">
              <a:extLst>
                <a:ext uri="{FF2B5EF4-FFF2-40B4-BE49-F238E27FC236}">
                  <a16:creationId xmlns:a16="http://schemas.microsoft.com/office/drawing/2014/main" id="{FCF66800-B7CD-45BF-889B-A83BA3CE8F52}"/>
                </a:ext>
              </a:extLst>
            </p:cNvPr>
            <p:cNvGrpSpPr/>
            <p:nvPr/>
          </p:nvGrpSpPr>
          <p:grpSpPr>
            <a:xfrm>
              <a:off x="805075" y="10163124"/>
              <a:ext cx="22777024" cy="1569278"/>
              <a:chOff x="805075" y="10163124"/>
              <a:chExt cx="22777024" cy="1569278"/>
            </a:xfrm>
          </p:grpSpPr>
          <p:grpSp>
            <p:nvGrpSpPr>
              <p:cNvPr id="134" name="Group 133">
                <a:extLst>
                  <a:ext uri="{FF2B5EF4-FFF2-40B4-BE49-F238E27FC236}">
                    <a16:creationId xmlns:a16="http://schemas.microsoft.com/office/drawing/2014/main" id="{7532D470-ABC2-77D9-9274-D004F058A6E9}"/>
                  </a:ext>
                </a:extLst>
              </p:cNvPr>
              <p:cNvGrpSpPr/>
              <p:nvPr/>
            </p:nvGrpSpPr>
            <p:grpSpPr>
              <a:xfrm>
                <a:off x="805075" y="10163124"/>
                <a:ext cx="22777024" cy="1569278"/>
                <a:chOff x="767885" y="10451707"/>
                <a:chExt cx="20706385" cy="1426616"/>
              </a:xfrm>
            </p:grpSpPr>
            <p:sp>
              <p:nvSpPr>
                <p:cNvPr id="133" name="TextBox 132">
                  <a:extLst>
                    <a:ext uri="{FF2B5EF4-FFF2-40B4-BE49-F238E27FC236}">
                      <a16:creationId xmlns:a16="http://schemas.microsoft.com/office/drawing/2014/main" id="{75A06971-A99C-9895-A3D7-EF8856DBC8C8}"/>
                    </a:ext>
                  </a:extLst>
                </p:cNvPr>
                <p:cNvSpPr txBox="1"/>
                <p:nvPr/>
              </p:nvSpPr>
              <p:spPr>
                <a:xfrm>
                  <a:off x="15914093" y="10451707"/>
                  <a:ext cx="5560177" cy="1426616"/>
                </a:xfrm>
                <a:prstGeom prst="rect">
                  <a:avLst/>
                </a:prstGeom>
                <a:solidFill>
                  <a:srgbClr val="F4F4F4"/>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222188" marR="0" lvl="0" indent="-223330" algn="l" defTabSz="1218956" rtl="0" eaLnBrk="1" fontAlgn="auto" latinLnBrk="0" hangingPunct="1">
                    <a:lnSpc>
                      <a:spcPct val="100000"/>
                    </a:lnSpc>
                    <a:spcBef>
                      <a:spcPts val="1450"/>
                    </a:spcBef>
                    <a:spcAft>
                      <a:spcPts val="0"/>
                    </a:spcAft>
                    <a:buClrTx/>
                    <a:buSzPct val="100000"/>
                    <a:buFontTx/>
                    <a:buChar char="–"/>
                    <a:tabLst/>
                    <a:defRPr/>
                  </a:pPr>
                  <a:endParaRPr kumimoji="0" lang="en-US" sz="18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pic>
              <p:nvPicPr>
                <p:cNvPr id="125" name="Picture 124">
                  <a:extLst>
                    <a:ext uri="{FF2B5EF4-FFF2-40B4-BE49-F238E27FC236}">
                      <a16:creationId xmlns:a16="http://schemas.microsoft.com/office/drawing/2014/main" id="{E38BE20F-5074-EF90-1F8F-EFB394307D38}"/>
                    </a:ext>
                  </a:extLst>
                </p:cNvPr>
                <p:cNvPicPr>
                  <a:picLocks noChangeAspect="1"/>
                </p:cNvPicPr>
                <p:nvPr/>
              </p:nvPicPr>
              <p:blipFill>
                <a:blip r:embed="rId3"/>
                <a:stretch>
                  <a:fillRect/>
                </a:stretch>
              </p:blipFill>
              <p:spPr>
                <a:xfrm>
                  <a:off x="767885" y="10451707"/>
                  <a:ext cx="15146208" cy="1426616"/>
                </a:xfrm>
                <a:prstGeom prst="rect">
                  <a:avLst/>
                </a:prstGeom>
              </p:spPr>
            </p:pic>
            <p:pic>
              <p:nvPicPr>
                <p:cNvPr id="132" name="Picture 131" descr="A white rectangular object with black text&#10;&#10;Description automatically generated">
                  <a:extLst>
                    <a:ext uri="{FF2B5EF4-FFF2-40B4-BE49-F238E27FC236}">
                      <a16:creationId xmlns:a16="http://schemas.microsoft.com/office/drawing/2014/main" id="{616D68EA-FBFE-B0CA-D1F9-0FA1983CC69A}"/>
                    </a:ext>
                  </a:extLst>
                </p:cNvPr>
                <p:cNvPicPr>
                  <a:picLocks noChangeAspect="1"/>
                </p:cNvPicPr>
                <p:nvPr/>
              </p:nvPicPr>
              <p:blipFill>
                <a:blip r:embed="rId4"/>
                <a:stretch>
                  <a:fillRect/>
                </a:stretch>
              </p:blipFill>
              <p:spPr>
                <a:xfrm>
                  <a:off x="15914093" y="10794921"/>
                  <a:ext cx="5560177" cy="848163"/>
                </a:xfrm>
                <a:prstGeom prst="rect">
                  <a:avLst/>
                </a:prstGeom>
              </p:spPr>
            </p:pic>
          </p:grpSp>
          <p:sp>
            <p:nvSpPr>
              <p:cNvPr id="156" name="Rectangle 155">
                <a:extLst>
                  <a:ext uri="{FF2B5EF4-FFF2-40B4-BE49-F238E27FC236}">
                    <a16:creationId xmlns:a16="http://schemas.microsoft.com/office/drawing/2014/main" id="{E4329F4A-1823-BE36-C7B1-0F3BFDCF3C27}"/>
                  </a:ext>
                </a:extLst>
              </p:cNvPr>
              <p:cNvSpPr/>
              <p:nvPr/>
            </p:nvSpPr>
            <p:spPr bwMode="auto">
              <a:xfrm>
                <a:off x="2869110" y="10540659"/>
                <a:ext cx="2627733" cy="932980"/>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57" name="Rectangle 156">
                <a:extLst>
                  <a:ext uri="{FF2B5EF4-FFF2-40B4-BE49-F238E27FC236}">
                    <a16:creationId xmlns:a16="http://schemas.microsoft.com/office/drawing/2014/main" id="{0C7C5209-04A5-EA1D-ECA7-C955C3E43B4C}"/>
                  </a:ext>
                </a:extLst>
              </p:cNvPr>
              <p:cNvSpPr/>
              <p:nvPr/>
            </p:nvSpPr>
            <p:spPr bwMode="auto">
              <a:xfrm>
                <a:off x="6832279" y="10424218"/>
                <a:ext cx="2627733" cy="932980"/>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58" name="Rectangle 157">
                <a:extLst>
                  <a:ext uri="{FF2B5EF4-FFF2-40B4-BE49-F238E27FC236}">
                    <a16:creationId xmlns:a16="http://schemas.microsoft.com/office/drawing/2014/main" id="{3C51955D-972C-7C44-AD0D-F447A4613FBC}"/>
                  </a:ext>
                </a:extLst>
              </p:cNvPr>
              <p:cNvSpPr/>
              <p:nvPr/>
            </p:nvSpPr>
            <p:spPr bwMode="auto">
              <a:xfrm>
                <a:off x="10795448" y="10505021"/>
                <a:ext cx="2627733" cy="932980"/>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59" name="Rectangle 158">
                <a:extLst>
                  <a:ext uri="{FF2B5EF4-FFF2-40B4-BE49-F238E27FC236}">
                    <a16:creationId xmlns:a16="http://schemas.microsoft.com/office/drawing/2014/main" id="{FFA2F2F2-D4A3-E5C8-00A8-42F870C598FF}"/>
                  </a:ext>
                </a:extLst>
              </p:cNvPr>
              <p:cNvSpPr/>
              <p:nvPr/>
            </p:nvSpPr>
            <p:spPr bwMode="auto">
              <a:xfrm>
                <a:off x="14752946" y="10547874"/>
                <a:ext cx="2627733" cy="932980"/>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60" name="Rectangle 159">
                <a:extLst>
                  <a:ext uri="{FF2B5EF4-FFF2-40B4-BE49-F238E27FC236}">
                    <a16:creationId xmlns:a16="http://schemas.microsoft.com/office/drawing/2014/main" id="{ECFAA36E-B890-3BA8-62BD-755567DACA7F}"/>
                  </a:ext>
                </a:extLst>
              </p:cNvPr>
              <p:cNvSpPr/>
              <p:nvPr/>
            </p:nvSpPr>
            <p:spPr bwMode="auto">
              <a:xfrm>
                <a:off x="18852485" y="10523329"/>
                <a:ext cx="2627733" cy="932980"/>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grpSp>
      </p:grpSp>
      <p:pic>
        <p:nvPicPr>
          <p:cNvPr id="144" name="Picture 143" descr="A white rectangle with black text&#10;&#10;Description automatically generated">
            <a:extLst>
              <a:ext uri="{FF2B5EF4-FFF2-40B4-BE49-F238E27FC236}">
                <a16:creationId xmlns:a16="http://schemas.microsoft.com/office/drawing/2014/main" id="{9130BC39-3BCB-DBB3-E1CA-975979B6ACAB}"/>
              </a:ext>
            </a:extLst>
          </p:cNvPr>
          <p:cNvPicPr>
            <a:picLocks noChangeAspect="1"/>
          </p:cNvPicPr>
          <p:nvPr/>
        </p:nvPicPr>
        <p:blipFill>
          <a:blip r:embed="rId5"/>
          <a:stretch>
            <a:fillRect/>
          </a:stretch>
        </p:blipFill>
        <p:spPr>
          <a:xfrm>
            <a:off x="6615402" y="3071243"/>
            <a:ext cx="1350642" cy="404038"/>
          </a:xfrm>
          <a:prstGeom prst="rect">
            <a:avLst/>
          </a:prstGeom>
        </p:spPr>
      </p:pic>
      <p:pic>
        <p:nvPicPr>
          <p:cNvPr id="148" name="Picture 147" descr="A white background with black text&#10;&#10;Description automatically generated">
            <a:extLst>
              <a:ext uri="{FF2B5EF4-FFF2-40B4-BE49-F238E27FC236}">
                <a16:creationId xmlns:a16="http://schemas.microsoft.com/office/drawing/2014/main" id="{8D2B2CE4-9AEB-F324-37EA-0F08BDD342C0}"/>
              </a:ext>
            </a:extLst>
          </p:cNvPr>
          <p:cNvPicPr>
            <a:picLocks noChangeAspect="1"/>
          </p:cNvPicPr>
          <p:nvPr/>
        </p:nvPicPr>
        <p:blipFill>
          <a:blip r:embed="rId6"/>
          <a:stretch>
            <a:fillRect/>
          </a:stretch>
        </p:blipFill>
        <p:spPr>
          <a:xfrm>
            <a:off x="6298082" y="3005813"/>
            <a:ext cx="1362187" cy="392494"/>
          </a:xfrm>
          <a:prstGeom prst="rect">
            <a:avLst/>
          </a:prstGeom>
        </p:spPr>
      </p:pic>
      <p:sp>
        <p:nvSpPr>
          <p:cNvPr id="155" name="Rectangle 154">
            <a:extLst>
              <a:ext uri="{FF2B5EF4-FFF2-40B4-BE49-F238E27FC236}">
                <a16:creationId xmlns:a16="http://schemas.microsoft.com/office/drawing/2014/main" id="{18479BE7-D649-7A69-8915-0856C6342606}"/>
              </a:ext>
            </a:extLst>
          </p:cNvPr>
          <p:cNvSpPr/>
          <p:nvPr/>
        </p:nvSpPr>
        <p:spPr bwMode="auto">
          <a:xfrm>
            <a:off x="6275129" y="2981949"/>
            <a:ext cx="1859632" cy="547441"/>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pic>
        <p:nvPicPr>
          <p:cNvPr id="150" name="Picture 149" descr="A white rectangular sign with black text&#10;&#10;Description automatically generated">
            <a:extLst>
              <a:ext uri="{FF2B5EF4-FFF2-40B4-BE49-F238E27FC236}">
                <a16:creationId xmlns:a16="http://schemas.microsoft.com/office/drawing/2014/main" id="{955BA826-9CB5-F381-B2F6-A2A6F4E9B91A}"/>
              </a:ext>
            </a:extLst>
          </p:cNvPr>
          <p:cNvPicPr>
            <a:picLocks noChangeAspect="1"/>
          </p:cNvPicPr>
          <p:nvPr/>
        </p:nvPicPr>
        <p:blipFill>
          <a:blip r:embed="rId7"/>
          <a:stretch>
            <a:fillRect/>
          </a:stretch>
        </p:blipFill>
        <p:spPr>
          <a:xfrm>
            <a:off x="1867341" y="2673621"/>
            <a:ext cx="1362187" cy="427127"/>
          </a:xfrm>
          <a:prstGeom prst="rect">
            <a:avLst/>
          </a:prstGeom>
        </p:spPr>
      </p:pic>
      <p:sp>
        <p:nvSpPr>
          <p:cNvPr id="154" name="Rectangle 153">
            <a:extLst>
              <a:ext uri="{FF2B5EF4-FFF2-40B4-BE49-F238E27FC236}">
                <a16:creationId xmlns:a16="http://schemas.microsoft.com/office/drawing/2014/main" id="{F74DAC67-50FC-ADFE-B50B-C94CC3472F39}"/>
              </a:ext>
            </a:extLst>
          </p:cNvPr>
          <p:cNvSpPr/>
          <p:nvPr/>
        </p:nvSpPr>
        <p:spPr bwMode="auto">
          <a:xfrm>
            <a:off x="1821599" y="2656919"/>
            <a:ext cx="1616895" cy="443829"/>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pic>
        <p:nvPicPr>
          <p:cNvPr id="142" name="Picture 141" descr="A white background with black text&#10;&#10;Description automatically generated">
            <a:extLst>
              <a:ext uri="{FF2B5EF4-FFF2-40B4-BE49-F238E27FC236}">
                <a16:creationId xmlns:a16="http://schemas.microsoft.com/office/drawing/2014/main" id="{C236D187-B08D-1A74-9780-6AE80DD19602}"/>
              </a:ext>
            </a:extLst>
          </p:cNvPr>
          <p:cNvPicPr>
            <a:picLocks noChangeAspect="1"/>
          </p:cNvPicPr>
          <p:nvPr/>
        </p:nvPicPr>
        <p:blipFill>
          <a:blip r:embed="rId8"/>
          <a:stretch>
            <a:fillRect/>
          </a:stretch>
        </p:blipFill>
        <p:spPr>
          <a:xfrm>
            <a:off x="9014034" y="2869112"/>
            <a:ext cx="1364766" cy="401402"/>
          </a:xfrm>
          <a:prstGeom prst="rect">
            <a:avLst/>
          </a:prstGeom>
        </p:spPr>
      </p:pic>
      <p:pic>
        <p:nvPicPr>
          <p:cNvPr id="152" name="Picture 151" descr="A white rectangle with black text&#10;&#10;Description automatically generated">
            <a:extLst>
              <a:ext uri="{FF2B5EF4-FFF2-40B4-BE49-F238E27FC236}">
                <a16:creationId xmlns:a16="http://schemas.microsoft.com/office/drawing/2014/main" id="{BDCA0B59-A2B6-2A7E-31DC-EB06DD8662A2}"/>
              </a:ext>
            </a:extLst>
          </p:cNvPr>
          <p:cNvPicPr>
            <a:picLocks noChangeAspect="1"/>
          </p:cNvPicPr>
          <p:nvPr/>
        </p:nvPicPr>
        <p:blipFill>
          <a:blip r:embed="rId9"/>
          <a:stretch>
            <a:fillRect/>
          </a:stretch>
        </p:blipFill>
        <p:spPr>
          <a:xfrm>
            <a:off x="279059" y="2673972"/>
            <a:ext cx="1373730" cy="415582"/>
          </a:xfrm>
          <a:prstGeom prst="rect">
            <a:avLst/>
          </a:prstGeom>
        </p:spPr>
      </p:pic>
      <p:sp>
        <p:nvSpPr>
          <p:cNvPr id="8" name="Text Placeholder 5">
            <a:extLst>
              <a:ext uri="{FF2B5EF4-FFF2-40B4-BE49-F238E27FC236}">
                <a16:creationId xmlns:a16="http://schemas.microsoft.com/office/drawing/2014/main" id="{73090B59-3E9B-8C84-5ED4-8A297237C04D}"/>
              </a:ext>
            </a:extLst>
          </p:cNvPr>
          <p:cNvSpPr>
            <a:spLocks noGrp="1"/>
          </p:cNvSpPr>
          <p:nvPr>
            <p:ph type="title"/>
          </p:nvPr>
        </p:nvSpPr>
        <p:spPr>
          <a:xfrm>
            <a:off x="280416" y="268637"/>
            <a:ext cx="5373333" cy="1072756"/>
          </a:xfrm>
        </p:spPr>
        <p:txBody>
          <a:bodyPr/>
          <a:lstStyle/>
          <a:p>
            <a:r>
              <a:rPr lang="en-US" sz="2844" dirty="0"/>
              <a:t>Going beyond skills and introducing </a:t>
            </a:r>
            <a:r>
              <a:rPr lang="en-US" sz="2844" b="1" dirty="0"/>
              <a:t>skill flow templates</a:t>
            </a:r>
          </a:p>
        </p:txBody>
      </p:sp>
      <p:grpSp>
        <p:nvGrpSpPr>
          <p:cNvPr id="13" name="Group 12">
            <a:extLst>
              <a:ext uri="{FF2B5EF4-FFF2-40B4-BE49-F238E27FC236}">
                <a16:creationId xmlns:a16="http://schemas.microsoft.com/office/drawing/2014/main" id="{AC314027-DC4B-6BFE-7859-70BF2244E378}"/>
              </a:ext>
            </a:extLst>
          </p:cNvPr>
          <p:cNvGrpSpPr/>
          <p:nvPr/>
        </p:nvGrpSpPr>
        <p:grpSpPr>
          <a:xfrm>
            <a:off x="240920" y="1864515"/>
            <a:ext cx="3245251" cy="1698021"/>
            <a:chOff x="250421" y="3456632"/>
            <a:chExt cx="3251789" cy="1625728"/>
          </a:xfrm>
          <a:solidFill>
            <a:schemeClr val="bg1"/>
          </a:solidFill>
        </p:grpSpPr>
        <p:pic>
          <p:nvPicPr>
            <p:cNvPr id="15" name="Picture 14" descr="A close up of a sign&#10;&#10;Description automatically generated">
              <a:extLst>
                <a:ext uri="{FF2B5EF4-FFF2-40B4-BE49-F238E27FC236}">
                  <a16:creationId xmlns:a16="http://schemas.microsoft.com/office/drawing/2014/main" id="{754FE886-0EE6-30C8-079B-D63EC70B106C}"/>
                </a:ext>
              </a:extLst>
            </p:cNvPr>
            <p:cNvPicPr>
              <a:picLocks noChangeAspect="1"/>
            </p:cNvPicPr>
            <p:nvPr/>
          </p:nvPicPr>
          <p:blipFill>
            <a:blip r:embed="rId10"/>
            <a:stretch>
              <a:fillRect/>
            </a:stretch>
          </p:blipFill>
          <p:spPr>
            <a:xfrm>
              <a:off x="1835197" y="4595246"/>
              <a:ext cx="1667013" cy="487114"/>
            </a:xfrm>
            <a:prstGeom prst="rect">
              <a:avLst/>
            </a:prstGeom>
            <a:grpFill/>
          </p:spPr>
        </p:pic>
        <p:grpSp>
          <p:nvGrpSpPr>
            <p:cNvPr id="16" name="Group 15">
              <a:extLst>
                <a:ext uri="{FF2B5EF4-FFF2-40B4-BE49-F238E27FC236}">
                  <a16:creationId xmlns:a16="http://schemas.microsoft.com/office/drawing/2014/main" id="{D20F3196-A4E1-10A4-42D9-829D19021E09}"/>
                </a:ext>
              </a:extLst>
            </p:cNvPr>
            <p:cNvGrpSpPr/>
            <p:nvPr/>
          </p:nvGrpSpPr>
          <p:grpSpPr>
            <a:xfrm>
              <a:off x="250421" y="3456632"/>
              <a:ext cx="3204016" cy="1537991"/>
              <a:chOff x="8537430" y="4894836"/>
              <a:chExt cx="3204016" cy="1537991"/>
            </a:xfrm>
            <a:grpFill/>
          </p:grpSpPr>
          <p:pic>
            <p:nvPicPr>
              <p:cNvPr id="18" name="Picture 17" descr="A black text on a white background&#10;&#10;Description automatically generated">
                <a:extLst>
                  <a:ext uri="{FF2B5EF4-FFF2-40B4-BE49-F238E27FC236}">
                    <a16:creationId xmlns:a16="http://schemas.microsoft.com/office/drawing/2014/main" id="{8F6F7626-3E9D-1865-DF50-4CB5F51FAAB1}"/>
                  </a:ext>
                </a:extLst>
              </p:cNvPr>
              <p:cNvPicPr>
                <a:picLocks noChangeAspect="1"/>
              </p:cNvPicPr>
              <p:nvPr/>
            </p:nvPicPr>
            <p:blipFill>
              <a:blip r:embed="rId11"/>
              <a:stretch>
                <a:fillRect/>
              </a:stretch>
            </p:blipFill>
            <p:spPr>
              <a:xfrm>
                <a:off x="8551767" y="6000328"/>
                <a:ext cx="1261950" cy="432499"/>
              </a:xfrm>
              <a:prstGeom prst="rect">
                <a:avLst/>
              </a:prstGeom>
              <a:grpFill/>
            </p:spPr>
          </p:pic>
          <p:grpSp>
            <p:nvGrpSpPr>
              <p:cNvPr id="20" name="Group 19">
                <a:extLst>
                  <a:ext uri="{FF2B5EF4-FFF2-40B4-BE49-F238E27FC236}">
                    <a16:creationId xmlns:a16="http://schemas.microsoft.com/office/drawing/2014/main" id="{3A91E418-B5EA-62AE-D99B-BBA340B6FAB3}"/>
                  </a:ext>
                </a:extLst>
              </p:cNvPr>
              <p:cNvGrpSpPr/>
              <p:nvPr/>
            </p:nvGrpSpPr>
            <p:grpSpPr>
              <a:xfrm>
                <a:off x="8537430" y="4894836"/>
                <a:ext cx="3204016" cy="1167468"/>
                <a:chOff x="8629397" y="4924325"/>
                <a:chExt cx="3204016" cy="1167468"/>
              </a:xfrm>
              <a:grpFill/>
            </p:grpSpPr>
            <p:pic>
              <p:nvPicPr>
                <p:cNvPr id="21" name="Picture 20" descr="A close up of a logo&#10;&#10;Description automatically generated">
                  <a:extLst>
                    <a:ext uri="{FF2B5EF4-FFF2-40B4-BE49-F238E27FC236}">
                      <a16:creationId xmlns:a16="http://schemas.microsoft.com/office/drawing/2014/main" id="{2EE88F5B-F5C3-6C47-ECC4-5B3E29ED4A88}"/>
                    </a:ext>
                  </a:extLst>
                </p:cNvPr>
                <p:cNvPicPr>
                  <a:picLocks noChangeAspect="1"/>
                </p:cNvPicPr>
                <p:nvPr/>
              </p:nvPicPr>
              <p:blipFill>
                <a:blip r:embed="rId12"/>
                <a:stretch>
                  <a:fillRect/>
                </a:stretch>
              </p:blipFill>
              <p:spPr>
                <a:xfrm>
                  <a:off x="10195695" y="4924325"/>
                  <a:ext cx="1369245" cy="394285"/>
                </a:xfrm>
                <a:prstGeom prst="rect">
                  <a:avLst/>
                </a:prstGeom>
                <a:grpFill/>
              </p:spPr>
            </p:pic>
            <p:pic>
              <p:nvPicPr>
                <p:cNvPr id="23" name="Picture 22" descr="A close up of a sign&#10;&#10;Description automatically generated">
                  <a:extLst>
                    <a:ext uri="{FF2B5EF4-FFF2-40B4-BE49-F238E27FC236}">
                      <a16:creationId xmlns:a16="http://schemas.microsoft.com/office/drawing/2014/main" id="{50195E1F-4C79-344F-7573-181FE4E2ACAA}"/>
                    </a:ext>
                  </a:extLst>
                </p:cNvPr>
                <p:cNvPicPr>
                  <a:picLocks noChangeAspect="1"/>
                </p:cNvPicPr>
                <p:nvPr/>
              </p:nvPicPr>
              <p:blipFill>
                <a:blip r:embed="rId13"/>
                <a:stretch>
                  <a:fillRect/>
                </a:stretch>
              </p:blipFill>
              <p:spPr>
                <a:xfrm>
                  <a:off x="8643734" y="5699319"/>
                  <a:ext cx="1763530" cy="387116"/>
                </a:xfrm>
                <a:prstGeom prst="rect">
                  <a:avLst/>
                </a:prstGeom>
                <a:grpFill/>
              </p:spPr>
            </p:pic>
            <p:pic>
              <p:nvPicPr>
                <p:cNvPr id="24" name="Picture 23" descr="A close-up of a text&#10;&#10;Description automatically generated">
                  <a:extLst>
                    <a:ext uri="{FF2B5EF4-FFF2-40B4-BE49-F238E27FC236}">
                      <a16:creationId xmlns:a16="http://schemas.microsoft.com/office/drawing/2014/main" id="{8D852796-B823-53CF-39A8-865810CDE8DD}"/>
                    </a:ext>
                  </a:extLst>
                </p:cNvPr>
                <p:cNvPicPr>
                  <a:picLocks noChangeAspect="1"/>
                </p:cNvPicPr>
                <p:nvPr/>
              </p:nvPicPr>
              <p:blipFill>
                <a:blip r:embed="rId14"/>
                <a:stretch>
                  <a:fillRect/>
                </a:stretch>
              </p:blipFill>
              <p:spPr>
                <a:xfrm>
                  <a:off x="8629397" y="5374204"/>
                  <a:ext cx="1777867" cy="379947"/>
                </a:xfrm>
                <a:prstGeom prst="rect">
                  <a:avLst/>
                </a:prstGeom>
                <a:grpFill/>
              </p:spPr>
            </p:pic>
            <p:pic>
              <p:nvPicPr>
                <p:cNvPr id="25" name="Picture 24" descr="A close up of a sign&#10;&#10;Description automatically generated">
                  <a:extLst>
                    <a:ext uri="{FF2B5EF4-FFF2-40B4-BE49-F238E27FC236}">
                      <a16:creationId xmlns:a16="http://schemas.microsoft.com/office/drawing/2014/main" id="{A2FC6B80-A198-9507-8F59-CA9617536B2F}"/>
                    </a:ext>
                  </a:extLst>
                </p:cNvPr>
                <p:cNvPicPr>
                  <a:picLocks noChangeAspect="1"/>
                </p:cNvPicPr>
                <p:nvPr/>
              </p:nvPicPr>
              <p:blipFill>
                <a:blip r:embed="rId15"/>
                <a:stretch>
                  <a:fillRect/>
                </a:stretch>
              </p:blipFill>
              <p:spPr>
                <a:xfrm>
                  <a:off x="8629397" y="4924942"/>
                  <a:ext cx="1218698" cy="437298"/>
                </a:xfrm>
                <a:prstGeom prst="rect">
                  <a:avLst/>
                </a:prstGeom>
                <a:grpFill/>
              </p:spPr>
            </p:pic>
            <p:pic>
              <p:nvPicPr>
                <p:cNvPr id="27" name="Picture 26" descr="A black text on a white background&#10;&#10;Description automatically generated">
                  <a:extLst>
                    <a:ext uri="{FF2B5EF4-FFF2-40B4-BE49-F238E27FC236}">
                      <a16:creationId xmlns:a16="http://schemas.microsoft.com/office/drawing/2014/main" id="{3E424C0D-0854-9D2B-1F0A-D3710DCF80BD}"/>
                    </a:ext>
                  </a:extLst>
                </p:cNvPr>
                <p:cNvPicPr>
                  <a:picLocks noChangeAspect="1"/>
                </p:cNvPicPr>
                <p:nvPr/>
              </p:nvPicPr>
              <p:blipFill>
                <a:blip r:embed="rId16"/>
                <a:stretch>
                  <a:fillRect/>
                </a:stretch>
              </p:blipFill>
              <p:spPr>
                <a:xfrm>
                  <a:off x="10213260" y="5338857"/>
                  <a:ext cx="1620153" cy="365609"/>
                </a:xfrm>
                <a:prstGeom prst="rect">
                  <a:avLst/>
                </a:prstGeom>
                <a:grpFill/>
              </p:spPr>
            </p:pic>
            <p:pic>
              <p:nvPicPr>
                <p:cNvPr id="29" name="Picture 28" descr="A close up of a sign&#10;&#10;Description automatically generated">
                  <a:extLst>
                    <a:ext uri="{FF2B5EF4-FFF2-40B4-BE49-F238E27FC236}">
                      <a16:creationId xmlns:a16="http://schemas.microsoft.com/office/drawing/2014/main" id="{483893EE-FBF6-1635-1BCD-7C0C905BA950}"/>
                    </a:ext>
                  </a:extLst>
                </p:cNvPr>
                <p:cNvPicPr>
                  <a:picLocks noChangeAspect="1"/>
                </p:cNvPicPr>
                <p:nvPr/>
              </p:nvPicPr>
              <p:blipFill>
                <a:blip r:embed="rId17"/>
                <a:stretch>
                  <a:fillRect/>
                </a:stretch>
              </p:blipFill>
              <p:spPr>
                <a:xfrm>
                  <a:off x="10213260" y="5682992"/>
                  <a:ext cx="1155306" cy="408801"/>
                </a:xfrm>
                <a:prstGeom prst="rect">
                  <a:avLst/>
                </a:prstGeom>
                <a:grpFill/>
              </p:spPr>
            </p:pic>
          </p:grpSp>
        </p:grpSp>
      </p:grpSp>
      <p:grpSp>
        <p:nvGrpSpPr>
          <p:cNvPr id="45" name="Group 44">
            <a:extLst>
              <a:ext uri="{FF2B5EF4-FFF2-40B4-BE49-F238E27FC236}">
                <a16:creationId xmlns:a16="http://schemas.microsoft.com/office/drawing/2014/main" id="{BC19750A-0414-9CCD-9607-CC951E16154B}"/>
              </a:ext>
            </a:extLst>
          </p:cNvPr>
          <p:cNvGrpSpPr/>
          <p:nvPr/>
        </p:nvGrpSpPr>
        <p:grpSpPr>
          <a:xfrm>
            <a:off x="8994674" y="1714045"/>
            <a:ext cx="2831679" cy="1568759"/>
            <a:chOff x="4008003" y="1135828"/>
            <a:chExt cx="3115252" cy="1725859"/>
          </a:xfrm>
          <a:solidFill>
            <a:schemeClr val="bg1"/>
          </a:solidFill>
        </p:grpSpPr>
        <p:pic>
          <p:nvPicPr>
            <p:cNvPr id="48" name="Picture 47" descr="A close up of a logo&#10;&#10;Description automatically generated">
              <a:extLst>
                <a:ext uri="{FF2B5EF4-FFF2-40B4-BE49-F238E27FC236}">
                  <a16:creationId xmlns:a16="http://schemas.microsoft.com/office/drawing/2014/main" id="{CBBDCB43-D96A-9A3B-964F-1D20E91C1630}"/>
                </a:ext>
              </a:extLst>
            </p:cNvPr>
            <p:cNvPicPr>
              <a:picLocks noChangeAspect="1"/>
            </p:cNvPicPr>
            <p:nvPr/>
          </p:nvPicPr>
          <p:blipFill>
            <a:blip r:embed="rId18"/>
            <a:stretch>
              <a:fillRect/>
            </a:stretch>
          </p:blipFill>
          <p:spPr>
            <a:xfrm>
              <a:off x="4033574" y="2420088"/>
              <a:ext cx="1648112" cy="441599"/>
            </a:xfrm>
            <a:prstGeom prst="rect">
              <a:avLst/>
            </a:prstGeom>
            <a:grpFill/>
          </p:spPr>
        </p:pic>
        <p:pic>
          <p:nvPicPr>
            <p:cNvPr id="50" name="Picture 49" descr="A close up of a sign&#10;&#10;Description automatically generated">
              <a:extLst>
                <a:ext uri="{FF2B5EF4-FFF2-40B4-BE49-F238E27FC236}">
                  <a16:creationId xmlns:a16="http://schemas.microsoft.com/office/drawing/2014/main" id="{8D9CE751-5AD0-6FB0-0C2C-71AC1ADD1BAF}"/>
                </a:ext>
              </a:extLst>
            </p:cNvPr>
            <p:cNvPicPr>
              <a:picLocks noChangeAspect="1"/>
            </p:cNvPicPr>
            <p:nvPr/>
          </p:nvPicPr>
          <p:blipFill>
            <a:blip r:embed="rId19"/>
            <a:stretch>
              <a:fillRect/>
            </a:stretch>
          </p:blipFill>
          <p:spPr>
            <a:xfrm>
              <a:off x="5699073" y="1539910"/>
              <a:ext cx="1040914" cy="465256"/>
            </a:xfrm>
            <a:prstGeom prst="rect">
              <a:avLst/>
            </a:prstGeom>
            <a:grpFill/>
          </p:spPr>
        </p:pic>
        <p:pic>
          <p:nvPicPr>
            <p:cNvPr id="52" name="Picture 51" descr="A white background with black text&#10;&#10;Description automatically generated">
              <a:extLst>
                <a:ext uri="{FF2B5EF4-FFF2-40B4-BE49-F238E27FC236}">
                  <a16:creationId xmlns:a16="http://schemas.microsoft.com/office/drawing/2014/main" id="{8BF1E30B-EEF3-FF04-566D-337D2A0C2885}"/>
                </a:ext>
              </a:extLst>
            </p:cNvPr>
            <p:cNvPicPr>
              <a:picLocks noChangeAspect="1"/>
            </p:cNvPicPr>
            <p:nvPr/>
          </p:nvPicPr>
          <p:blipFill>
            <a:blip r:embed="rId20"/>
            <a:stretch>
              <a:fillRect/>
            </a:stretch>
          </p:blipFill>
          <p:spPr>
            <a:xfrm>
              <a:off x="5765045" y="1942836"/>
              <a:ext cx="1088227" cy="481028"/>
            </a:xfrm>
            <a:prstGeom prst="rect">
              <a:avLst/>
            </a:prstGeom>
            <a:grpFill/>
          </p:spPr>
        </p:pic>
        <p:pic>
          <p:nvPicPr>
            <p:cNvPr id="54" name="Picture 53" descr="A black text on a white background&#10;&#10;Description automatically generated">
              <a:extLst>
                <a:ext uri="{FF2B5EF4-FFF2-40B4-BE49-F238E27FC236}">
                  <a16:creationId xmlns:a16="http://schemas.microsoft.com/office/drawing/2014/main" id="{24944424-9C50-2EF5-BD2D-33C383C9DACD}"/>
                </a:ext>
              </a:extLst>
            </p:cNvPr>
            <p:cNvPicPr>
              <a:picLocks noChangeAspect="1"/>
            </p:cNvPicPr>
            <p:nvPr/>
          </p:nvPicPr>
          <p:blipFill>
            <a:blip r:embed="rId21"/>
            <a:stretch>
              <a:fillRect/>
            </a:stretch>
          </p:blipFill>
          <p:spPr>
            <a:xfrm>
              <a:off x="4016696" y="1579047"/>
              <a:ext cx="1269598" cy="473142"/>
            </a:xfrm>
            <a:prstGeom prst="rect">
              <a:avLst/>
            </a:prstGeom>
            <a:grpFill/>
          </p:spPr>
        </p:pic>
        <p:pic>
          <p:nvPicPr>
            <p:cNvPr id="56" name="Picture 55" descr="A close up of a sign&#10;&#10;Description automatically generated">
              <a:extLst>
                <a:ext uri="{FF2B5EF4-FFF2-40B4-BE49-F238E27FC236}">
                  <a16:creationId xmlns:a16="http://schemas.microsoft.com/office/drawing/2014/main" id="{C49AEC27-87A0-F83D-8788-5553C6BA26D3}"/>
                </a:ext>
              </a:extLst>
            </p:cNvPr>
            <p:cNvPicPr>
              <a:picLocks noChangeAspect="1"/>
            </p:cNvPicPr>
            <p:nvPr/>
          </p:nvPicPr>
          <p:blipFill>
            <a:blip r:embed="rId22"/>
            <a:stretch>
              <a:fillRect/>
            </a:stretch>
          </p:blipFill>
          <p:spPr>
            <a:xfrm>
              <a:off x="4008003" y="1169722"/>
              <a:ext cx="1111884" cy="473142"/>
            </a:xfrm>
            <a:prstGeom prst="rect">
              <a:avLst/>
            </a:prstGeom>
            <a:grpFill/>
          </p:spPr>
        </p:pic>
        <p:pic>
          <p:nvPicPr>
            <p:cNvPr id="59" name="Picture 58" descr="A close up of a logo&#10;&#10;Description automatically generated">
              <a:extLst>
                <a:ext uri="{FF2B5EF4-FFF2-40B4-BE49-F238E27FC236}">
                  <a16:creationId xmlns:a16="http://schemas.microsoft.com/office/drawing/2014/main" id="{51CD5880-1F8F-5967-FA5D-2DB97018EF84}"/>
                </a:ext>
              </a:extLst>
            </p:cNvPr>
            <p:cNvPicPr>
              <a:picLocks noChangeAspect="1"/>
            </p:cNvPicPr>
            <p:nvPr/>
          </p:nvPicPr>
          <p:blipFill>
            <a:blip r:embed="rId23"/>
            <a:stretch>
              <a:fillRect/>
            </a:stretch>
          </p:blipFill>
          <p:spPr>
            <a:xfrm>
              <a:off x="5722405" y="2398367"/>
              <a:ext cx="969941" cy="433714"/>
            </a:xfrm>
            <a:prstGeom prst="rect">
              <a:avLst/>
            </a:prstGeom>
            <a:grpFill/>
          </p:spPr>
        </p:pic>
        <p:pic>
          <p:nvPicPr>
            <p:cNvPr id="61" name="Picture 60" descr="A black text on a white background&#10;&#10;Description automatically generated">
              <a:extLst>
                <a:ext uri="{FF2B5EF4-FFF2-40B4-BE49-F238E27FC236}">
                  <a16:creationId xmlns:a16="http://schemas.microsoft.com/office/drawing/2014/main" id="{790604FD-18A3-FD53-416D-6FEA7CE84353}"/>
                </a:ext>
              </a:extLst>
            </p:cNvPr>
            <p:cNvPicPr>
              <a:picLocks noChangeAspect="1"/>
            </p:cNvPicPr>
            <p:nvPr/>
          </p:nvPicPr>
          <p:blipFill>
            <a:blip r:embed="rId24"/>
            <a:stretch>
              <a:fillRect/>
            </a:stretch>
          </p:blipFill>
          <p:spPr>
            <a:xfrm>
              <a:off x="4033574" y="1983122"/>
              <a:ext cx="1435197" cy="402170"/>
            </a:xfrm>
            <a:prstGeom prst="rect">
              <a:avLst/>
            </a:prstGeom>
            <a:grpFill/>
          </p:spPr>
        </p:pic>
        <p:pic>
          <p:nvPicPr>
            <p:cNvPr id="63" name="Picture 62" descr="A close-up of a sign&#10;&#10;Description automatically generated">
              <a:extLst>
                <a:ext uri="{FF2B5EF4-FFF2-40B4-BE49-F238E27FC236}">
                  <a16:creationId xmlns:a16="http://schemas.microsoft.com/office/drawing/2014/main" id="{55C885C8-91E5-19CB-D42B-07FF7B672F49}"/>
                </a:ext>
              </a:extLst>
            </p:cNvPr>
            <p:cNvPicPr>
              <a:picLocks noChangeAspect="1"/>
            </p:cNvPicPr>
            <p:nvPr/>
          </p:nvPicPr>
          <p:blipFill>
            <a:blip r:embed="rId25"/>
            <a:stretch>
              <a:fillRect/>
            </a:stretch>
          </p:blipFill>
          <p:spPr>
            <a:xfrm>
              <a:off x="5700375" y="1135828"/>
              <a:ext cx="1422880" cy="461679"/>
            </a:xfrm>
            <a:prstGeom prst="rect">
              <a:avLst/>
            </a:prstGeom>
            <a:grpFill/>
          </p:spPr>
        </p:pic>
      </p:grpSp>
      <p:grpSp>
        <p:nvGrpSpPr>
          <p:cNvPr id="65" name="Group 64">
            <a:extLst>
              <a:ext uri="{FF2B5EF4-FFF2-40B4-BE49-F238E27FC236}">
                <a16:creationId xmlns:a16="http://schemas.microsoft.com/office/drawing/2014/main" id="{7986CBC3-C08A-EBC1-BC23-AA59220349FC}"/>
              </a:ext>
            </a:extLst>
          </p:cNvPr>
          <p:cNvGrpSpPr/>
          <p:nvPr/>
        </p:nvGrpSpPr>
        <p:grpSpPr>
          <a:xfrm>
            <a:off x="3562100" y="1831471"/>
            <a:ext cx="2698829" cy="1531749"/>
            <a:chOff x="3904385" y="3366963"/>
            <a:chExt cx="2969098" cy="1685142"/>
          </a:xfrm>
        </p:grpSpPr>
        <p:grpSp>
          <p:nvGrpSpPr>
            <p:cNvPr id="67" name="Group 66">
              <a:extLst>
                <a:ext uri="{FF2B5EF4-FFF2-40B4-BE49-F238E27FC236}">
                  <a16:creationId xmlns:a16="http://schemas.microsoft.com/office/drawing/2014/main" id="{47E8B55C-EF2A-7630-FB6A-BAA063CF5933}"/>
                </a:ext>
              </a:extLst>
            </p:cNvPr>
            <p:cNvGrpSpPr/>
            <p:nvPr/>
          </p:nvGrpSpPr>
          <p:grpSpPr>
            <a:xfrm>
              <a:off x="3904385" y="3366963"/>
              <a:ext cx="2969098" cy="1568237"/>
              <a:chOff x="3914571" y="3346402"/>
              <a:chExt cx="2969098" cy="1568237"/>
            </a:xfrm>
          </p:grpSpPr>
          <p:pic>
            <p:nvPicPr>
              <p:cNvPr id="72" name="Picture 71" descr="A close-up of a sign&#10;&#10;Description automatically generated">
                <a:extLst>
                  <a:ext uri="{FF2B5EF4-FFF2-40B4-BE49-F238E27FC236}">
                    <a16:creationId xmlns:a16="http://schemas.microsoft.com/office/drawing/2014/main" id="{E5ED9191-953B-DD36-0F93-A828CF782C15}"/>
                  </a:ext>
                </a:extLst>
              </p:cNvPr>
              <p:cNvPicPr>
                <a:picLocks noChangeAspect="1"/>
              </p:cNvPicPr>
              <p:nvPr/>
            </p:nvPicPr>
            <p:blipFill>
              <a:blip r:embed="rId26"/>
              <a:stretch>
                <a:fillRect/>
              </a:stretch>
            </p:blipFill>
            <p:spPr>
              <a:xfrm>
                <a:off x="3914571" y="4130547"/>
                <a:ext cx="1939653" cy="432815"/>
              </a:xfrm>
              <a:prstGeom prst="rect">
                <a:avLst/>
              </a:prstGeom>
            </p:spPr>
          </p:pic>
          <p:pic>
            <p:nvPicPr>
              <p:cNvPr id="74" name="Picture 73" descr="A close up of a logo&#10;&#10;Description automatically generated">
                <a:extLst>
                  <a:ext uri="{FF2B5EF4-FFF2-40B4-BE49-F238E27FC236}">
                    <a16:creationId xmlns:a16="http://schemas.microsoft.com/office/drawing/2014/main" id="{36179565-3C49-B677-334E-98965A34EF28}"/>
                  </a:ext>
                </a:extLst>
              </p:cNvPr>
              <p:cNvPicPr>
                <a:picLocks noChangeAspect="1"/>
              </p:cNvPicPr>
              <p:nvPr/>
            </p:nvPicPr>
            <p:blipFill>
              <a:blip r:embed="rId27"/>
              <a:stretch>
                <a:fillRect/>
              </a:stretch>
            </p:blipFill>
            <p:spPr>
              <a:xfrm>
                <a:off x="5621956" y="4102298"/>
                <a:ext cx="1261713" cy="408623"/>
              </a:xfrm>
              <a:prstGeom prst="rect">
                <a:avLst/>
              </a:prstGeom>
            </p:spPr>
          </p:pic>
          <p:pic>
            <p:nvPicPr>
              <p:cNvPr id="76" name="Picture 75" descr="A close-up of a sign&#10;&#10;Description automatically generated">
                <a:extLst>
                  <a:ext uri="{FF2B5EF4-FFF2-40B4-BE49-F238E27FC236}">
                    <a16:creationId xmlns:a16="http://schemas.microsoft.com/office/drawing/2014/main" id="{E5506C62-F16E-A491-5A4F-6BA862B4342B}"/>
                  </a:ext>
                </a:extLst>
              </p:cNvPr>
              <p:cNvPicPr>
                <a:picLocks noChangeAspect="1"/>
              </p:cNvPicPr>
              <p:nvPr/>
            </p:nvPicPr>
            <p:blipFill>
              <a:blip r:embed="rId28"/>
              <a:stretch>
                <a:fillRect/>
              </a:stretch>
            </p:blipFill>
            <p:spPr>
              <a:xfrm>
                <a:off x="5649209" y="3730992"/>
                <a:ext cx="1161349" cy="415791"/>
              </a:xfrm>
              <a:prstGeom prst="rect">
                <a:avLst/>
              </a:prstGeom>
            </p:spPr>
          </p:pic>
          <p:pic>
            <p:nvPicPr>
              <p:cNvPr id="78" name="Picture 77" descr="A close up of a sign&#10;&#10;Description automatically generated">
                <a:extLst>
                  <a:ext uri="{FF2B5EF4-FFF2-40B4-BE49-F238E27FC236}">
                    <a16:creationId xmlns:a16="http://schemas.microsoft.com/office/drawing/2014/main" id="{153CC2DE-A482-D4E1-C90B-548DBF4B23A7}"/>
                  </a:ext>
                </a:extLst>
              </p:cNvPr>
              <p:cNvPicPr>
                <a:picLocks noChangeAspect="1"/>
              </p:cNvPicPr>
              <p:nvPr/>
            </p:nvPicPr>
            <p:blipFill>
              <a:blip r:embed="rId29"/>
              <a:stretch>
                <a:fillRect/>
              </a:stretch>
            </p:blipFill>
            <p:spPr>
              <a:xfrm>
                <a:off x="3947314" y="3393386"/>
                <a:ext cx="1598646" cy="387116"/>
              </a:xfrm>
              <a:prstGeom prst="rect">
                <a:avLst/>
              </a:prstGeom>
            </p:spPr>
          </p:pic>
          <p:pic>
            <p:nvPicPr>
              <p:cNvPr id="80" name="Picture 79" descr="A close up of a button&#10;&#10;Description automatically generated">
                <a:extLst>
                  <a:ext uri="{FF2B5EF4-FFF2-40B4-BE49-F238E27FC236}">
                    <a16:creationId xmlns:a16="http://schemas.microsoft.com/office/drawing/2014/main" id="{EB24DF4A-9EA5-11D5-7C8D-34C90F4092A7}"/>
                  </a:ext>
                </a:extLst>
              </p:cNvPr>
              <p:cNvPicPr>
                <a:picLocks noChangeAspect="1"/>
              </p:cNvPicPr>
              <p:nvPr/>
            </p:nvPicPr>
            <p:blipFill rotWithShape="1">
              <a:blip r:embed="rId30"/>
              <a:srcRect b="14285"/>
              <a:stretch/>
            </p:blipFill>
            <p:spPr>
              <a:xfrm>
                <a:off x="3942298" y="3737495"/>
                <a:ext cx="1159815" cy="404065"/>
              </a:xfrm>
              <a:prstGeom prst="rect">
                <a:avLst/>
              </a:prstGeom>
            </p:spPr>
          </p:pic>
          <p:pic>
            <p:nvPicPr>
              <p:cNvPr id="82" name="Picture 81" descr="A close-up of a sign&#10;&#10;Description automatically generated">
                <a:extLst>
                  <a:ext uri="{FF2B5EF4-FFF2-40B4-BE49-F238E27FC236}">
                    <a16:creationId xmlns:a16="http://schemas.microsoft.com/office/drawing/2014/main" id="{E3CDF0C9-495A-209A-59B9-7D9BDFCEE584}"/>
                  </a:ext>
                </a:extLst>
              </p:cNvPr>
              <p:cNvPicPr>
                <a:picLocks noChangeAspect="1"/>
              </p:cNvPicPr>
              <p:nvPr/>
            </p:nvPicPr>
            <p:blipFill>
              <a:blip r:embed="rId31"/>
              <a:stretch>
                <a:fillRect/>
              </a:stretch>
            </p:blipFill>
            <p:spPr>
              <a:xfrm>
                <a:off x="5649209" y="4506016"/>
                <a:ext cx="1211531" cy="408623"/>
              </a:xfrm>
              <a:prstGeom prst="rect">
                <a:avLst/>
              </a:prstGeom>
            </p:spPr>
          </p:pic>
          <p:pic>
            <p:nvPicPr>
              <p:cNvPr id="84" name="Picture 83" descr="A close up of a sign&#10;&#10;Description automatically generated">
                <a:extLst>
                  <a:ext uri="{FF2B5EF4-FFF2-40B4-BE49-F238E27FC236}">
                    <a16:creationId xmlns:a16="http://schemas.microsoft.com/office/drawing/2014/main" id="{BB8437DA-2062-816A-89EB-C0DC76952494}"/>
                  </a:ext>
                </a:extLst>
              </p:cNvPr>
              <p:cNvPicPr>
                <a:picLocks noChangeAspect="1"/>
              </p:cNvPicPr>
              <p:nvPr/>
            </p:nvPicPr>
            <p:blipFill>
              <a:blip r:embed="rId32"/>
              <a:stretch>
                <a:fillRect/>
              </a:stretch>
            </p:blipFill>
            <p:spPr>
              <a:xfrm>
                <a:off x="5649209" y="3346402"/>
                <a:ext cx="974959" cy="415791"/>
              </a:xfrm>
              <a:prstGeom prst="rect">
                <a:avLst/>
              </a:prstGeom>
            </p:spPr>
          </p:pic>
        </p:grpSp>
        <p:pic>
          <p:nvPicPr>
            <p:cNvPr id="69" name="Picture 68" descr="A black text on a white background&#10;&#10;Description automatically generated">
              <a:extLst>
                <a:ext uri="{FF2B5EF4-FFF2-40B4-BE49-F238E27FC236}">
                  <a16:creationId xmlns:a16="http://schemas.microsoft.com/office/drawing/2014/main" id="{CB25056E-7AD6-EDE4-867A-7E819B28FF72}"/>
                </a:ext>
              </a:extLst>
            </p:cNvPr>
            <p:cNvPicPr>
              <a:picLocks noChangeAspect="1"/>
            </p:cNvPicPr>
            <p:nvPr/>
          </p:nvPicPr>
          <p:blipFill>
            <a:blip r:embed="rId33"/>
            <a:stretch>
              <a:fillRect/>
            </a:stretch>
          </p:blipFill>
          <p:spPr>
            <a:xfrm>
              <a:off x="3926744" y="4537183"/>
              <a:ext cx="1725836" cy="514922"/>
            </a:xfrm>
            <a:prstGeom prst="rect">
              <a:avLst/>
            </a:prstGeom>
          </p:spPr>
        </p:pic>
      </p:grpSp>
      <p:grpSp>
        <p:nvGrpSpPr>
          <p:cNvPr id="153" name="Group 152">
            <a:extLst>
              <a:ext uri="{FF2B5EF4-FFF2-40B4-BE49-F238E27FC236}">
                <a16:creationId xmlns:a16="http://schemas.microsoft.com/office/drawing/2014/main" id="{E2475359-51EA-E548-735C-DB5FF8C7AF55}"/>
              </a:ext>
            </a:extLst>
          </p:cNvPr>
          <p:cNvGrpSpPr/>
          <p:nvPr/>
        </p:nvGrpSpPr>
        <p:grpSpPr>
          <a:xfrm>
            <a:off x="6275128" y="1791515"/>
            <a:ext cx="2902320" cy="1571705"/>
            <a:chOff x="12506286" y="3381798"/>
            <a:chExt cx="5805396" cy="3143819"/>
          </a:xfrm>
          <a:solidFill>
            <a:schemeClr val="bg1"/>
          </a:solidFill>
        </p:grpSpPr>
        <p:grpSp>
          <p:nvGrpSpPr>
            <p:cNvPr id="2" name="Group 1">
              <a:extLst>
                <a:ext uri="{FF2B5EF4-FFF2-40B4-BE49-F238E27FC236}">
                  <a16:creationId xmlns:a16="http://schemas.microsoft.com/office/drawing/2014/main" id="{75CC353A-3E87-BF20-2DB3-13E721029CA8}"/>
                </a:ext>
              </a:extLst>
            </p:cNvPr>
            <p:cNvGrpSpPr/>
            <p:nvPr/>
          </p:nvGrpSpPr>
          <p:grpSpPr>
            <a:xfrm>
              <a:off x="12506286" y="3381798"/>
              <a:ext cx="5805396" cy="2384304"/>
              <a:chOff x="545222" y="1350721"/>
              <a:chExt cx="3352367" cy="1433545"/>
            </a:xfrm>
            <a:grpFill/>
          </p:grpSpPr>
          <p:pic>
            <p:nvPicPr>
              <p:cNvPr id="4" name="Picture 3" descr="A close-up of a logo&#10;&#10;Description automatically generated">
                <a:extLst>
                  <a:ext uri="{FF2B5EF4-FFF2-40B4-BE49-F238E27FC236}">
                    <a16:creationId xmlns:a16="http://schemas.microsoft.com/office/drawing/2014/main" id="{6157ED25-1AA1-D71C-7DB6-6A8E2D162B05}"/>
                  </a:ext>
                </a:extLst>
              </p:cNvPr>
              <p:cNvPicPr>
                <a:picLocks noChangeAspect="1"/>
              </p:cNvPicPr>
              <p:nvPr/>
            </p:nvPicPr>
            <p:blipFill>
              <a:blip r:embed="rId34"/>
              <a:stretch>
                <a:fillRect/>
              </a:stretch>
            </p:blipFill>
            <p:spPr>
              <a:xfrm>
                <a:off x="1952233" y="1782606"/>
                <a:ext cx="1909513" cy="475749"/>
              </a:xfrm>
              <a:prstGeom prst="rect">
                <a:avLst/>
              </a:prstGeom>
              <a:grpFill/>
            </p:spPr>
          </p:pic>
          <p:pic>
            <p:nvPicPr>
              <p:cNvPr id="6" name="Picture 5" descr="A close up of a sign&#10;&#10;Description automatically generated">
                <a:extLst>
                  <a:ext uri="{FF2B5EF4-FFF2-40B4-BE49-F238E27FC236}">
                    <a16:creationId xmlns:a16="http://schemas.microsoft.com/office/drawing/2014/main" id="{1A104CCF-E4C5-361F-7031-3CFA4445AB33}"/>
                  </a:ext>
                </a:extLst>
              </p:cNvPr>
              <p:cNvPicPr>
                <a:picLocks noChangeAspect="1"/>
              </p:cNvPicPr>
              <p:nvPr/>
            </p:nvPicPr>
            <p:blipFill>
              <a:blip r:embed="rId35"/>
              <a:stretch>
                <a:fillRect/>
              </a:stretch>
            </p:blipFill>
            <p:spPr>
              <a:xfrm>
                <a:off x="1954485" y="1350721"/>
                <a:ext cx="1238251" cy="462715"/>
              </a:xfrm>
              <a:prstGeom prst="rect">
                <a:avLst/>
              </a:prstGeom>
              <a:grpFill/>
            </p:spPr>
          </p:pic>
          <p:pic>
            <p:nvPicPr>
              <p:cNvPr id="9" name="Picture 8" descr="A close up of a box&#10;&#10;Description automatically generated">
                <a:extLst>
                  <a:ext uri="{FF2B5EF4-FFF2-40B4-BE49-F238E27FC236}">
                    <a16:creationId xmlns:a16="http://schemas.microsoft.com/office/drawing/2014/main" id="{9105AAB1-CD8A-56BB-1E6E-9AB5951DFD97}"/>
                  </a:ext>
                </a:extLst>
              </p:cNvPr>
              <p:cNvPicPr>
                <a:picLocks noChangeAspect="1"/>
              </p:cNvPicPr>
              <p:nvPr/>
            </p:nvPicPr>
            <p:blipFill>
              <a:blip r:embed="rId36"/>
              <a:stretch>
                <a:fillRect/>
              </a:stretch>
            </p:blipFill>
            <p:spPr>
              <a:xfrm>
                <a:off x="545222" y="1821709"/>
                <a:ext cx="1173078" cy="436646"/>
              </a:xfrm>
              <a:prstGeom prst="rect">
                <a:avLst/>
              </a:prstGeom>
              <a:grpFill/>
            </p:spPr>
          </p:pic>
          <p:pic>
            <p:nvPicPr>
              <p:cNvPr id="10" name="Picture 9" descr="A black text on a white background&#10;&#10;Description automatically generated">
                <a:extLst>
                  <a:ext uri="{FF2B5EF4-FFF2-40B4-BE49-F238E27FC236}">
                    <a16:creationId xmlns:a16="http://schemas.microsoft.com/office/drawing/2014/main" id="{DB513AAF-BA8A-A90D-AF09-C9D74170ECFB}"/>
                  </a:ext>
                </a:extLst>
              </p:cNvPr>
              <p:cNvPicPr>
                <a:picLocks noChangeAspect="1"/>
              </p:cNvPicPr>
              <p:nvPr/>
            </p:nvPicPr>
            <p:blipFill>
              <a:blip r:embed="rId37"/>
              <a:stretch>
                <a:fillRect/>
              </a:stretch>
            </p:blipFill>
            <p:spPr>
              <a:xfrm>
                <a:off x="571735" y="1408853"/>
                <a:ext cx="1270837" cy="436646"/>
              </a:xfrm>
              <a:prstGeom prst="rect">
                <a:avLst/>
              </a:prstGeom>
              <a:grpFill/>
            </p:spPr>
          </p:pic>
          <p:pic>
            <p:nvPicPr>
              <p:cNvPr id="11" name="Picture 10" descr="A close up of a logo&#10;&#10;Description automatically generated">
                <a:extLst>
                  <a:ext uri="{FF2B5EF4-FFF2-40B4-BE49-F238E27FC236}">
                    <a16:creationId xmlns:a16="http://schemas.microsoft.com/office/drawing/2014/main" id="{D45721C3-0FFB-10BE-A5D1-6700D3949B21}"/>
                  </a:ext>
                </a:extLst>
              </p:cNvPr>
              <p:cNvPicPr>
                <a:picLocks noChangeAspect="1"/>
              </p:cNvPicPr>
              <p:nvPr/>
            </p:nvPicPr>
            <p:blipFill>
              <a:blip r:embed="rId38"/>
              <a:stretch>
                <a:fillRect/>
              </a:stretch>
            </p:blipFill>
            <p:spPr>
              <a:xfrm>
                <a:off x="545222" y="2238544"/>
                <a:ext cx="1873642" cy="545722"/>
              </a:xfrm>
              <a:prstGeom prst="rect">
                <a:avLst/>
              </a:prstGeom>
              <a:grpFill/>
            </p:spPr>
          </p:pic>
          <p:pic>
            <p:nvPicPr>
              <p:cNvPr id="12" name="Picture 11" descr="A black text on a white background&#10;&#10;Description automatically generated">
                <a:extLst>
                  <a:ext uri="{FF2B5EF4-FFF2-40B4-BE49-F238E27FC236}">
                    <a16:creationId xmlns:a16="http://schemas.microsoft.com/office/drawing/2014/main" id="{624AA552-A3CE-C4AC-FC0A-FA8DB9ABC7A7}"/>
                  </a:ext>
                </a:extLst>
              </p:cNvPr>
              <p:cNvPicPr>
                <a:picLocks noChangeAspect="1"/>
              </p:cNvPicPr>
              <p:nvPr/>
            </p:nvPicPr>
            <p:blipFill>
              <a:blip r:embed="rId39"/>
              <a:stretch>
                <a:fillRect/>
              </a:stretch>
            </p:blipFill>
            <p:spPr>
              <a:xfrm>
                <a:off x="1916388" y="2185436"/>
                <a:ext cx="1981201" cy="475749"/>
              </a:xfrm>
              <a:prstGeom prst="rect">
                <a:avLst/>
              </a:prstGeom>
              <a:grpFill/>
            </p:spPr>
          </p:pic>
        </p:grpSp>
        <p:pic>
          <p:nvPicPr>
            <p:cNvPr id="137" name="Picture 136" descr="A close up of a word&#10;&#10;Description automatically generated">
              <a:extLst>
                <a:ext uri="{FF2B5EF4-FFF2-40B4-BE49-F238E27FC236}">
                  <a16:creationId xmlns:a16="http://schemas.microsoft.com/office/drawing/2014/main" id="{B68442D8-73AD-7CCD-691F-1044CB1E000D}"/>
                </a:ext>
              </a:extLst>
            </p:cNvPr>
            <p:cNvPicPr>
              <a:picLocks noChangeAspect="1"/>
            </p:cNvPicPr>
            <p:nvPr/>
          </p:nvPicPr>
          <p:blipFill>
            <a:blip r:embed="rId40"/>
            <a:stretch>
              <a:fillRect/>
            </a:stretch>
          </p:blipFill>
          <p:spPr>
            <a:xfrm>
              <a:off x="12506286" y="5762975"/>
              <a:ext cx="2994494" cy="762642"/>
            </a:xfrm>
            <a:prstGeom prst="rect">
              <a:avLst/>
            </a:prstGeom>
            <a:grpFill/>
          </p:spPr>
        </p:pic>
      </p:grpSp>
      <p:sp>
        <p:nvSpPr>
          <p:cNvPr id="140" name="TextBox 139">
            <a:extLst>
              <a:ext uri="{FF2B5EF4-FFF2-40B4-BE49-F238E27FC236}">
                <a16:creationId xmlns:a16="http://schemas.microsoft.com/office/drawing/2014/main" id="{6F8CD943-9685-55B6-8863-510995948574}"/>
              </a:ext>
            </a:extLst>
          </p:cNvPr>
          <p:cNvSpPr txBox="1"/>
          <p:nvPr/>
        </p:nvSpPr>
        <p:spPr>
          <a:xfrm>
            <a:off x="7833301" y="3626519"/>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188" marR="0" lvl="0" indent="-223330" algn="l" defTabSz="1218956" rtl="0" eaLnBrk="1" fontAlgn="auto" latinLnBrk="0" hangingPunct="1">
              <a:lnSpc>
                <a:spcPct val="100000"/>
              </a:lnSpc>
              <a:spcBef>
                <a:spcPts val="1450"/>
              </a:spcBef>
              <a:spcAft>
                <a:spcPts val="0"/>
              </a:spcAft>
              <a:buClrTx/>
              <a:buSzPct val="100000"/>
              <a:buFontTx/>
              <a:buChar char="–"/>
              <a:tabLst/>
              <a:defRPr/>
            </a:pPr>
            <a:endParaRPr kumimoji="0" lang="en-US" sz="18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183" name="TextBox 182">
            <a:extLst>
              <a:ext uri="{FF2B5EF4-FFF2-40B4-BE49-F238E27FC236}">
                <a16:creationId xmlns:a16="http://schemas.microsoft.com/office/drawing/2014/main" id="{A81335C6-C8B9-BB2B-8B39-BCFCBE6F03EA}"/>
              </a:ext>
            </a:extLst>
          </p:cNvPr>
          <p:cNvSpPr txBox="1"/>
          <p:nvPr/>
        </p:nvSpPr>
        <p:spPr>
          <a:xfrm>
            <a:off x="409190" y="4352035"/>
            <a:ext cx="2439537" cy="2826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0" marR="0" lvl="0" indent="0" algn="l" defTabSz="1218956" rtl="0" eaLnBrk="1" fontAlgn="auto" latinLnBrk="0" hangingPunct="1">
              <a:lnSpc>
                <a:spcPct val="100000"/>
              </a:lnSpc>
              <a:spcBef>
                <a:spcPts val="1450"/>
              </a:spcBef>
              <a:spcAft>
                <a:spcPts val="0"/>
              </a:spcAft>
              <a:buClrTx/>
              <a:buSzPct val="100000"/>
              <a:buFontTx/>
              <a:buNone/>
              <a:tabLst/>
              <a:defRPr/>
            </a:pPr>
            <a:r>
              <a:rPr kumimoji="0" lang="en-US" sz="1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Schedule Interview</a:t>
            </a:r>
          </a:p>
        </p:txBody>
      </p:sp>
    </p:spTree>
    <p:extLst>
      <p:ext uri="{BB962C8B-B14F-4D97-AF65-F5344CB8AC3E}">
        <p14:creationId xmlns:p14="http://schemas.microsoft.com/office/powerpoint/2010/main" val="3332509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0.00124 0.02951 L 0.07395 0.33981 " pathEditMode="relative" rAng="0" ptsTypes="AA">
                                      <p:cBhvr>
                                        <p:cTn id="6" dur="2000" fill="hold"/>
                                        <p:tgtEl>
                                          <p:spTgt spid="152"/>
                                        </p:tgtEl>
                                        <p:attrNameLst>
                                          <p:attrName>ppt_x</p:attrName>
                                          <p:attrName>ppt_y</p:attrName>
                                        </p:attrNameLst>
                                      </p:cBhvr>
                                      <p:rCtr x="3632" y="15509"/>
                                    </p:animMotion>
                                  </p:childTnLst>
                                </p:cTn>
                              </p:par>
                              <p:par>
                                <p:cTn id="7" presetID="0" presetClass="path" presetSubtype="0" accel="50000" decel="50000" fill="hold" nodeType="withEffect">
                                  <p:stCondLst>
                                    <p:cond delay="0"/>
                                  </p:stCondLst>
                                  <p:childTnLst>
                                    <p:animMotion origin="layout" path="M 0.00117 0.03183 L 0.12316 0.34282 " pathEditMode="relative" rAng="0" ptsTypes="AA">
                                      <p:cBhvr>
                                        <p:cTn id="8" dur="2000" fill="hold"/>
                                        <p:tgtEl>
                                          <p:spTgt spid="150"/>
                                        </p:tgtEl>
                                        <p:attrNameLst>
                                          <p:attrName>ppt_x</p:attrName>
                                          <p:attrName>ppt_y</p:attrName>
                                        </p:attrNameLst>
                                      </p:cBhvr>
                                      <p:rCtr x="6099" y="15544"/>
                                    </p:animMotion>
                                  </p:childTnLst>
                                </p:cTn>
                              </p:par>
                              <p:par>
                                <p:cTn id="9" presetID="0" presetClass="path" presetSubtype="0" accel="50000" decel="50000" fill="hold" nodeType="withEffect">
                                  <p:stCondLst>
                                    <p:cond delay="0"/>
                                  </p:stCondLst>
                                  <p:childTnLst>
                                    <p:animMotion origin="layout" path="M -0.00267 0.02708 L -0.08098 0.2941 " pathEditMode="relative" rAng="0" ptsTypes="AA">
                                      <p:cBhvr>
                                        <p:cTn id="10" dur="2000" fill="hold"/>
                                        <p:tgtEl>
                                          <p:spTgt spid="148"/>
                                        </p:tgtEl>
                                        <p:attrNameLst>
                                          <p:attrName>ppt_x</p:attrName>
                                          <p:attrName>ppt_y</p:attrName>
                                        </p:attrNameLst>
                                      </p:cBhvr>
                                      <p:rCtr x="-3919" y="13345"/>
                                    </p:animMotion>
                                  </p:childTnLst>
                                </p:cTn>
                              </p:par>
                              <p:par>
                                <p:cTn id="11" presetID="0" presetClass="path" presetSubtype="0" accel="50000" decel="50000" fill="hold" nodeType="withEffect">
                                  <p:stCondLst>
                                    <p:cond delay="0"/>
                                  </p:stCondLst>
                                  <p:childTnLst>
                                    <p:animMotion origin="layout" path="M 9.85549E-7 0.03368 L 0.0554 0.2838 " pathEditMode="relative" rAng="0" ptsTypes="AA">
                                      <p:cBhvr>
                                        <p:cTn id="12" dur="2000" fill="hold"/>
                                        <p:tgtEl>
                                          <p:spTgt spid="144"/>
                                        </p:tgtEl>
                                        <p:attrNameLst>
                                          <p:attrName>ppt_x</p:attrName>
                                          <p:attrName>ppt_y</p:attrName>
                                        </p:attrNameLst>
                                      </p:cBhvr>
                                      <p:rCtr x="2767" y="12500"/>
                                    </p:animMotion>
                                  </p:childTnLst>
                                </p:cTn>
                              </p:par>
                              <p:par>
                                <p:cTn id="13" presetID="0" presetClass="path" presetSubtype="0" accel="50000" decel="50000" fill="hold" nodeType="withEffect">
                                  <p:stCondLst>
                                    <p:cond delay="0"/>
                                  </p:stCondLst>
                                  <p:childTnLst>
                                    <p:animMotion origin="layout" path="M 0.00039 0.03125 L 0.02539 0.30972 " pathEditMode="relative" rAng="0" ptsTypes="AA">
                                      <p:cBhvr>
                                        <p:cTn id="14" dur="2000" fill="hold"/>
                                        <p:tgtEl>
                                          <p:spTgt spid="142"/>
                                        </p:tgtEl>
                                        <p:attrNameLst>
                                          <p:attrName>ppt_x</p:attrName>
                                          <p:attrName>ppt_y</p:attrName>
                                        </p:attrNameLst>
                                      </p:cBhvr>
                                      <p:rCtr x="1250" y="13924"/>
                                    </p:animMotion>
                                  </p:childTnLst>
                                </p:cTn>
                              </p:par>
                              <p:par>
                                <p:cTn id="15" presetID="1" presetClass="entr" presetSubtype="0" fill="hold" nodeType="withEffect">
                                  <p:stCondLst>
                                    <p:cond delay="0"/>
                                  </p:stCondLst>
                                  <p:childTnLst>
                                    <p:set>
                                      <p:cBhvr>
                                        <p:cTn id="16" dur="1" fill="hold">
                                          <p:stCondLst>
                                            <p:cond delay="0"/>
                                          </p:stCondLst>
                                        </p:cTn>
                                        <p:tgtEl>
                                          <p:spTgt spid="182"/>
                                        </p:tgtEl>
                                        <p:attrNameLst>
                                          <p:attrName>style.visibility</p:attrName>
                                        </p:attrNameLst>
                                      </p:cBhvr>
                                      <p:to>
                                        <p:strVal val="visible"/>
                                      </p:to>
                                    </p:set>
                                  </p:childTnLst>
                                </p:cTn>
                              </p:par>
                            </p:childTnLst>
                          </p:cTn>
                        </p:par>
                        <p:par>
                          <p:cTn id="17" fill="hold">
                            <p:stCondLst>
                              <p:cond delay="2000"/>
                            </p:stCondLst>
                            <p:childTnLst>
                              <p:par>
                                <p:cTn id="18" presetID="1" presetClass="entr" presetSubtype="0" fill="hold" grpId="0" nodeType="afterEffect">
                                  <p:stCondLst>
                                    <p:cond delay="0"/>
                                  </p:stCondLst>
                                  <p:childTnLst>
                                    <p:set>
                                      <p:cBhvr>
                                        <p:cTn id="19" dur="1" fill="hold">
                                          <p:stCondLst>
                                            <p:cond delay="0"/>
                                          </p:stCondLst>
                                        </p:cTn>
                                        <p:tgtEl>
                                          <p:spTgt spid="1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F005E-30B1-FE95-E47D-6CE14D314C91}"/>
              </a:ext>
            </a:extLst>
          </p:cNvPr>
          <p:cNvSpPr>
            <a:spLocks noGrp="1"/>
          </p:cNvSpPr>
          <p:nvPr>
            <p:ph type="title"/>
          </p:nvPr>
        </p:nvSpPr>
        <p:spPr>
          <a:xfrm>
            <a:off x="287998" y="288036"/>
            <a:ext cx="4330452" cy="762794"/>
          </a:xfrm>
        </p:spPr>
        <p:txBody>
          <a:bodyPr/>
          <a:lstStyle/>
          <a:p>
            <a:r>
              <a:rPr lang="en-US" sz="2200" b="1" dirty="0">
                <a:solidFill>
                  <a:srgbClr val="000000"/>
                </a:solidFill>
              </a:rPr>
              <a:t>Transformation Drivers</a:t>
            </a:r>
          </a:p>
        </p:txBody>
      </p:sp>
      <p:sp>
        <p:nvSpPr>
          <p:cNvPr id="3" name="Text Placeholder 6">
            <a:extLst>
              <a:ext uri="{FF2B5EF4-FFF2-40B4-BE49-F238E27FC236}">
                <a16:creationId xmlns:a16="http://schemas.microsoft.com/office/drawing/2014/main" id="{4AAFE7BB-84B9-CC6E-EAE2-B21F4A2DF397}"/>
              </a:ext>
            </a:extLst>
          </p:cNvPr>
          <p:cNvSpPr txBox="1">
            <a:spLocks/>
          </p:cNvSpPr>
          <p:nvPr/>
        </p:nvSpPr>
        <p:spPr>
          <a:xfrm>
            <a:off x="303295" y="738874"/>
            <a:ext cx="2761890" cy="978940"/>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l" defTabSz="914507"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Light"/>
                <a:ea typeface="+mn-ea"/>
                <a:cs typeface="+mn-cs"/>
              </a:rPr>
              <a:t>Internal and external pressures have created forces for change in HR functions worldwide.</a:t>
            </a:r>
          </a:p>
        </p:txBody>
      </p:sp>
      <p:sp>
        <p:nvSpPr>
          <p:cNvPr id="8" name="Oval 7">
            <a:extLst>
              <a:ext uri="{FF2B5EF4-FFF2-40B4-BE49-F238E27FC236}">
                <a16:creationId xmlns:a16="http://schemas.microsoft.com/office/drawing/2014/main" id="{A8EFF192-5C76-9288-1A8B-7A821EA911D9}"/>
              </a:ext>
            </a:extLst>
          </p:cNvPr>
          <p:cNvSpPr/>
          <p:nvPr/>
        </p:nvSpPr>
        <p:spPr bwMode="auto">
          <a:xfrm>
            <a:off x="4618450" y="1228344"/>
            <a:ext cx="2953512" cy="2953512"/>
          </a:xfrm>
          <a:prstGeom prst="ellipse">
            <a:avLst/>
          </a:prstGeom>
          <a:noFill/>
          <a:ln w="25400">
            <a:solidFill>
              <a:srgbClr val="0E61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000000"/>
                </a:solidFill>
                <a:effectLst/>
                <a:uLnTx/>
                <a:uFillTx/>
                <a:latin typeface="IBM Plex Sans Light"/>
                <a:ea typeface="+mn-ea"/>
                <a:cs typeface="+mn-cs"/>
              </a:rPr>
              <a:t>HR Transformation</a:t>
            </a:r>
          </a:p>
        </p:txBody>
      </p:sp>
      <p:sp>
        <p:nvSpPr>
          <p:cNvPr id="7" name="Slide Number Placeholder 3">
            <a:extLst>
              <a:ext uri="{FF2B5EF4-FFF2-40B4-BE49-F238E27FC236}">
                <a16:creationId xmlns:a16="http://schemas.microsoft.com/office/drawing/2014/main" id="{137D2AFE-DD52-5BB7-BAE2-DCB4C1F337FE}"/>
              </a:ext>
            </a:extLst>
          </p:cNvPr>
          <p:cNvSpPr>
            <a:spLocks noGrp="1"/>
          </p:cNvSpPr>
          <p:nvPr>
            <p:ph type="sldNum" sz="quarter" idx="4"/>
          </p:nvPr>
        </p:nvSpPr>
        <p:spPr>
          <a:xfrm>
            <a:off x="5927529" y="2873753"/>
            <a:ext cx="24046" cy="123111"/>
          </a:xfrm>
        </p:spPr>
        <p:txBody>
          <a:bodyPr/>
          <a:lstStyle/>
          <a:p>
            <a:pPr marL="0" marR="0" lvl="0" indent="0" algn="r" defTabSz="91450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IBM Plex Sans"/>
              </a:rPr>
              <a:t> </a:t>
            </a:r>
          </a:p>
        </p:txBody>
      </p:sp>
      <p:sp>
        <p:nvSpPr>
          <p:cNvPr id="6" name="Footer Placeholder 6">
            <a:extLst>
              <a:ext uri="{FF2B5EF4-FFF2-40B4-BE49-F238E27FC236}">
                <a16:creationId xmlns:a16="http://schemas.microsoft.com/office/drawing/2014/main" id="{9484CDF4-E950-CDBE-7641-B94F908DF982}"/>
              </a:ext>
            </a:extLst>
          </p:cNvPr>
          <p:cNvSpPr txBox="1">
            <a:spLocks/>
          </p:cNvSpPr>
          <p:nvPr/>
        </p:nvSpPr>
        <p:spPr>
          <a:xfrm>
            <a:off x="181655" y="6433297"/>
            <a:ext cx="2763478" cy="247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IBM HR</a:t>
            </a:r>
          </a:p>
        </p:txBody>
      </p:sp>
      <p:cxnSp>
        <p:nvCxnSpPr>
          <p:cNvPr id="14" name="Straight Arrow Connector 13">
            <a:extLst>
              <a:ext uri="{FF2B5EF4-FFF2-40B4-BE49-F238E27FC236}">
                <a16:creationId xmlns:a16="http://schemas.microsoft.com/office/drawing/2014/main" id="{B41464C3-5F13-F38C-6BD2-1E7DB821B867}"/>
              </a:ext>
            </a:extLst>
          </p:cNvPr>
          <p:cNvCxnSpPr>
            <a:cxnSpLocks/>
          </p:cNvCxnSpPr>
          <p:nvPr/>
        </p:nvCxnSpPr>
        <p:spPr bwMode="auto">
          <a:xfrm>
            <a:off x="3937000" y="2626269"/>
            <a:ext cx="681450" cy="0"/>
          </a:xfrm>
          <a:prstGeom prst="straightConnector1">
            <a:avLst/>
          </a:prstGeom>
          <a:ln w="38100">
            <a:solidFill>
              <a:srgbClr val="0E61FF"/>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5" name="Straight Arrow Connector 14">
            <a:extLst>
              <a:ext uri="{FF2B5EF4-FFF2-40B4-BE49-F238E27FC236}">
                <a16:creationId xmlns:a16="http://schemas.microsoft.com/office/drawing/2014/main" id="{E737407D-C79F-132C-3CDD-ADFB74884EF6}"/>
              </a:ext>
            </a:extLst>
          </p:cNvPr>
          <p:cNvCxnSpPr>
            <a:cxnSpLocks/>
          </p:cNvCxnSpPr>
          <p:nvPr/>
        </p:nvCxnSpPr>
        <p:spPr bwMode="auto">
          <a:xfrm flipH="1">
            <a:off x="7571962" y="2648411"/>
            <a:ext cx="683038" cy="0"/>
          </a:xfrm>
          <a:prstGeom prst="straightConnector1">
            <a:avLst/>
          </a:prstGeom>
          <a:ln w="38100">
            <a:solidFill>
              <a:srgbClr val="0E61FF"/>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640F56BE-29C3-7971-2231-B550B202B990}"/>
              </a:ext>
            </a:extLst>
          </p:cNvPr>
          <p:cNvCxnSpPr>
            <a:cxnSpLocks/>
          </p:cNvCxnSpPr>
          <p:nvPr/>
        </p:nvCxnSpPr>
        <p:spPr bwMode="auto">
          <a:xfrm flipV="1">
            <a:off x="6095206" y="4181856"/>
            <a:ext cx="0" cy="682244"/>
          </a:xfrm>
          <a:prstGeom prst="straightConnector1">
            <a:avLst/>
          </a:prstGeom>
          <a:ln w="38100">
            <a:solidFill>
              <a:srgbClr val="0E61FF"/>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32" name="TextBox 31">
            <a:extLst>
              <a:ext uri="{FF2B5EF4-FFF2-40B4-BE49-F238E27FC236}">
                <a16:creationId xmlns:a16="http://schemas.microsoft.com/office/drawing/2014/main" id="{A6C4670F-1048-E56F-E673-C2249331E24A}"/>
              </a:ext>
            </a:extLst>
          </p:cNvPr>
          <p:cNvSpPr txBox="1"/>
          <p:nvPr/>
        </p:nvSpPr>
        <p:spPr>
          <a:xfrm>
            <a:off x="1511919" y="2414776"/>
            <a:ext cx="2298700" cy="91795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2200" b="1" i="0" u="none" strike="noStrike" kern="0" cap="none" spc="0" normalizeH="0" baseline="0" noProof="0" dirty="0">
                <a:ln>
                  <a:noFill/>
                </a:ln>
                <a:solidFill>
                  <a:srgbClr val="000000"/>
                </a:solidFill>
                <a:effectLst/>
                <a:uLnTx/>
                <a:uFillTx/>
                <a:latin typeface="IBM Plex Sans Light"/>
                <a:ea typeface="+mn-ea"/>
                <a:cs typeface="+mn-cs"/>
                <a:sym typeface="IBM Plex Sans Light"/>
              </a:rPr>
              <a:t>Cost Efficiencies</a:t>
            </a:r>
          </a:p>
        </p:txBody>
      </p:sp>
      <p:sp>
        <p:nvSpPr>
          <p:cNvPr id="33" name="TextBox 32">
            <a:extLst>
              <a:ext uri="{FF2B5EF4-FFF2-40B4-BE49-F238E27FC236}">
                <a16:creationId xmlns:a16="http://schemas.microsoft.com/office/drawing/2014/main" id="{BEE189BE-EA63-810C-7583-D91760E89732}"/>
              </a:ext>
            </a:extLst>
          </p:cNvPr>
          <p:cNvSpPr txBox="1"/>
          <p:nvPr/>
        </p:nvSpPr>
        <p:spPr>
          <a:xfrm>
            <a:off x="8253412" y="2414775"/>
            <a:ext cx="2298700" cy="91795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2200" b="1" i="0" u="none" strike="noStrike" kern="0" cap="none" spc="0" normalizeH="0" baseline="0" noProof="0" dirty="0">
                <a:ln>
                  <a:noFill/>
                </a:ln>
                <a:solidFill>
                  <a:srgbClr val="000000"/>
                </a:solidFill>
                <a:effectLst/>
                <a:uLnTx/>
                <a:uFillTx/>
                <a:latin typeface="IBM Plex Sans Light"/>
                <a:ea typeface="+mn-ea"/>
                <a:cs typeface="+mn-cs"/>
                <a:sym typeface="IBM Plex Sans Light"/>
              </a:rPr>
              <a:t>Compliance</a:t>
            </a:r>
          </a:p>
        </p:txBody>
      </p:sp>
      <p:sp>
        <p:nvSpPr>
          <p:cNvPr id="34" name="TextBox 33">
            <a:extLst>
              <a:ext uri="{FF2B5EF4-FFF2-40B4-BE49-F238E27FC236}">
                <a16:creationId xmlns:a16="http://schemas.microsoft.com/office/drawing/2014/main" id="{63AFCA85-49AF-0460-49C7-7E3ADFA91058}"/>
              </a:ext>
            </a:extLst>
          </p:cNvPr>
          <p:cNvSpPr txBox="1"/>
          <p:nvPr/>
        </p:nvSpPr>
        <p:spPr>
          <a:xfrm>
            <a:off x="4945856" y="5032423"/>
            <a:ext cx="2298700" cy="91795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0" marR="0" lvl="0" indent="0" algn="ctr" defTabSz="2438400" rtl="0" eaLnBrk="1" fontAlgn="auto" latinLnBrk="0" hangingPunct="1">
              <a:lnSpc>
                <a:spcPct val="100000"/>
              </a:lnSpc>
              <a:spcBef>
                <a:spcPts val="2900"/>
              </a:spcBef>
              <a:spcAft>
                <a:spcPts val="0"/>
              </a:spcAft>
              <a:buClrTx/>
              <a:buSzPct val="100000"/>
              <a:buFontTx/>
              <a:buNone/>
              <a:tabLst/>
              <a:defRPr/>
            </a:pPr>
            <a:r>
              <a:rPr kumimoji="0" lang="en-US" sz="2200" b="1" i="0" u="none" strike="noStrike" kern="0" cap="none" spc="0" normalizeH="0" baseline="0" noProof="0" dirty="0">
                <a:ln>
                  <a:noFill/>
                </a:ln>
                <a:solidFill>
                  <a:srgbClr val="000000"/>
                </a:solidFill>
                <a:effectLst/>
                <a:uLnTx/>
                <a:uFillTx/>
                <a:latin typeface="IBM Plex Sans Light"/>
                <a:ea typeface="+mn-ea"/>
                <a:cs typeface="+mn-cs"/>
                <a:sym typeface="IBM Plex Sans Light"/>
              </a:rPr>
              <a:t>Consumer-grade Experiences</a:t>
            </a:r>
          </a:p>
        </p:txBody>
      </p:sp>
      <p:sp>
        <p:nvSpPr>
          <p:cNvPr id="37" name="TextBox 36">
            <a:extLst>
              <a:ext uri="{FF2B5EF4-FFF2-40B4-BE49-F238E27FC236}">
                <a16:creationId xmlns:a16="http://schemas.microsoft.com/office/drawing/2014/main" id="{870B8575-4A83-4566-94E2-752FF67D961D}"/>
              </a:ext>
            </a:extLst>
          </p:cNvPr>
          <p:cNvSpPr txBox="1"/>
          <p:nvPr/>
        </p:nvSpPr>
        <p:spPr>
          <a:xfrm>
            <a:off x="1511919" y="2831944"/>
            <a:ext cx="2761890" cy="58064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261585" marR="0" lvl="0" indent="-263869" algn="l" defTabSz="2438400" rtl="0" eaLnBrk="1" fontAlgn="auto" latinLnBrk="0" hangingPunct="1">
              <a:lnSpc>
                <a:spcPct val="100000"/>
              </a:lnSpc>
              <a:spcBef>
                <a:spcPts val="1700"/>
              </a:spcBef>
              <a:spcAft>
                <a:spcPts val="0"/>
              </a:spcAft>
              <a:buClrTx/>
              <a:buSzPct val="100000"/>
              <a:buFontTx/>
              <a:buChar char="–"/>
              <a:tabLst/>
              <a:defRPr/>
            </a:pPr>
            <a:r>
              <a:rPr kumimoji="0" lang="en-US" sz="16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Economic conditions</a:t>
            </a:r>
          </a:p>
          <a:p>
            <a:pPr marL="265176" marR="0" lvl="0" indent="-265176" algn="l" defTabSz="2438400" rtl="0" eaLnBrk="1" fontAlgn="auto" latinLnBrk="0" hangingPunct="1">
              <a:lnSpc>
                <a:spcPct val="100000"/>
              </a:lnSpc>
              <a:spcBef>
                <a:spcPts val="0"/>
              </a:spcBef>
              <a:spcAft>
                <a:spcPts val="0"/>
              </a:spcAft>
              <a:buClrTx/>
              <a:buSzPct val="100000"/>
              <a:buFontTx/>
              <a:buChar char="–"/>
              <a:tabLst/>
              <a:defRPr/>
            </a:pPr>
            <a:r>
              <a:rPr kumimoji="0" lang="en-US" sz="16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Return on investment</a:t>
            </a:r>
          </a:p>
        </p:txBody>
      </p:sp>
      <p:sp>
        <p:nvSpPr>
          <p:cNvPr id="38" name="TextBox 37">
            <a:extLst>
              <a:ext uri="{FF2B5EF4-FFF2-40B4-BE49-F238E27FC236}">
                <a16:creationId xmlns:a16="http://schemas.microsoft.com/office/drawing/2014/main" id="{4ED5243F-C7DA-CA90-9D12-5920A64805D9}"/>
              </a:ext>
            </a:extLst>
          </p:cNvPr>
          <p:cNvSpPr txBox="1"/>
          <p:nvPr/>
        </p:nvSpPr>
        <p:spPr>
          <a:xfrm>
            <a:off x="8253412" y="2831944"/>
            <a:ext cx="2761890" cy="58064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261585" marR="0" lvl="0" indent="-263869" algn="l" defTabSz="2438400" rtl="0" eaLnBrk="1" fontAlgn="auto" latinLnBrk="0" hangingPunct="1">
              <a:lnSpc>
                <a:spcPct val="100000"/>
              </a:lnSpc>
              <a:spcBef>
                <a:spcPts val="1700"/>
              </a:spcBef>
              <a:spcAft>
                <a:spcPts val="0"/>
              </a:spcAft>
              <a:buClrTx/>
              <a:buSzPct val="100000"/>
              <a:buFontTx/>
              <a:buChar char="–"/>
              <a:tabLst/>
              <a:defRPr/>
            </a:pPr>
            <a:r>
              <a:rPr kumimoji="0" lang="en-US" sz="16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Regulatory complexity</a:t>
            </a:r>
          </a:p>
          <a:p>
            <a:pPr marL="265176" marR="0" lvl="0" indent="-265176" algn="l" defTabSz="2438400" rtl="0" eaLnBrk="1" fontAlgn="auto" latinLnBrk="0" hangingPunct="1">
              <a:lnSpc>
                <a:spcPct val="100000"/>
              </a:lnSpc>
              <a:spcBef>
                <a:spcPts val="0"/>
              </a:spcBef>
              <a:spcAft>
                <a:spcPts val="0"/>
              </a:spcAft>
              <a:buClrTx/>
              <a:buSzPct val="100000"/>
              <a:buFontTx/>
              <a:buChar char="–"/>
              <a:tabLst/>
              <a:defRPr/>
            </a:pPr>
            <a:r>
              <a:rPr kumimoji="0" lang="en-US" sz="16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Country/State/City tailoring</a:t>
            </a:r>
          </a:p>
        </p:txBody>
      </p:sp>
      <p:sp>
        <p:nvSpPr>
          <p:cNvPr id="39" name="TextBox 38">
            <a:extLst>
              <a:ext uri="{FF2B5EF4-FFF2-40B4-BE49-F238E27FC236}">
                <a16:creationId xmlns:a16="http://schemas.microsoft.com/office/drawing/2014/main" id="{856D4087-B158-7CB1-48F5-1B3FDC727F2B}"/>
              </a:ext>
            </a:extLst>
          </p:cNvPr>
          <p:cNvSpPr txBox="1"/>
          <p:nvPr/>
        </p:nvSpPr>
        <p:spPr>
          <a:xfrm>
            <a:off x="4618450" y="5744722"/>
            <a:ext cx="3788003" cy="58064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261585" marR="0" lvl="0" indent="-263869" algn="l" defTabSz="2438400" rtl="0" eaLnBrk="1" fontAlgn="auto" latinLnBrk="0" hangingPunct="1">
              <a:lnSpc>
                <a:spcPct val="100000"/>
              </a:lnSpc>
              <a:spcBef>
                <a:spcPts val="1700"/>
              </a:spcBef>
              <a:spcAft>
                <a:spcPts val="0"/>
              </a:spcAft>
              <a:buClrTx/>
              <a:buSzPct val="100000"/>
              <a:buFontTx/>
              <a:buChar char="–"/>
              <a:tabLst/>
              <a:defRPr/>
            </a:pPr>
            <a:r>
              <a:rPr kumimoji="0" lang="en-US" sz="16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Employee and Manager experiences</a:t>
            </a:r>
          </a:p>
          <a:p>
            <a:pPr marL="265176" marR="0" lvl="0" indent="-265176" algn="l" defTabSz="2438400" rtl="0" eaLnBrk="1" fontAlgn="auto" latinLnBrk="0" hangingPunct="1">
              <a:lnSpc>
                <a:spcPct val="100000"/>
              </a:lnSpc>
              <a:spcBef>
                <a:spcPts val="0"/>
              </a:spcBef>
              <a:spcAft>
                <a:spcPts val="0"/>
              </a:spcAft>
              <a:buClrTx/>
              <a:buSzPct val="100000"/>
              <a:buFontTx/>
              <a:buChar char="–"/>
              <a:tabLst/>
              <a:defRPr/>
            </a:pPr>
            <a:r>
              <a:rPr kumimoji="0" lang="en-US" sz="16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Customer service mantra</a:t>
            </a:r>
          </a:p>
        </p:txBody>
      </p:sp>
      <p:sp>
        <p:nvSpPr>
          <p:cNvPr id="43" name="TextBox 42">
            <a:extLst>
              <a:ext uri="{FF2B5EF4-FFF2-40B4-BE49-F238E27FC236}">
                <a16:creationId xmlns:a16="http://schemas.microsoft.com/office/drawing/2014/main" id="{4626A3DE-A7DC-7C81-17EE-78A4DBE7EE45}"/>
              </a:ext>
            </a:extLst>
          </p:cNvPr>
          <p:cNvSpPr txBox="1"/>
          <p:nvPr/>
        </p:nvSpPr>
        <p:spPr>
          <a:xfrm>
            <a:off x="1168400" y="436880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endParaRPr kumimoji="0" lang="en-US" sz="1800" b="0" i="0" u="none" strike="noStrike" kern="0" cap="none" spc="0" normalizeH="0" baseline="0" noProof="0" dirty="0">
              <a:ln>
                <a:noFill/>
              </a:ln>
              <a:solidFill>
                <a:srgbClr val="FF0000"/>
              </a:solidFill>
              <a:effectLst/>
              <a:uLnTx/>
              <a:uFillTx/>
              <a:latin typeface="IBM Plex Sans Light"/>
              <a:ea typeface="+mn-ea"/>
              <a:cs typeface="+mn-cs"/>
              <a:sym typeface="IBM Plex Sans Light"/>
            </a:endParaRPr>
          </a:p>
        </p:txBody>
      </p:sp>
      <p:cxnSp>
        <p:nvCxnSpPr>
          <p:cNvPr id="44" name="Straight Arrow Connector 43">
            <a:extLst>
              <a:ext uri="{FF2B5EF4-FFF2-40B4-BE49-F238E27FC236}">
                <a16:creationId xmlns:a16="http://schemas.microsoft.com/office/drawing/2014/main" id="{651C06EA-AB4D-5D32-DB86-78B5C6797832}"/>
              </a:ext>
            </a:extLst>
          </p:cNvPr>
          <p:cNvCxnSpPr>
            <a:cxnSpLocks/>
          </p:cNvCxnSpPr>
          <p:nvPr/>
        </p:nvCxnSpPr>
        <p:spPr bwMode="auto">
          <a:xfrm flipH="1">
            <a:off x="3860800" y="2626269"/>
            <a:ext cx="152400" cy="0"/>
          </a:xfrm>
          <a:prstGeom prst="straightConnector1">
            <a:avLst/>
          </a:prstGeom>
          <a:ln w="38100">
            <a:solidFill>
              <a:srgbClr val="0E61FF"/>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46" name="Straight Arrow Connector 45">
            <a:extLst>
              <a:ext uri="{FF2B5EF4-FFF2-40B4-BE49-F238E27FC236}">
                <a16:creationId xmlns:a16="http://schemas.microsoft.com/office/drawing/2014/main" id="{5AC4BDBB-1AEA-3AE4-7A2D-51E745A3A7FB}"/>
              </a:ext>
            </a:extLst>
          </p:cNvPr>
          <p:cNvCxnSpPr>
            <a:cxnSpLocks/>
          </p:cNvCxnSpPr>
          <p:nvPr/>
        </p:nvCxnSpPr>
        <p:spPr bwMode="auto">
          <a:xfrm>
            <a:off x="8215312" y="2648411"/>
            <a:ext cx="127000" cy="0"/>
          </a:xfrm>
          <a:prstGeom prst="straightConnector1">
            <a:avLst/>
          </a:prstGeom>
          <a:ln w="38100">
            <a:solidFill>
              <a:srgbClr val="0E61FF"/>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48" name="Straight Arrow Connector 47">
            <a:extLst>
              <a:ext uri="{FF2B5EF4-FFF2-40B4-BE49-F238E27FC236}">
                <a16:creationId xmlns:a16="http://schemas.microsoft.com/office/drawing/2014/main" id="{26DB096C-343D-B454-3B0B-8E1F1AAE9225}"/>
              </a:ext>
            </a:extLst>
          </p:cNvPr>
          <p:cNvCxnSpPr>
            <a:cxnSpLocks/>
          </p:cNvCxnSpPr>
          <p:nvPr/>
        </p:nvCxnSpPr>
        <p:spPr bwMode="auto">
          <a:xfrm>
            <a:off x="6095206" y="4864100"/>
            <a:ext cx="0" cy="149769"/>
          </a:xfrm>
          <a:prstGeom prst="straightConnector1">
            <a:avLst/>
          </a:prstGeom>
          <a:ln w="38100">
            <a:solidFill>
              <a:srgbClr val="0E61FF"/>
            </a:solidFill>
            <a:headEnd type="none" w="med" len="med"/>
            <a:tailEnd type="triangle"/>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05556632"/>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hlinkClick r:id="rId2"/>
            <a:extLst>
              <a:ext uri="{FF2B5EF4-FFF2-40B4-BE49-F238E27FC236}">
                <a16:creationId xmlns:a16="http://schemas.microsoft.com/office/drawing/2014/main" id="{6BA7C4BD-5A00-AC80-A2A7-F0F100CEF5EA}"/>
              </a:ext>
            </a:extLst>
          </p:cNvPr>
          <p:cNvPicPr>
            <a:picLocks noChangeAspect="1"/>
          </p:cNvPicPr>
          <p:nvPr/>
        </p:nvPicPr>
        <p:blipFill>
          <a:blip r:embed="rId3"/>
          <a:stretch>
            <a:fillRect/>
          </a:stretch>
        </p:blipFill>
        <p:spPr>
          <a:xfrm>
            <a:off x="2221601" y="1066333"/>
            <a:ext cx="7772400" cy="4124665"/>
          </a:xfrm>
          <a:prstGeom prst="rect">
            <a:avLst/>
          </a:prstGeom>
        </p:spPr>
      </p:pic>
      <p:sp>
        <p:nvSpPr>
          <p:cNvPr id="2" name="Title 1">
            <a:extLst>
              <a:ext uri="{FF2B5EF4-FFF2-40B4-BE49-F238E27FC236}">
                <a16:creationId xmlns:a16="http://schemas.microsoft.com/office/drawing/2014/main" id="{0AC8E56F-334E-6278-D8C9-3E1EA90A98F0}"/>
              </a:ext>
            </a:extLst>
          </p:cNvPr>
          <p:cNvSpPr>
            <a:spLocks noGrp="1"/>
          </p:cNvSpPr>
          <p:nvPr>
            <p:ph type="title"/>
          </p:nvPr>
        </p:nvSpPr>
        <p:spPr/>
        <p:txBody>
          <a:bodyPr/>
          <a:lstStyle/>
          <a:p>
            <a:r>
              <a:rPr lang="en-US" dirty="0" err="1"/>
              <a:t>Lendyr</a:t>
            </a:r>
            <a:r>
              <a:rPr lang="en-US" dirty="0"/>
              <a:t> AskHR Demo</a:t>
            </a:r>
          </a:p>
        </p:txBody>
      </p:sp>
      <p:sp>
        <p:nvSpPr>
          <p:cNvPr id="4" name="TextBox 3">
            <a:extLst>
              <a:ext uri="{FF2B5EF4-FFF2-40B4-BE49-F238E27FC236}">
                <a16:creationId xmlns:a16="http://schemas.microsoft.com/office/drawing/2014/main" id="{119480DD-90FD-2267-F681-B3841BBD7014}"/>
              </a:ext>
            </a:extLst>
          </p:cNvPr>
          <p:cNvSpPr txBox="1"/>
          <p:nvPr/>
        </p:nvSpPr>
        <p:spPr>
          <a:xfrm>
            <a:off x="2221602" y="5330004"/>
            <a:ext cx="7912999" cy="95410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85000"/>
                  </a:srgbClr>
                </a:solidFill>
                <a:effectLst/>
                <a:uLnTx/>
                <a:uFillTx/>
                <a:latin typeface="IBM Plex Sans Light"/>
                <a:ea typeface="+mn-ea"/>
                <a:cs typeface="+mn-cs"/>
                <a:hlinkClick r:id="rId2">
                  <a:extLst>
                    <a:ext uri="{A12FA001-AC4F-418D-AE19-62706E023703}">
                      <ahyp:hlinkClr xmlns:ahyp="http://schemas.microsoft.com/office/drawing/2018/hyperlinkcolor" val="tx"/>
                    </a:ext>
                  </a:extLst>
                </a:hlinkClick>
              </a:rPr>
              <a:t>https://cloud-object-storage-cos-static-web-hosting-9uc.s3.us-east.cloud-object-storage.appdomain.cloud/index.html</a:t>
            </a:r>
            <a:r>
              <a:rPr kumimoji="0" lang="en-US" sz="1400" b="0" i="0" u="none" strike="noStrike" kern="1200" cap="none" spc="0" normalizeH="0" baseline="0" noProof="0" dirty="0">
                <a:ln>
                  <a:noFill/>
                </a:ln>
                <a:solidFill>
                  <a:srgbClr val="FFFFFF">
                    <a:lumMod val="85000"/>
                  </a:srgbClr>
                </a:solidFill>
                <a:effectLst/>
                <a:uLnTx/>
                <a:uFillTx/>
                <a:latin typeface="IBM Plex Sans Ligh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lumMod val="85000"/>
                </a:srgbClr>
              </a:solidFill>
              <a:effectLst/>
              <a:uLnTx/>
              <a:uFillTx/>
              <a:latin typeface="IBM Plex Sans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85000"/>
                  </a:srgbClr>
                </a:solidFill>
                <a:effectLst/>
                <a:uLnTx/>
                <a:uFillTx/>
                <a:latin typeface="IBM Plex Sans Light"/>
                <a:ea typeface="+mn-ea"/>
                <a:cs typeface="+mn-cs"/>
              </a:rPr>
              <a:t>https://</a:t>
            </a:r>
            <a:r>
              <a:rPr kumimoji="0" lang="en-US" sz="1400" b="0" i="0" u="none" strike="noStrike" kern="1200" cap="none" spc="0" normalizeH="0" baseline="0" noProof="0" dirty="0" err="1">
                <a:ln>
                  <a:noFill/>
                </a:ln>
                <a:solidFill>
                  <a:srgbClr val="FFFFFF">
                    <a:lumMod val="85000"/>
                  </a:srgbClr>
                </a:solidFill>
                <a:effectLst/>
                <a:uLnTx/>
                <a:uFillTx/>
                <a:latin typeface="IBM Plex Sans Light"/>
                <a:ea typeface="+mn-ea"/>
                <a:cs typeface="+mn-cs"/>
              </a:rPr>
              <a:t>ibm.ent.box.com</a:t>
            </a:r>
            <a:r>
              <a:rPr kumimoji="0" lang="en-US" sz="1400" b="0" i="0" u="none" strike="noStrike" kern="1200" cap="none" spc="0" normalizeH="0" baseline="0" noProof="0" dirty="0">
                <a:ln>
                  <a:noFill/>
                </a:ln>
                <a:solidFill>
                  <a:srgbClr val="FFFFFF">
                    <a:lumMod val="85000"/>
                  </a:srgbClr>
                </a:solidFill>
                <a:effectLst/>
                <a:uLnTx/>
                <a:uFillTx/>
                <a:latin typeface="IBM Plex Sans Light"/>
                <a:ea typeface="+mn-ea"/>
                <a:cs typeface="+mn-cs"/>
              </a:rPr>
              <a:t>/notes/1524598514035?s=7pw17drxnbopnjmux7xnrl8eyrrj97d8</a:t>
            </a:r>
          </a:p>
        </p:txBody>
      </p:sp>
    </p:spTree>
    <p:extLst>
      <p:ext uri="{BB962C8B-B14F-4D97-AF65-F5344CB8AC3E}">
        <p14:creationId xmlns:p14="http://schemas.microsoft.com/office/powerpoint/2010/main" val="1959538148"/>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038">
            <a:extLst>
              <a:ext uri="{FF2B5EF4-FFF2-40B4-BE49-F238E27FC236}">
                <a16:creationId xmlns:a16="http://schemas.microsoft.com/office/drawing/2014/main" id="{395B6343-5158-A2F1-96B2-592B937DECBC}"/>
              </a:ext>
            </a:extLst>
          </p:cNvPr>
          <p:cNvGrpSpPr/>
          <p:nvPr/>
        </p:nvGrpSpPr>
        <p:grpSpPr>
          <a:xfrm rot="10800000">
            <a:off x="4165621" y="1306043"/>
            <a:ext cx="3440671" cy="4547839"/>
            <a:chOff x="0" y="0"/>
            <a:chExt cx="4793975" cy="6742601"/>
          </a:xfrm>
        </p:grpSpPr>
        <p:sp>
          <p:nvSpPr>
            <p:cNvPr id="15" name="Shape 1053">
              <a:extLst>
                <a:ext uri="{FF2B5EF4-FFF2-40B4-BE49-F238E27FC236}">
                  <a16:creationId xmlns:a16="http://schemas.microsoft.com/office/drawing/2014/main" id="{BA5CFFFF-037A-8EDD-7CC6-D3366758A6D4}"/>
                </a:ext>
              </a:extLst>
            </p:cNvPr>
            <p:cNvSpPr/>
            <p:nvPr/>
          </p:nvSpPr>
          <p:spPr>
            <a:xfrm>
              <a:off x="1555204" y="1796426"/>
              <a:ext cx="661825" cy="3149750"/>
            </a:xfrm>
            <a:custGeom>
              <a:avLst/>
              <a:gdLst/>
              <a:ahLst/>
              <a:cxnLst>
                <a:cxn ang="0">
                  <a:pos x="wd2" y="hd2"/>
                </a:cxn>
                <a:cxn ang="5400000">
                  <a:pos x="wd2" y="hd2"/>
                </a:cxn>
                <a:cxn ang="10800000">
                  <a:pos x="wd2" y="hd2"/>
                </a:cxn>
                <a:cxn ang="16200000">
                  <a:pos x="wd2" y="hd2"/>
                </a:cxn>
              </a:cxnLst>
              <a:rect l="0" t="0" r="r" b="b"/>
              <a:pathLst>
                <a:path w="16200" h="21600" extrusionOk="0">
                  <a:moveTo>
                    <a:pt x="125" y="21600"/>
                  </a:moveTo>
                  <a:cubicBezTo>
                    <a:pt x="21600" y="14478"/>
                    <a:pt x="21558" y="7278"/>
                    <a:pt x="0" y="0"/>
                  </a:cubicBezTo>
                </a:path>
              </a:pathLst>
            </a:custGeom>
            <a:noFill/>
            <a:ln w="63500" cap="flat">
              <a:solidFill>
                <a:srgbClr val="E5E5E5"/>
              </a:solidFill>
              <a:prstDash val="solid"/>
              <a:miter lim="400000"/>
            </a:ln>
            <a:effectLst/>
          </p:spPr>
          <p:txBody>
            <a:bodyPr/>
            <a:lstStyle/>
            <a:p>
              <a:pPr marL="0" marR="0" lvl="0" indent="0" algn="ctr" defTabSz="685663" rtl="0" eaLnBrk="1" fontAlgn="auto" latinLnBrk="0" hangingPunct="1">
                <a:lnSpc>
                  <a:spcPct val="100000"/>
                </a:lnSpc>
                <a:spcBef>
                  <a:spcPts val="0"/>
                </a:spcBef>
                <a:spcAft>
                  <a:spcPts val="0"/>
                </a:spcAft>
                <a:buClrTx/>
                <a:buSzTx/>
                <a:buFontTx/>
                <a:buNone/>
                <a:tabLst/>
                <a:defRPr/>
              </a:pPr>
              <a:endParaRPr kumimoji="0" sz="506" b="0" i="0" u="none" strike="noStrike" kern="1200" cap="none" spc="0" normalizeH="0" baseline="0" noProof="0" dirty="0">
                <a:ln>
                  <a:noFill/>
                </a:ln>
                <a:solidFill>
                  <a:srgbClr val="454545"/>
                </a:solidFill>
                <a:effectLst/>
                <a:uLnTx/>
                <a:uFillTx/>
                <a:latin typeface="Sinkin Sans 300 Light" charset="0"/>
                <a:ea typeface="+mn-ea"/>
                <a:cs typeface="Sinkin Sans 300 Light" charset="0"/>
              </a:endParaRPr>
            </a:p>
          </p:txBody>
        </p:sp>
        <p:sp>
          <p:nvSpPr>
            <p:cNvPr id="16" name="Shape 1054">
              <a:extLst>
                <a:ext uri="{FF2B5EF4-FFF2-40B4-BE49-F238E27FC236}">
                  <a16:creationId xmlns:a16="http://schemas.microsoft.com/office/drawing/2014/main" id="{E4045422-C9A8-A08A-C085-0F71E01535B0}"/>
                </a:ext>
              </a:extLst>
            </p:cNvPr>
            <p:cNvSpPr/>
            <p:nvPr/>
          </p:nvSpPr>
          <p:spPr>
            <a:xfrm>
              <a:off x="2467756" y="936581"/>
              <a:ext cx="1023173" cy="4869440"/>
            </a:xfrm>
            <a:custGeom>
              <a:avLst/>
              <a:gdLst/>
              <a:ahLst/>
              <a:cxnLst>
                <a:cxn ang="0">
                  <a:pos x="wd2" y="hd2"/>
                </a:cxn>
                <a:cxn ang="5400000">
                  <a:pos x="wd2" y="hd2"/>
                </a:cxn>
                <a:cxn ang="10800000">
                  <a:pos x="wd2" y="hd2"/>
                </a:cxn>
                <a:cxn ang="16200000">
                  <a:pos x="wd2" y="hd2"/>
                </a:cxn>
              </a:cxnLst>
              <a:rect l="0" t="0" r="r" b="b"/>
              <a:pathLst>
                <a:path w="16200" h="21600" extrusionOk="0">
                  <a:moveTo>
                    <a:pt x="125" y="21600"/>
                  </a:moveTo>
                  <a:cubicBezTo>
                    <a:pt x="21600" y="14478"/>
                    <a:pt x="21558" y="7278"/>
                    <a:pt x="0" y="0"/>
                  </a:cubicBezTo>
                </a:path>
              </a:pathLst>
            </a:custGeom>
            <a:noFill/>
            <a:ln w="63500" cap="flat">
              <a:solidFill>
                <a:srgbClr val="E5E5E5"/>
              </a:solidFill>
              <a:prstDash val="solid"/>
              <a:miter lim="400000"/>
            </a:ln>
            <a:effectLst/>
          </p:spPr>
          <p:txBody>
            <a:bodyPr/>
            <a:lstStyle/>
            <a:p>
              <a:pPr marL="0" marR="0" lvl="0" indent="0" algn="ctr" defTabSz="685663" rtl="0" eaLnBrk="1" fontAlgn="auto" latinLnBrk="0" hangingPunct="1">
                <a:lnSpc>
                  <a:spcPct val="100000"/>
                </a:lnSpc>
                <a:spcBef>
                  <a:spcPts val="0"/>
                </a:spcBef>
                <a:spcAft>
                  <a:spcPts val="0"/>
                </a:spcAft>
                <a:buClrTx/>
                <a:buSzTx/>
                <a:buFontTx/>
                <a:buNone/>
                <a:tabLst/>
                <a:defRPr/>
              </a:pPr>
              <a:endParaRPr kumimoji="0" sz="506" b="0" i="0" u="none" strike="noStrike" kern="1200" cap="none" spc="0" normalizeH="0" baseline="0" noProof="0" dirty="0">
                <a:ln>
                  <a:noFill/>
                </a:ln>
                <a:solidFill>
                  <a:srgbClr val="454545"/>
                </a:solidFill>
                <a:effectLst/>
                <a:uLnTx/>
                <a:uFillTx/>
                <a:latin typeface="Sinkin Sans 300 Light" charset="0"/>
                <a:ea typeface="+mn-ea"/>
                <a:cs typeface="Sinkin Sans 300 Light" charset="0"/>
              </a:endParaRPr>
            </a:p>
          </p:txBody>
        </p:sp>
        <p:sp>
          <p:nvSpPr>
            <p:cNvPr id="17" name="Shape 1055">
              <a:extLst>
                <a:ext uri="{FF2B5EF4-FFF2-40B4-BE49-F238E27FC236}">
                  <a16:creationId xmlns:a16="http://schemas.microsoft.com/office/drawing/2014/main" id="{2BDB83A0-2123-1A5B-2200-21533F3C4A72}"/>
                </a:ext>
              </a:extLst>
            </p:cNvPr>
            <p:cNvSpPr/>
            <p:nvPr/>
          </p:nvSpPr>
          <p:spPr>
            <a:xfrm>
              <a:off x="3377207" y="0"/>
              <a:ext cx="1416769" cy="6742602"/>
            </a:xfrm>
            <a:custGeom>
              <a:avLst/>
              <a:gdLst/>
              <a:ahLst/>
              <a:cxnLst>
                <a:cxn ang="0">
                  <a:pos x="wd2" y="hd2"/>
                </a:cxn>
                <a:cxn ang="5400000">
                  <a:pos x="wd2" y="hd2"/>
                </a:cxn>
                <a:cxn ang="10800000">
                  <a:pos x="wd2" y="hd2"/>
                </a:cxn>
                <a:cxn ang="16200000">
                  <a:pos x="wd2" y="hd2"/>
                </a:cxn>
              </a:cxnLst>
              <a:rect l="0" t="0" r="r" b="b"/>
              <a:pathLst>
                <a:path w="16200" h="21600" extrusionOk="0">
                  <a:moveTo>
                    <a:pt x="125" y="21600"/>
                  </a:moveTo>
                  <a:cubicBezTo>
                    <a:pt x="21600" y="14478"/>
                    <a:pt x="21558" y="7278"/>
                    <a:pt x="0" y="0"/>
                  </a:cubicBezTo>
                </a:path>
              </a:pathLst>
            </a:custGeom>
            <a:noFill/>
            <a:ln w="63500" cap="flat">
              <a:solidFill>
                <a:srgbClr val="E5E5E5"/>
              </a:solidFill>
              <a:prstDash val="solid"/>
              <a:miter lim="400000"/>
            </a:ln>
            <a:effectLst/>
          </p:spPr>
          <p:txBody>
            <a:bodyPr/>
            <a:lstStyle/>
            <a:p>
              <a:pPr marL="0" marR="0" lvl="0" indent="0" algn="ctr" defTabSz="685663" rtl="0" eaLnBrk="1" fontAlgn="auto" latinLnBrk="0" hangingPunct="1">
                <a:lnSpc>
                  <a:spcPct val="100000"/>
                </a:lnSpc>
                <a:spcBef>
                  <a:spcPts val="0"/>
                </a:spcBef>
                <a:spcAft>
                  <a:spcPts val="0"/>
                </a:spcAft>
                <a:buClrTx/>
                <a:buSzTx/>
                <a:buFontTx/>
                <a:buNone/>
                <a:tabLst/>
                <a:defRPr/>
              </a:pPr>
              <a:endParaRPr kumimoji="0" sz="506" b="0" i="0" u="none" strike="noStrike" kern="1200" cap="none" spc="0" normalizeH="0" baseline="0" noProof="0" dirty="0">
                <a:ln>
                  <a:noFill/>
                </a:ln>
                <a:solidFill>
                  <a:srgbClr val="454545"/>
                </a:solidFill>
                <a:effectLst/>
                <a:uLnTx/>
                <a:uFillTx/>
                <a:latin typeface="Sinkin Sans 300 Light" charset="0"/>
                <a:ea typeface="+mn-ea"/>
                <a:cs typeface="Sinkin Sans 300 Light" charset="0"/>
              </a:endParaRPr>
            </a:p>
          </p:txBody>
        </p:sp>
        <p:sp>
          <p:nvSpPr>
            <p:cNvPr id="18" name="Shape 1034">
              <a:extLst>
                <a:ext uri="{FF2B5EF4-FFF2-40B4-BE49-F238E27FC236}">
                  <a16:creationId xmlns:a16="http://schemas.microsoft.com/office/drawing/2014/main" id="{121CFE8B-46C3-115D-EE05-E67AD4EAFF20}"/>
                </a:ext>
              </a:extLst>
            </p:cNvPr>
            <p:cNvSpPr/>
            <p:nvPr/>
          </p:nvSpPr>
          <p:spPr>
            <a:xfrm flipH="1">
              <a:off x="3175" y="1373445"/>
              <a:ext cx="4294173" cy="1984680"/>
            </a:xfrm>
            <a:prstGeom prst="line">
              <a:avLst/>
            </a:prstGeom>
            <a:noFill/>
            <a:ln w="63500" cap="flat">
              <a:solidFill>
                <a:srgbClr val="E5E5E5"/>
              </a:solidFill>
              <a:prstDash val="solid"/>
              <a:miter lim="400000"/>
            </a:ln>
            <a:effectLst/>
          </p:spPr>
          <p:txBody>
            <a:bodyPr wrap="square" lIns="0" tIns="0" rIns="0" bIns="0" numCol="1" anchor="ctr">
              <a:noAutofit/>
            </a:bodyPr>
            <a:lstStyle/>
            <a:p>
              <a:pPr marL="0" marR="0" lvl="0" indent="0" algn="ctr" defTabSz="685663" rtl="0" eaLnBrk="1" fontAlgn="auto" latinLnBrk="0" hangingPunct="1">
                <a:lnSpc>
                  <a:spcPct val="100000"/>
                </a:lnSpc>
                <a:spcBef>
                  <a:spcPts val="0"/>
                </a:spcBef>
                <a:spcAft>
                  <a:spcPts val="0"/>
                </a:spcAft>
                <a:buClrTx/>
                <a:buSzTx/>
                <a:buFontTx/>
                <a:buNone/>
                <a:tabLst/>
                <a:defRPr/>
              </a:pPr>
              <a:endParaRPr kumimoji="0" sz="506" b="0" i="0" u="none" strike="noStrike" kern="1200" cap="none" spc="0" normalizeH="0" baseline="0" noProof="0" dirty="0">
                <a:ln>
                  <a:noFill/>
                </a:ln>
                <a:solidFill>
                  <a:srgbClr val="454545"/>
                </a:solidFill>
                <a:effectLst/>
                <a:uLnTx/>
                <a:uFillTx/>
                <a:latin typeface="Sinkin Sans 300 Light" charset="0"/>
                <a:ea typeface="+mn-ea"/>
                <a:cs typeface="Sinkin Sans 300 Light" charset="0"/>
              </a:endParaRPr>
            </a:p>
          </p:txBody>
        </p:sp>
        <p:sp>
          <p:nvSpPr>
            <p:cNvPr id="19" name="Shape 1035">
              <a:extLst>
                <a:ext uri="{FF2B5EF4-FFF2-40B4-BE49-F238E27FC236}">
                  <a16:creationId xmlns:a16="http://schemas.microsoft.com/office/drawing/2014/main" id="{5766F84D-5562-0B5B-B976-E7C234CD234D}"/>
                </a:ext>
              </a:extLst>
            </p:cNvPr>
            <p:cNvSpPr/>
            <p:nvPr/>
          </p:nvSpPr>
          <p:spPr>
            <a:xfrm>
              <a:off x="0" y="3415800"/>
              <a:ext cx="4297348" cy="1984476"/>
            </a:xfrm>
            <a:prstGeom prst="line">
              <a:avLst/>
            </a:prstGeom>
            <a:noFill/>
            <a:ln w="63500" cap="flat">
              <a:solidFill>
                <a:srgbClr val="E5E5E5"/>
              </a:solidFill>
              <a:prstDash val="solid"/>
              <a:miter lim="400000"/>
            </a:ln>
            <a:effectLst/>
          </p:spPr>
          <p:txBody>
            <a:bodyPr wrap="square" lIns="0" tIns="0" rIns="0" bIns="0" numCol="1" anchor="ctr">
              <a:noAutofit/>
            </a:bodyPr>
            <a:lstStyle/>
            <a:p>
              <a:pPr marL="0" marR="0" lvl="0" indent="0" algn="ctr" defTabSz="685663" rtl="0" eaLnBrk="1" fontAlgn="auto" latinLnBrk="0" hangingPunct="1">
                <a:lnSpc>
                  <a:spcPct val="100000"/>
                </a:lnSpc>
                <a:spcBef>
                  <a:spcPts val="0"/>
                </a:spcBef>
                <a:spcAft>
                  <a:spcPts val="0"/>
                </a:spcAft>
                <a:buClrTx/>
                <a:buSzTx/>
                <a:buFontTx/>
                <a:buNone/>
                <a:tabLst/>
                <a:defRPr/>
              </a:pPr>
              <a:endParaRPr kumimoji="0" sz="506" b="0" i="0" u="none" strike="noStrike" kern="1200" cap="none" spc="0" normalizeH="0" baseline="0" noProof="0" dirty="0">
                <a:ln>
                  <a:noFill/>
                </a:ln>
                <a:solidFill>
                  <a:srgbClr val="454545"/>
                </a:solidFill>
                <a:effectLst/>
                <a:uLnTx/>
                <a:uFillTx/>
                <a:latin typeface="Sinkin Sans 300 Light" charset="0"/>
                <a:ea typeface="+mn-ea"/>
                <a:cs typeface="Sinkin Sans 300 Light" charset="0"/>
              </a:endParaRPr>
            </a:p>
          </p:txBody>
        </p:sp>
        <p:sp>
          <p:nvSpPr>
            <p:cNvPr id="20" name="Shape 1036">
              <a:extLst>
                <a:ext uri="{FF2B5EF4-FFF2-40B4-BE49-F238E27FC236}">
                  <a16:creationId xmlns:a16="http://schemas.microsoft.com/office/drawing/2014/main" id="{31556A86-2C36-1C5A-B1DD-B28FE7422528}"/>
                </a:ext>
              </a:extLst>
            </p:cNvPr>
            <p:cNvSpPr/>
            <p:nvPr/>
          </p:nvSpPr>
          <p:spPr>
            <a:xfrm flipH="1">
              <a:off x="3494245" y="2793259"/>
              <a:ext cx="1257930" cy="597270"/>
            </a:xfrm>
            <a:prstGeom prst="line">
              <a:avLst/>
            </a:prstGeom>
            <a:noFill/>
            <a:ln w="63500" cap="flat">
              <a:solidFill>
                <a:srgbClr val="E5E5E5"/>
              </a:solidFill>
              <a:prstDash val="solid"/>
              <a:miter lim="400000"/>
            </a:ln>
            <a:effectLst/>
          </p:spPr>
          <p:txBody>
            <a:bodyPr wrap="square" lIns="0" tIns="0" rIns="0" bIns="0" numCol="1" anchor="ctr">
              <a:noAutofit/>
            </a:bodyPr>
            <a:lstStyle/>
            <a:p>
              <a:pPr marL="0" marR="0" lvl="0" indent="0" algn="ctr" defTabSz="685663" rtl="0" eaLnBrk="1" fontAlgn="auto" latinLnBrk="0" hangingPunct="1">
                <a:lnSpc>
                  <a:spcPct val="100000"/>
                </a:lnSpc>
                <a:spcBef>
                  <a:spcPts val="0"/>
                </a:spcBef>
                <a:spcAft>
                  <a:spcPts val="0"/>
                </a:spcAft>
                <a:buClrTx/>
                <a:buSzTx/>
                <a:buFontTx/>
                <a:buNone/>
                <a:tabLst/>
                <a:defRPr/>
              </a:pPr>
              <a:endParaRPr kumimoji="0" sz="506" b="0" i="0" u="none" strike="noStrike" kern="1200" cap="none" spc="0" normalizeH="0" baseline="0" noProof="0" dirty="0">
                <a:ln>
                  <a:noFill/>
                </a:ln>
                <a:solidFill>
                  <a:srgbClr val="454545"/>
                </a:solidFill>
                <a:effectLst/>
                <a:uLnTx/>
                <a:uFillTx/>
                <a:latin typeface="Sinkin Sans 300 Light" charset="0"/>
                <a:ea typeface="+mn-ea"/>
                <a:cs typeface="Sinkin Sans 300 Light" charset="0"/>
              </a:endParaRPr>
            </a:p>
          </p:txBody>
        </p:sp>
        <p:sp>
          <p:nvSpPr>
            <p:cNvPr id="21" name="Shape 1037">
              <a:extLst>
                <a:ext uri="{FF2B5EF4-FFF2-40B4-BE49-F238E27FC236}">
                  <a16:creationId xmlns:a16="http://schemas.microsoft.com/office/drawing/2014/main" id="{0E400D80-E7B8-3682-476F-A24F8685098B}"/>
                </a:ext>
              </a:extLst>
            </p:cNvPr>
            <p:cNvSpPr/>
            <p:nvPr/>
          </p:nvSpPr>
          <p:spPr>
            <a:xfrm>
              <a:off x="3494245" y="3447976"/>
              <a:ext cx="1257930" cy="532486"/>
            </a:xfrm>
            <a:prstGeom prst="line">
              <a:avLst/>
            </a:prstGeom>
            <a:noFill/>
            <a:ln w="63500" cap="flat">
              <a:solidFill>
                <a:srgbClr val="E5E5E5"/>
              </a:solidFill>
              <a:prstDash val="solid"/>
              <a:miter lim="400000"/>
            </a:ln>
            <a:effectLst/>
          </p:spPr>
          <p:txBody>
            <a:bodyPr wrap="square" lIns="0" tIns="0" rIns="0" bIns="0" numCol="1" anchor="ctr">
              <a:noAutofit/>
            </a:bodyPr>
            <a:lstStyle/>
            <a:p>
              <a:pPr marL="0" marR="0" lvl="0" indent="0" algn="ctr" defTabSz="685663" rtl="0" eaLnBrk="1" fontAlgn="auto" latinLnBrk="0" hangingPunct="1">
                <a:lnSpc>
                  <a:spcPct val="100000"/>
                </a:lnSpc>
                <a:spcBef>
                  <a:spcPts val="0"/>
                </a:spcBef>
                <a:spcAft>
                  <a:spcPts val="0"/>
                </a:spcAft>
                <a:buClrTx/>
                <a:buSzTx/>
                <a:buFontTx/>
                <a:buNone/>
                <a:tabLst/>
                <a:defRPr/>
              </a:pPr>
              <a:endParaRPr kumimoji="0" sz="506" b="0" i="0" u="none" strike="noStrike" kern="1200" cap="none" spc="0" normalizeH="0" baseline="0" noProof="0" dirty="0">
                <a:ln>
                  <a:noFill/>
                </a:ln>
                <a:solidFill>
                  <a:srgbClr val="454545"/>
                </a:solidFill>
                <a:effectLst/>
                <a:uLnTx/>
                <a:uFillTx/>
                <a:latin typeface="Sinkin Sans 300 Light" charset="0"/>
                <a:ea typeface="+mn-ea"/>
                <a:cs typeface="Sinkin Sans 300 Light" charset="0"/>
              </a:endParaRPr>
            </a:p>
          </p:txBody>
        </p:sp>
      </p:grpSp>
      <p:sp>
        <p:nvSpPr>
          <p:cNvPr id="3" name="Title 1">
            <a:extLst>
              <a:ext uri="{FF2B5EF4-FFF2-40B4-BE49-F238E27FC236}">
                <a16:creationId xmlns:a16="http://schemas.microsoft.com/office/drawing/2014/main" id="{21BB3F44-BA39-B860-C44E-DC56A09F9DE8}"/>
              </a:ext>
            </a:extLst>
          </p:cNvPr>
          <p:cNvSpPr>
            <a:spLocks noGrp="1"/>
          </p:cNvSpPr>
          <p:nvPr>
            <p:ph type="title"/>
          </p:nvPr>
        </p:nvSpPr>
        <p:spPr>
          <a:xfrm>
            <a:off x="2927516" y="146588"/>
            <a:ext cx="7264672" cy="56515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r>
              <a:rPr lang="en-US" sz="2800" dirty="0">
                <a:solidFill>
                  <a:srgbClr val="000000"/>
                </a:solidFill>
                <a:latin typeface="IBM Plex Sans" panose="020B0503050203000203" pitchFamily="34" charset="0"/>
              </a:rPr>
              <a:t>Transformation is no longer episodic </a:t>
            </a:r>
            <a:br>
              <a:rPr lang="en-US" sz="2800" dirty="0">
                <a:solidFill>
                  <a:srgbClr val="000000"/>
                </a:solidFill>
                <a:latin typeface="IBM Plex Sans" panose="020B0503050203000203" pitchFamily="34" charset="0"/>
              </a:rPr>
            </a:br>
            <a:r>
              <a:rPr lang="en-US" sz="2000" dirty="0">
                <a:solidFill>
                  <a:srgbClr val="000000"/>
                </a:solidFill>
                <a:latin typeface="IBM Plex Sans" panose="020B0503050203000203" pitchFamily="34" charset="0"/>
              </a:rPr>
              <a:t>Pragmatic and continuous improvement efforts are the catalyst for big transformational changes </a:t>
            </a:r>
          </a:p>
        </p:txBody>
      </p:sp>
      <p:sp>
        <p:nvSpPr>
          <p:cNvPr id="2" name="Content Placeholder 5">
            <a:extLst>
              <a:ext uri="{FF2B5EF4-FFF2-40B4-BE49-F238E27FC236}">
                <a16:creationId xmlns:a16="http://schemas.microsoft.com/office/drawing/2014/main" id="{91AEC585-6604-CE5E-FE66-5E6B327FEDF8}"/>
              </a:ext>
            </a:extLst>
          </p:cNvPr>
          <p:cNvSpPr txBox="1">
            <a:spLocks/>
          </p:cNvSpPr>
          <p:nvPr/>
        </p:nvSpPr>
        <p:spPr>
          <a:xfrm>
            <a:off x="0" y="14022"/>
            <a:ext cx="2653990" cy="6858000"/>
          </a:xfrm>
          <a:prstGeom prst="rect">
            <a:avLst/>
          </a:prstGeom>
          <a:solidFill>
            <a:schemeClr val="bg1">
              <a:lumMod val="85000"/>
            </a:schemeClr>
          </a:solidFill>
        </p:spPr>
        <p:txBody>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AppleSystemUIFont"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Arial"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Arial"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Arial"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Arial" charset="0"/>
              </a:defRPr>
            </a:lvl9pPr>
          </a:lstStyle>
          <a:p>
            <a:pPr marL="0" marR="0" lvl="0" indent="0" algn="l" defTabSz="1219170" rtl="0" eaLnBrk="1" fontAlgn="base" latinLnBrk="0" hangingPunct="1">
              <a:lnSpc>
                <a:spcPct val="100000"/>
              </a:lnSpc>
              <a:spcBef>
                <a:spcPts val="1467"/>
              </a:spcBef>
              <a:spcAft>
                <a:spcPct val="0"/>
              </a:spcAft>
              <a:buClr>
                <a:srgbClr val="6D6E70"/>
              </a:buClr>
              <a:buSzPct val="90000"/>
              <a:buFont typeface="Wingdings" pitchFamily="2" charset="2"/>
              <a:buNone/>
              <a:tabLst/>
              <a:defRPr/>
            </a:pPr>
            <a:endParaRPr kumimoji="0" lang="en-US" sz="1867" b="0" i="0" u="none" strike="noStrike" kern="0" cap="none" spc="0" normalizeH="0" baseline="0" noProof="0" dirty="0">
              <a:ln>
                <a:noFill/>
              </a:ln>
              <a:solidFill>
                <a:srgbClr val="FFFFFF"/>
              </a:solidFill>
              <a:effectLst/>
              <a:uLnTx/>
              <a:uFillTx/>
              <a:latin typeface="IBM Plex Sans" panose="020B0503050203000203" pitchFamily="34" charset="0"/>
            </a:endParaRPr>
          </a:p>
        </p:txBody>
      </p:sp>
      <p:sp>
        <p:nvSpPr>
          <p:cNvPr id="5" name="Rectangle 4">
            <a:extLst>
              <a:ext uri="{FF2B5EF4-FFF2-40B4-BE49-F238E27FC236}">
                <a16:creationId xmlns:a16="http://schemas.microsoft.com/office/drawing/2014/main" id="{A8793E9B-B77F-3C8C-84F4-88BDE623A2F2}"/>
              </a:ext>
            </a:extLst>
          </p:cNvPr>
          <p:cNvSpPr/>
          <p:nvPr/>
        </p:nvSpPr>
        <p:spPr>
          <a:xfrm>
            <a:off x="170628" y="1439439"/>
            <a:ext cx="2293792" cy="1229672"/>
          </a:xfrm>
          <a:prstGeom prst="rect">
            <a:avLst/>
          </a:prstGeom>
          <a:solidFill>
            <a:srgbClr val="FFFFFF">
              <a:lumMod val="95000"/>
            </a:srgbClr>
          </a:solidFill>
          <a:ln w="12700" cap="flat" cmpd="sng" algn="ctr">
            <a:noFill/>
            <a:prstDash val="solid"/>
            <a:miter lim="800000"/>
          </a:ln>
          <a:effectLst/>
        </p:spPr>
        <p:txBody>
          <a:bodyPr rtlCol="0" anchor="t"/>
          <a:lstStyle/>
          <a:p>
            <a:pPr marL="342900" marR="0" lvl="0" indent="-342900" algn="l" defTabSz="914400" rtl="0" eaLnBrk="1" fontAlgn="auto" latinLnBrk="0" hangingPunct="1">
              <a:lnSpc>
                <a:spcPct val="100000"/>
              </a:lnSpc>
              <a:spcBef>
                <a:spcPts val="0"/>
              </a:spcBef>
              <a:spcAft>
                <a:spcPts val="0"/>
              </a:spcAft>
              <a:buClrTx/>
              <a:buSzTx/>
              <a:buFontTx/>
              <a:buAutoNum type="arabicParenBoth"/>
              <a:tabLst/>
              <a:defRPr/>
            </a:pPr>
            <a:r>
              <a:rPr kumimoji="0" lang="en-US" sz="1600" b="1" i="0" u="none" strike="noStrike" kern="1200" cap="none" spc="0" normalizeH="0" baseline="0" noProof="0" dirty="0">
                <a:ln>
                  <a:noFill/>
                </a:ln>
                <a:solidFill>
                  <a:srgbClr val="454545">
                    <a:lumMod val="50000"/>
                  </a:srgbClr>
                </a:solidFill>
                <a:effectLst/>
                <a:uLnTx/>
                <a:uFillTx/>
                <a:latin typeface="IBM Plex Sans Light"/>
                <a:ea typeface="Calibri" panose="020F0502020204030204" pitchFamily="34" charset="0"/>
                <a:cs typeface="Calibri" panose="020F0502020204030204" pitchFamily="34" charset="0"/>
              </a:rPr>
              <a:t>Big Be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454545">
                  <a:lumMod val="50000"/>
                </a:srgbClr>
              </a:solidFill>
              <a:effectLst/>
              <a:uLnTx/>
              <a:uFillTx/>
              <a:latin typeface="IBM Plex Sans Light"/>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a:ea typeface="Calibri" panose="020F0502020204030204" pitchFamily="34" charset="0"/>
                <a:cs typeface="Calibri" panose="020F0502020204030204" pitchFamily="34" charset="0"/>
              </a:rPr>
              <a:t>This are large, cross-functional multi-year projects with high return on investment. Often result in new organization design and modernized operating mode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Light"/>
                <a:ea typeface="Calibri" panose="020F0502020204030204" pitchFamily="34" charset="0"/>
                <a:cs typeface="Calibri" panose="020F0502020204030204" pitchFamily="34" charset="0"/>
              </a:rPr>
              <a:t> </a:t>
            </a:r>
          </a:p>
        </p:txBody>
      </p:sp>
      <p:sp>
        <p:nvSpPr>
          <p:cNvPr id="6" name="Rectangle 5">
            <a:extLst>
              <a:ext uri="{FF2B5EF4-FFF2-40B4-BE49-F238E27FC236}">
                <a16:creationId xmlns:a16="http://schemas.microsoft.com/office/drawing/2014/main" id="{1FDAF293-2790-AB39-5E9D-F9CAEA6F39A2}"/>
              </a:ext>
            </a:extLst>
          </p:cNvPr>
          <p:cNvSpPr/>
          <p:nvPr/>
        </p:nvSpPr>
        <p:spPr>
          <a:xfrm>
            <a:off x="170432" y="2733471"/>
            <a:ext cx="2293792" cy="1229672"/>
          </a:xfrm>
          <a:prstGeom prst="rect">
            <a:avLst/>
          </a:prstGeom>
          <a:solidFill>
            <a:srgbClr val="FFFFFF">
              <a:lumMod val="95000"/>
            </a:srgb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54545">
                    <a:lumMod val="50000"/>
                  </a:srgbClr>
                </a:solidFill>
                <a:effectLst/>
                <a:uLnTx/>
                <a:uFillTx/>
                <a:latin typeface="IBM Plex Sans Light"/>
                <a:ea typeface="+mn-ea"/>
                <a:cs typeface="+mn-cs"/>
              </a:rPr>
              <a:t>(2) </a:t>
            </a:r>
            <a:r>
              <a:rPr kumimoji="0" lang="en-US" sz="1600" b="1" i="0" u="none" strike="noStrike" kern="1200" cap="none" spc="0" normalizeH="0" baseline="0" noProof="0" dirty="0">
                <a:ln>
                  <a:noFill/>
                </a:ln>
                <a:solidFill>
                  <a:srgbClr val="454545">
                    <a:lumMod val="50000"/>
                  </a:srgbClr>
                </a:solidFill>
                <a:effectLst/>
                <a:uLnTx/>
                <a:uFillTx/>
                <a:latin typeface="IBM Plex Sans Light"/>
                <a:ea typeface="Calibri" panose="020F0502020204030204" pitchFamily="34" charset="0"/>
                <a:cs typeface="Calibri" panose="020F0502020204030204" pitchFamily="34" charset="0"/>
              </a:rPr>
              <a:t>Medium Size Projec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IBM Plex Sans Light"/>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Light"/>
                <a:ea typeface="Calibri" panose="020F0502020204030204" pitchFamily="34" charset="0"/>
                <a:cs typeface="Calibri" panose="020F0502020204030204" pitchFamily="34" charset="0"/>
              </a:rPr>
              <a:t>Projects that are happening at the HR function org level and include work redesign and automation with medium size impac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7" name="Rectangle 6">
            <a:extLst>
              <a:ext uri="{FF2B5EF4-FFF2-40B4-BE49-F238E27FC236}">
                <a16:creationId xmlns:a16="http://schemas.microsoft.com/office/drawing/2014/main" id="{3255DEF7-EBEC-6CFF-6EA3-E1EA1E25A78D}"/>
              </a:ext>
            </a:extLst>
          </p:cNvPr>
          <p:cNvSpPr/>
          <p:nvPr/>
        </p:nvSpPr>
        <p:spPr>
          <a:xfrm>
            <a:off x="147372" y="4012514"/>
            <a:ext cx="2293792" cy="1229672"/>
          </a:xfrm>
          <a:prstGeom prst="rect">
            <a:avLst/>
          </a:prstGeom>
          <a:solidFill>
            <a:srgbClr val="FFFFFF">
              <a:lumMod val="95000"/>
            </a:srgb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54545">
                    <a:lumMod val="50000"/>
                  </a:srgbClr>
                </a:solidFill>
                <a:effectLst/>
                <a:uLnTx/>
                <a:uFillTx/>
                <a:latin typeface="IBM Plex Sans Light"/>
                <a:ea typeface="Calibri" panose="020F0502020204030204" pitchFamily="34" charset="0"/>
                <a:cs typeface="Calibri" panose="020F0502020204030204" pitchFamily="34" charset="0"/>
              </a:rPr>
              <a:t>(3) Small Projec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454545">
                  <a:lumMod val="50000"/>
                </a:srgbClr>
              </a:solidFill>
              <a:effectLst/>
              <a:uLnTx/>
              <a:uFillTx/>
              <a:latin typeface="IBM Plex Sans Light"/>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a:ea typeface="Calibri" panose="020F0502020204030204" pitchFamily="34" charset="0"/>
                <a:cs typeface="Calibri" panose="020F0502020204030204" pitchFamily="34" charset="0"/>
              </a:rPr>
              <a:t>Collection of small enhancements that combined drive significant productivity impact.</a:t>
            </a:r>
          </a:p>
        </p:txBody>
      </p:sp>
      <p:sp>
        <p:nvSpPr>
          <p:cNvPr id="8" name="Rectangle 7">
            <a:extLst>
              <a:ext uri="{FF2B5EF4-FFF2-40B4-BE49-F238E27FC236}">
                <a16:creationId xmlns:a16="http://schemas.microsoft.com/office/drawing/2014/main" id="{17FC8C6B-E39A-93F7-390C-3CBA7C96BF3A}"/>
              </a:ext>
            </a:extLst>
          </p:cNvPr>
          <p:cNvSpPr/>
          <p:nvPr/>
        </p:nvSpPr>
        <p:spPr>
          <a:xfrm>
            <a:off x="192462" y="5320167"/>
            <a:ext cx="2293792" cy="1229672"/>
          </a:xfrm>
          <a:prstGeom prst="rect">
            <a:avLst/>
          </a:prstGeom>
          <a:solidFill>
            <a:srgbClr val="FFFFFF">
              <a:lumMod val="95000"/>
            </a:srgb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54545">
                    <a:lumMod val="50000"/>
                  </a:srgbClr>
                </a:solidFill>
                <a:effectLst/>
                <a:uLnTx/>
                <a:uFillTx/>
                <a:latin typeface="IBM Plex Sans Light"/>
                <a:ea typeface="+mn-ea"/>
                <a:cs typeface="+mn-cs"/>
              </a:rPr>
              <a:t>(4) </a:t>
            </a:r>
            <a:r>
              <a:rPr kumimoji="0" lang="en-US" sz="1600" b="1" i="0" u="none" strike="noStrike" kern="1200" cap="none" spc="0" normalizeH="0" baseline="0" noProof="0" dirty="0">
                <a:ln>
                  <a:noFill/>
                </a:ln>
                <a:solidFill>
                  <a:srgbClr val="454545">
                    <a:lumMod val="50000"/>
                  </a:srgbClr>
                </a:solidFill>
                <a:effectLst/>
                <a:uLnTx/>
                <a:uFillTx/>
                <a:latin typeface="IBM Plex Sans Light"/>
                <a:ea typeface="Calibri" panose="020F0502020204030204" pitchFamily="34" charset="0"/>
                <a:cs typeface="Calibri" panose="020F0502020204030204" pitchFamily="34" charset="0"/>
              </a:rPr>
              <a:t>Transformation Cul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454545">
                  <a:lumMod val="50000"/>
                </a:srgbClr>
              </a:solidFill>
              <a:effectLst/>
              <a:uLnTx/>
              <a:uFillTx/>
              <a:latin typeface="IBM Plex Sans Light"/>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454545">
                    <a:lumMod val="50000"/>
                  </a:srgbClr>
                </a:solidFill>
                <a:effectLst/>
                <a:uLnTx/>
                <a:uFillTx/>
                <a:latin typeface="IBM Plex Sans Light"/>
                <a:ea typeface="Calibri" panose="020F0502020204030204" pitchFamily="34" charset="0"/>
                <a:cs typeface="Calibri" panose="020F0502020204030204" pitchFamily="34" charset="0"/>
              </a:rPr>
              <a:t>HR Professional transforming their own work in a unsupervised manner.</a:t>
            </a:r>
            <a:endParaRPr kumimoji="0" lang="en-US" sz="1000" b="0" i="0" u="none" strike="noStrike" kern="1200" cap="none" spc="0" normalizeH="0" baseline="0" noProof="0" dirty="0">
              <a:ln>
                <a:noFill/>
              </a:ln>
              <a:solidFill>
                <a:srgbClr val="000000"/>
              </a:solidFill>
              <a:effectLst/>
              <a:uLnTx/>
              <a:uFillTx/>
              <a:latin typeface="IBM Plex Sans Light"/>
              <a:ea typeface="Calibri" panose="020F0502020204030204" pitchFamily="34" charset="0"/>
              <a:cs typeface="Calibri" panose="020F0502020204030204" pitchFamily="34" charset="0"/>
            </a:endParaRPr>
          </a:p>
        </p:txBody>
      </p:sp>
      <p:sp>
        <p:nvSpPr>
          <p:cNvPr id="9" name="Rounded Rectangle 8">
            <a:extLst>
              <a:ext uri="{FF2B5EF4-FFF2-40B4-BE49-F238E27FC236}">
                <a16:creationId xmlns:a16="http://schemas.microsoft.com/office/drawing/2014/main" id="{02FBAB36-049A-FC06-4638-9EE04F14AD67}"/>
              </a:ext>
            </a:extLst>
          </p:cNvPr>
          <p:cNvSpPr/>
          <p:nvPr/>
        </p:nvSpPr>
        <p:spPr bwMode="auto">
          <a:xfrm>
            <a:off x="165723" y="1439439"/>
            <a:ext cx="2320531" cy="5069418"/>
          </a:xfrm>
          <a:prstGeom prst="roundRect">
            <a:avLst>
              <a:gd name="adj" fmla="val 1164"/>
            </a:avLst>
          </a:prstGeom>
          <a:noFill/>
          <a:ln w="38100">
            <a:solidFill>
              <a:srgbClr val="1B2834"/>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0" name="Rectangle 9">
            <a:extLst>
              <a:ext uri="{FF2B5EF4-FFF2-40B4-BE49-F238E27FC236}">
                <a16:creationId xmlns:a16="http://schemas.microsoft.com/office/drawing/2014/main" id="{D6F3F36A-5E53-A1CF-FAAD-7693C47C66AE}"/>
              </a:ext>
            </a:extLst>
          </p:cNvPr>
          <p:cNvSpPr/>
          <p:nvPr/>
        </p:nvSpPr>
        <p:spPr>
          <a:xfrm>
            <a:off x="957943" y="1306043"/>
            <a:ext cx="718843" cy="159897"/>
          </a:xfrm>
          <a:prstGeom prst="rect">
            <a:avLst/>
          </a:prstGeom>
          <a:solidFill>
            <a:srgbClr val="D9D9D9"/>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Straight Arrow Connector 10">
            <a:extLst>
              <a:ext uri="{FF2B5EF4-FFF2-40B4-BE49-F238E27FC236}">
                <a16:creationId xmlns:a16="http://schemas.microsoft.com/office/drawing/2014/main" id="{D015DD39-A729-C14C-41D9-E801317E00C9}"/>
              </a:ext>
            </a:extLst>
          </p:cNvPr>
          <p:cNvCxnSpPr>
            <a:cxnSpLocks/>
          </p:cNvCxnSpPr>
          <p:nvPr/>
        </p:nvCxnSpPr>
        <p:spPr bwMode="auto">
          <a:xfrm>
            <a:off x="530822" y="1439440"/>
            <a:ext cx="508230" cy="0"/>
          </a:xfrm>
          <a:prstGeom prst="straightConnector1">
            <a:avLst/>
          </a:prstGeom>
          <a:ln w="38100">
            <a:solidFill>
              <a:srgbClr val="1B2834"/>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12" name="Rectangle 11">
            <a:extLst>
              <a:ext uri="{FF2B5EF4-FFF2-40B4-BE49-F238E27FC236}">
                <a16:creationId xmlns:a16="http://schemas.microsoft.com/office/drawing/2014/main" id="{083575BE-F1DC-CAC7-D39F-908548FB68F1}"/>
              </a:ext>
            </a:extLst>
          </p:cNvPr>
          <p:cNvSpPr/>
          <p:nvPr/>
        </p:nvSpPr>
        <p:spPr>
          <a:xfrm>
            <a:off x="1162817" y="6489404"/>
            <a:ext cx="837876" cy="135753"/>
          </a:xfrm>
          <a:prstGeom prst="rect">
            <a:avLst/>
          </a:prstGeom>
          <a:solidFill>
            <a:srgbClr val="D9D9D9"/>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cxnSp>
        <p:nvCxnSpPr>
          <p:cNvPr id="13" name="Straight Arrow Connector 12">
            <a:extLst>
              <a:ext uri="{FF2B5EF4-FFF2-40B4-BE49-F238E27FC236}">
                <a16:creationId xmlns:a16="http://schemas.microsoft.com/office/drawing/2014/main" id="{9C45CC3D-D419-51A0-A801-A8084F2F99EC}"/>
              </a:ext>
            </a:extLst>
          </p:cNvPr>
          <p:cNvCxnSpPr>
            <a:cxnSpLocks/>
          </p:cNvCxnSpPr>
          <p:nvPr/>
        </p:nvCxnSpPr>
        <p:spPr bwMode="auto">
          <a:xfrm flipH="1">
            <a:off x="1683334" y="6514803"/>
            <a:ext cx="311482" cy="0"/>
          </a:xfrm>
          <a:prstGeom prst="straightConnector1">
            <a:avLst/>
          </a:prstGeom>
          <a:ln w="38100">
            <a:solidFill>
              <a:srgbClr val="1B2834"/>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nvGrpSpPr>
          <p:cNvPr id="53" name="Group 1038">
            <a:extLst>
              <a:ext uri="{FF2B5EF4-FFF2-40B4-BE49-F238E27FC236}">
                <a16:creationId xmlns:a16="http://schemas.microsoft.com/office/drawing/2014/main" id="{91383C6A-2613-A2C8-A7B3-E39FFA77F502}"/>
              </a:ext>
            </a:extLst>
          </p:cNvPr>
          <p:cNvGrpSpPr/>
          <p:nvPr/>
        </p:nvGrpSpPr>
        <p:grpSpPr>
          <a:xfrm>
            <a:off x="6838843" y="1276029"/>
            <a:ext cx="3440671" cy="4547839"/>
            <a:chOff x="0" y="0"/>
            <a:chExt cx="4793975" cy="6742601"/>
          </a:xfrm>
        </p:grpSpPr>
        <p:sp>
          <p:nvSpPr>
            <p:cNvPr id="54" name="Shape 1053">
              <a:extLst>
                <a:ext uri="{FF2B5EF4-FFF2-40B4-BE49-F238E27FC236}">
                  <a16:creationId xmlns:a16="http://schemas.microsoft.com/office/drawing/2014/main" id="{FC5ACB36-8FF3-4564-F2CF-AE757C28EFD1}"/>
                </a:ext>
              </a:extLst>
            </p:cNvPr>
            <p:cNvSpPr/>
            <p:nvPr/>
          </p:nvSpPr>
          <p:spPr>
            <a:xfrm>
              <a:off x="1555204" y="1796426"/>
              <a:ext cx="661825" cy="3149750"/>
            </a:xfrm>
            <a:custGeom>
              <a:avLst/>
              <a:gdLst/>
              <a:ahLst/>
              <a:cxnLst>
                <a:cxn ang="0">
                  <a:pos x="wd2" y="hd2"/>
                </a:cxn>
                <a:cxn ang="5400000">
                  <a:pos x="wd2" y="hd2"/>
                </a:cxn>
                <a:cxn ang="10800000">
                  <a:pos x="wd2" y="hd2"/>
                </a:cxn>
                <a:cxn ang="16200000">
                  <a:pos x="wd2" y="hd2"/>
                </a:cxn>
              </a:cxnLst>
              <a:rect l="0" t="0" r="r" b="b"/>
              <a:pathLst>
                <a:path w="16200" h="21600" extrusionOk="0">
                  <a:moveTo>
                    <a:pt x="125" y="21600"/>
                  </a:moveTo>
                  <a:cubicBezTo>
                    <a:pt x="21600" y="14478"/>
                    <a:pt x="21558" y="7278"/>
                    <a:pt x="0" y="0"/>
                  </a:cubicBezTo>
                </a:path>
              </a:pathLst>
            </a:custGeom>
            <a:noFill/>
            <a:ln w="63500" cap="flat">
              <a:solidFill>
                <a:srgbClr val="E5E5E5"/>
              </a:solidFill>
              <a:prstDash val="solid"/>
              <a:miter lim="400000"/>
            </a:ln>
            <a:effectLst/>
          </p:spPr>
          <p:txBody>
            <a:bodyPr/>
            <a:lstStyle/>
            <a:p>
              <a:pPr marL="0" marR="0" lvl="0" indent="0" algn="ctr" defTabSz="685663" rtl="0" eaLnBrk="1" fontAlgn="auto" latinLnBrk="0" hangingPunct="1">
                <a:lnSpc>
                  <a:spcPct val="100000"/>
                </a:lnSpc>
                <a:spcBef>
                  <a:spcPts val="0"/>
                </a:spcBef>
                <a:spcAft>
                  <a:spcPts val="0"/>
                </a:spcAft>
                <a:buClrTx/>
                <a:buSzTx/>
                <a:buFontTx/>
                <a:buNone/>
                <a:tabLst/>
                <a:defRPr/>
              </a:pPr>
              <a:endParaRPr kumimoji="0" sz="506" b="0" i="0" u="none" strike="noStrike" kern="1200" cap="none" spc="0" normalizeH="0" baseline="0" noProof="0" dirty="0">
                <a:ln>
                  <a:noFill/>
                </a:ln>
                <a:solidFill>
                  <a:srgbClr val="454545"/>
                </a:solidFill>
                <a:effectLst/>
                <a:uLnTx/>
                <a:uFillTx/>
                <a:latin typeface="Sinkin Sans 300 Light" charset="0"/>
                <a:ea typeface="+mn-ea"/>
                <a:cs typeface="Sinkin Sans 300 Light" charset="0"/>
              </a:endParaRPr>
            </a:p>
          </p:txBody>
        </p:sp>
        <p:sp>
          <p:nvSpPr>
            <p:cNvPr id="55" name="Shape 1054">
              <a:extLst>
                <a:ext uri="{FF2B5EF4-FFF2-40B4-BE49-F238E27FC236}">
                  <a16:creationId xmlns:a16="http://schemas.microsoft.com/office/drawing/2014/main" id="{63C07BDA-26C0-06DC-8D11-1CDA3866ADC0}"/>
                </a:ext>
              </a:extLst>
            </p:cNvPr>
            <p:cNvSpPr/>
            <p:nvPr/>
          </p:nvSpPr>
          <p:spPr>
            <a:xfrm>
              <a:off x="2467756" y="936581"/>
              <a:ext cx="1023173" cy="4869440"/>
            </a:xfrm>
            <a:custGeom>
              <a:avLst/>
              <a:gdLst/>
              <a:ahLst/>
              <a:cxnLst>
                <a:cxn ang="0">
                  <a:pos x="wd2" y="hd2"/>
                </a:cxn>
                <a:cxn ang="5400000">
                  <a:pos x="wd2" y="hd2"/>
                </a:cxn>
                <a:cxn ang="10800000">
                  <a:pos x="wd2" y="hd2"/>
                </a:cxn>
                <a:cxn ang="16200000">
                  <a:pos x="wd2" y="hd2"/>
                </a:cxn>
              </a:cxnLst>
              <a:rect l="0" t="0" r="r" b="b"/>
              <a:pathLst>
                <a:path w="16200" h="21600" extrusionOk="0">
                  <a:moveTo>
                    <a:pt x="125" y="21600"/>
                  </a:moveTo>
                  <a:cubicBezTo>
                    <a:pt x="21600" y="14478"/>
                    <a:pt x="21558" y="7278"/>
                    <a:pt x="0" y="0"/>
                  </a:cubicBezTo>
                </a:path>
              </a:pathLst>
            </a:custGeom>
            <a:noFill/>
            <a:ln w="63500" cap="flat">
              <a:solidFill>
                <a:srgbClr val="E5E5E5"/>
              </a:solidFill>
              <a:prstDash val="solid"/>
              <a:miter lim="400000"/>
            </a:ln>
            <a:effectLst/>
          </p:spPr>
          <p:txBody>
            <a:bodyPr/>
            <a:lstStyle/>
            <a:p>
              <a:pPr marL="0" marR="0" lvl="0" indent="0" algn="ctr" defTabSz="685663" rtl="0" eaLnBrk="1" fontAlgn="auto" latinLnBrk="0" hangingPunct="1">
                <a:lnSpc>
                  <a:spcPct val="100000"/>
                </a:lnSpc>
                <a:spcBef>
                  <a:spcPts val="0"/>
                </a:spcBef>
                <a:spcAft>
                  <a:spcPts val="0"/>
                </a:spcAft>
                <a:buClrTx/>
                <a:buSzTx/>
                <a:buFontTx/>
                <a:buNone/>
                <a:tabLst/>
                <a:defRPr/>
              </a:pPr>
              <a:endParaRPr kumimoji="0" sz="506" b="0" i="0" u="none" strike="noStrike" kern="1200" cap="none" spc="0" normalizeH="0" baseline="0" noProof="0" dirty="0">
                <a:ln>
                  <a:noFill/>
                </a:ln>
                <a:solidFill>
                  <a:srgbClr val="454545"/>
                </a:solidFill>
                <a:effectLst/>
                <a:uLnTx/>
                <a:uFillTx/>
                <a:latin typeface="Sinkin Sans 300 Light" charset="0"/>
                <a:ea typeface="+mn-ea"/>
                <a:cs typeface="Sinkin Sans 300 Light" charset="0"/>
              </a:endParaRPr>
            </a:p>
          </p:txBody>
        </p:sp>
        <p:sp>
          <p:nvSpPr>
            <p:cNvPr id="56" name="Shape 1055">
              <a:extLst>
                <a:ext uri="{FF2B5EF4-FFF2-40B4-BE49-F238E27FC236}">
                  <a16:creationId xmlns:a16="http://schemas.microsoft.com/office/drawing/2014/main" id="{F0D62C18-7F57-6964-2149-22D04A83CF84}"/>
                </a:ext>
              </a:extLst>
            </p:cNvPr>
            <p:cNvSpPr/>
            <p:nvPr/>
          </p:nvSpPr>
          <p:spPr>
            <a:xfrm>
              <a:off x="3377207" y="0"/>
              <a:ext cx="1416769" cy="6742602"/>
            </a:xfrm>
            <a:custGeom>
              <a:avLst/>
              <a:gdLst/>
              <a:ahLst/>
              <a:cxnLst>
                <a:cxn ang="0">
                  <a:pos x="wd2" y="hd2"/>
                </a:cxn>
                <a:cxn ang="5400000">
                  <a:pos x="wd2" y="hd2"/>
                </a:cxn>
                <a:cxn ang="10800000">
                  <a:pos x="wd2" y="hd2"/>
                </a:cxn>
                <a:cxn ang="16200000">
                  <a:pos x="wd2" y="hd2"/>
                </a:cxn>
              </a:cxnLst>
              <a:rect l="0" t="0" r="r" b="b"/>
              <a:pathLst>
                <a:path w="16200" h="21600" extrusionOk="0">
                  <a:moveTo>
                    <a:pt x="125" y="21600"/>
                  </a:moveTo>
                  <a:cubicBezTo>
                    <a:pt x="21600" y="14478"/>
                    <a:pt x="21558" y="7278"/>
                    <a:pt x="0" y="0"/>
                  </a:cubicBezTo>
                </a:path>
              </a:pathLst>
            </a:custGeom>
            <a:noFill/>
            <a:ln w="63500" cap="flat">
              <a:solidFill>
                <a:srgbClr val="E5E5E5"/>
              </a:solidFill>
              <a:prstDash val="solid"/>
              <a:miter lim="400000"/>
            </a:ln>
            <a:effectLst/>
          </p:spPr>
          <p:txBody>
            <a:bodyPr/>
            <a:lstStyle/>
            <a:p>
              <a:pPr marL="0" marR="0" lvl="0" indent="0" algn="ctr" defTabSz="685663" rtl="0" eaLnBrk="1" fontAlgn="auto" latinLnBrk="0" hangingPunct="1">
                <a:lnSpc>
                  <a:spcPct val="100000"/>
                </a:lnSpc>
                <a:spcBef>
                  <a:spcPts val="0"/>
                </a:spcBef>
                <a:spcAft>
                  <a:spcPts val="0"/>
                </a:spcAft>
                <a:buClrTx/>
                <a:buSzTx/>
                <a:buFontTx/>
                <a:buNone/>
                <a:tabLst/>
                <a:defRPr/>
              </a:pPr>
              <a:endParaRPr kumimoji="0" sz="506" b="0" i="0" u="none" strike="noStrike" kern="1200" cap="none" spc="0" normalizeH="0" baseline="0" noProof="0" dirty="0">
                <a:ln>
                  <a:noFill/>
                </a:ln>
                <a:solidFill>
                  <a:srgbClr val="454545"/>
                </a:solidFill>
                <a:effectLst/>
                <a:uLnTx/>
                <a:uFillTx/>
                <a:latin typeface="Sinkin Sans 300 Light" charset="0"/>
                <a:ea typeface="+mn-ea"/>
                <a:cs typeface="Sinkin Sans 300 Light" charset="0"/>
              </a:endParaRPr>
            </a:p>
          </p:txBody>
        </p:sp>
        <p:sp>
          <p:nvSpPr>
            <p:cNvPr id="57" name="Shape 1034">
              <a:extLst>
                <a:ext uri="{FF2B5EF4-FFF2-40B4-BE49-F238E27FC236}">
                  <a16:creationId xmlns:a16="http://schemas.microsoft.com/office/drawing/2014/main" id="{D33FD2A7-9C48-99F3-3DAA-3400AC30D010}"/>
                </a:ext>
              </a:extLst>
            </p:cNvPr>
            <p:cNvSpPr/>
            <p:nvPr/>
          </p:nvSpPr>
          <p:spPr>
            <a:xfrm flipH="1">
              <a:off x="3175" y="1373445"/>
              <a:ext cx="4294173" cy="1984680"/>
            </a:xfrm>
            <a:prstGeom prst="line">
              <a:avLst/>
            </a:prstGeom>
            <a:noFill/>
            <a:ln w="63500" cap="flat">
              <a:solidFill>
                <a:srgbClr val="E5E5E5"/>
              </a:solidFill>
              <a:prstDash val="solid"/>
              <a:miter lim="400000"/>
            </a:ln>
            <a:effectLst/>
          </p:spPr>
          <p:txBody>
            <a:bodyPr wrap="square" lIns="0" tIns="0" rIns="0" bIns="0" numCol="1" anchor="ctr">
              <a:noAutofit/>
            </a:bodyPr>
            <a:lstStyle/>
            <a:p>
              <a:pPr marL="0" marR="0" lvl="0" indent="0" algn="ctr" defTabSz="685663" rtl="0" eaLnBrk="1" fontAlgn="auto" latinLnBrk="0" hangingPunct="1">
                <a:lnSpc>
                  <a:spcPct val="100000"/>
                </a:lnSpc>
                <a:spcBef>
                  <a:spcPts val="0"/>
                </a:spcBef>
                <a:spcAft>
                  <a:spcPts val="0"/>
                </a:spcAft>
                <a:buClrTx/>
                <a:buSzTx/>
                <a:buFontTx/>
                <a:buNone/>
                <a:tabLst/>
                <a:defRPr/>
              </a:pPr>
              <a:endParaRPr kumimoji="0" sz="506" b="0" i="0" u="none" strike="noStrike" kern="1200" cap="none" spc="0" normalizeH="0" baseline="0" noProof="0" dirty="0">
                <a:ln>
                  <a:noFill/>
                </a:ln>
                <a:solidFill>
                  <a:srgbClr val="454545"/>
                </a:solidFill>
                <a:effectLst/>
                <a:uLnTx/>
                <a:uFillTx/>
                <a:latin typeface="Sinkin Sans 300 Light" charset="0"/>
                <a:ea typeface="+mn-ea"/>
                <a:cs typeface="Sinkin Sans 300 Light" charset="0"/>
              </a:endParaRPr>
            </a:p>
          </p:txBody>
        </p:sp>
        <p:sp>
          <p:nvSpPr>
            <p:cNvPr id="58" name="Shape 1035">
              <a:extLst>
                <a:ext uri="{FF2B5EF4-FFF2-40B4-BE49-F238E27FC236}">
                  <a16:creationId xmlns:a16="http://schemas.microsoft.com/office/drawing/2014/main" id="{A3DA9D70-3C68-B800-5649-9ECE252AAA6B}"/>
                </a:ext>
              </a:extLst>
            </p:cNvPr>
            <p:cNvSpPr/>
            <p:nvPr/>
          </p:nvSpPr>
          <p:spPr>
            <a:xfrm>
              <a:off x="0" y="3415800"/>
              <a:ext cx="4297348" cy="1984476"/>
            </a:xfrm>
            <a:prstGeom prst="line">
              <a:avLst/>
            </a:prstGeom>
            <a:noFill/>
            <a:ln w="63500" cap="flat">
              <a:solidFill>
                <a:srgbClr val="E5E5E5"/>
              </a:solidFill>
              <a:prstDash val="solid"/>
              <a:miter lim="400000"/>
            </a:ln>
            <a:effectLst/>
          </p:spPr>
          <p:txBody>
            <a:bodyPr wrap="square" lIns="0" tIns="0" rIns="0" bIns="0" numCol="1" anchor="ctr">
              <a:noAutofit/>
            </a:bodyPr>
            <a:lstStyle/>
            <a:p>
              <a:pPr marL="0" marR="0" lvl="0" indent="0" algn="ctr" defTabSz="685663" rtl="0" eaLnBrk="1" fontAlgn="auto" latinLnBrk="0" hangingPunct="1">
                <a:lnSpc>
                  <a:spcPct val="100000"/>
                </a:lnSpc>
                <a:spcBef>
                  <a:spcPts val="0"/>
                </a:spcBef>
                <a:spcAft>
                  <a:spcPts val="0"/>
                </a:spcAft>
                <a:buClrTx/>
                <a:buSzTx/>
                <a:buFontTx/>
                <a:buNone/>
                <a:tabLst/>
                <a:defRPr/>
              </a:pPr>
              <a:endParaRPr kumimoji="0" sz="506" b="0" i="0" u="none" strike="noStrike" kern="1200" cap="none" spc="0" normalizeH="0" baseline="0" noProof="0" dirty="0">
                <a:ln>
                  <a:noFill/>
                </a:ln>
                <a:solidFill>
                  <a:srgbClr val="454545"/>
                </a:solidFill>
                <a:effectLst/>
                <a:uLnTx/>
                <a:uFillTx/>
                <a:latin typeface="Sinkin Sans 300 Light" charset="0"/>
                <a:ea typeface="+mn-ea"/>
                <a:cs typeface="Sinkin Sans 300 Light" charset="0"/>
              </a:endParaRPr>
            </a:p>
          </p:txBody>
        </p:sp>
        <p:sp>
          <p:nvSpPr>
            <p:cNvPr id="59" name="Shape 1036">
              <a:extLst>
                <a:ext uri="{FF2B5EF4-FFF2-40B4-BE49-F238E27FC236}">
                  <a16:creationId xmlns:a16="http://schemas.microsoft.com/office/drawing/2014/main" id="{CA42B820-FEC7-123C-B5C7-DA57C200E9A1}"/>
                </a:ext>
              </a:extLst>
            </p:cNvPr>
            <p:cNvSpPr/>
            <p:nvPr/>
          </p:nvSpPr>
          <p:spPr>
            <a:xfrm flipH="1">
              <a:off x="3494245" y="2793259"/>
              <a:ext cx="1257930" cy="597270"/>
            </a:xfrm>
            <a:prstGeom prst="line">
              <a:avLst/>
            </a:prstGeom>
            <a:noFill/>
            <a:ln w="63500" cap="flat">
              <a:solidFill>
                <a:srgbClr val="E5E5E5"/>
              </a:solidFill>
              <a:prstDash val="solid"/>
              <a:miter lim="400000"/>
            </a:ln>
            <a:effectLst/>
          </p:spPr>
          <p:txBody>
            <a:bodyPr wrap="square" lIns="0" tIns="0" rIns="0" bIns="0" numCol="1" anchor="ctr">
              <a:noAutofit/>
            </a:bodyPr>
            <a:lstStyle/>
            <a:p>
              <a:pPr marL="0" marR="0" lvl="0" indent="0" algn="ctr" defTabSz="685663" rtl="0" eaLnBrk="1" fontAlgn="auto" latinLnBrk="0" hangingPunct="1">
                <a:lnSpc>
                  <a:spcPct val="100000"/>
                </a:lnSpc>
                <a:spcBef>
                  <a:spcPts val="0"/>
                </a:spcBef>
                <a:spcAft>
                  <a:spcPts val="0"/>
                </a:spcAft>
                <a:buClrTx/>
                <a:buSzTx/>
                <a:buFontTx/>
                <a:buNone/>
                <a:tabLst/>
                <a:defRPr/>
              </a:pPr>
              <a:endParaRPr kumimoji="0" sz="506" b="0" i="0" u="none" strike="noStrike" kern="1200" cap="none" spc="0" normalizeH="0" baseline="0" noProof="0" dirty="0">
                <a:ln>
                  <a:noFill/>
                </a:ln>
                <a:solidFill>
                  <a:srgbClr val="454545"/>
                </a:solidFill>
                <a:effectLst/>
                <a:uLnTx/>
                <a:uFillTx/>
                <a:latin typeface="Sinkin Sans 300 Light" charset="0"/>
                <a:ea typeface="+mn-ea"/>
                <a:cs typeface="Sinkin Sans 300 Light" charset="0"/>
              </a:endParaRPr>
            </a:p>
          </p:txBody>
        </p:sp>
        <p:sp>
          <p:nvSpPr>
            <p:cNvPr id="60" name="Shape 1037">
              <a:extLst>
                <a:ext uri="{FF2B5EF4-FFF2-40B4-BE49-F238E27FC236}">
                  <a16:creationId xmlns:a16="http://schemas.microsoft.com/office/drawing/2014/main" id="{CB764870-6230-2969-A943-18A98B3FE326}"/>
                </a:ext>
              </a:extLst>
            </p:cNvPr>
            <p:cNvSpPr/>
            <p:nvPr/>
          </p:nvSpPr>
          <p:spPr>
            <a:xfrm>
              <a:off x="3494245" y="3447976"/>
              <a:ext cx="1257930" cy="532486"/>
            </a:xfrm>
            <a:prstGeom prst="line">
              <a:avLst/>
            </a:prstGeom>
            <a:noFill/>
            <a:ln w="63500" cap="flat">
              <a:solidFill>
                <a:srgbClr val="E5E5E5"/>
              </a:solidFill>
              <a:prstDash val="solid"/>
              <a:miter lim="400000"/>
            </a:ln>
            <a:effectLst/>
          </p:spPr>
          <p:txBody>
            <a:bodyPr wrap="square" lIns="0" tIns="0" rIns="0" bIns="0" numCol="1" anchor="ctr">
              <a:noAutofit/>
            </a:bodyPr>
            <a:lstStyle/>
            <a:p>
              <a:pPr marL="0" marR="0" lvl="0" indent="0" algn="ctr" defTabSz="685663" rtl="0" eaLnBrk="1" fontAlgn="auto" latinLnBrk="0" hangingPunct="1">
                <a:lnSpc>
                  <a:spcPct val="100000"/>
                </a:lnSpc>
                <a:spcBef>
                  <a:spcPts val="0"/>
                </a:spcBef>
                <a:spcAft>
                  <a:spcPts val="0"/>
                </a:spcAft>
                <a:buClrTx/>
                <a:buSzTx/>
                <a:buFontTx/>
                <a:buNone/>
                <a:tabLst/>
                <a:defRPr/>
              </a:pPr>
              <a:endParaRPr kumimoji="0" sz="506" b="0" i="0" u="none" strike="noStrike" kern="1200" cap="none" spc="0" normalizeH="0" baseline="0" noProof="0" dirty="0">
                <a:ln>
                  <a:noFill/>
                </a:ln>
                <a:solidFill>
                  <a:srgbClr val="454545"/>
                </a:solidFill>
                <a:effectLst/>
                <a:uLnTx/>
                <a:uFillTx/>
                <a:latin typeface="Sinkin Sans 300 Light" charset="0"/>
                <a:ea typeface="+mn-ea"/>
                <a:cs typeface="Sinkin Sans 300 Light" charset="0"/>
              </a:endParaRPr>
            </a:p>
          </p:txBody>
        </p:sp>
      </p:grpSp>
      <p:sp>
        <p:nvSpPr>
          <p:cNvPr id="52" name="Shape 1049">
            <a:extLst>
              <a:ext uri="{FF2B5EF4-FFF2-40B4-BE49-F238E27FC236}">
                <a16:creationId xmlns:a16="http://schemas.microsoft.com/office/drawing/2014/main" id="{00DD128A-B1A1-513E-2D81-01259F44BA15}"/>
              </a:ext>
            </a:extLst>
          </p:cNvPr>
          <p:cNvSpPr/>
          <p:nvPr/>
        </p:nvSpPr>
        <p:spPr>
          <a:xfrm>
            <a:off x="6686057" y="2873873"/>
            <a:ext cx="1267778" cy="126777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rgbClr val="0A3FC4"/>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nSpc>
                <a:spcPct val="90000"/>
              </a:lnSpc>
              <a:defRPr sz="4000">
                <a:solidFill>
                  <a:srgbClr val="FFFFFF"/>
                </a:solidFill>
              </a:defRPr>
            </a:lvl1pPr>
          </a:lstStyle>
          <a:p>
            <a:pPr marL="0" marR="0" lvl="0" indent="0" algn="ctr" defTabSz="685663" rtl="0" eaLnBrk="1" fontAlgn="auto" latinLnBrk="0" hangingPunct="1">
              <a:lnSpc>
                <a:spcPct val="90000"/>
              </a:lnSpc>
              <a:spcBef>
                <a:spcPts val="0"/>
              </a:spcBef>
              <a:spcAft>
                <a:spcPts val="0"/>
              </a:spcAft>
              <a:buClrTx/>
              <a:buSzTx/>
              <a:buFontTx/>
              <a:buNone/>
              <a:tabLst/>
              <a:defRPr sz="1800">
                <a:solidFill>
                  <a:srgbClr val="000000"/>
                </a:solidFill>
              </a:defRPr>
            </a:pPr>
            <a:r>
              <a:rPr kumimoji="0" lang="en-US" sz="16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rPr>
              <a:t>Big Bets</a:t>
            </a:r>
            <a:endParaRPr kumimoji="0" sz="28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endParaRPr>
          </a:p>
        </p:txBody>
      </p:sp>
      <p:sp>
        <p:nvSpPr>
          <p:cNvPr id="61" name="Shape 1042">
            <a:extLst>
              <a:ext uri="{FF2B5EF4-FFF2-40B4-BE49-F238E27FC236}">
                <a16:creationId xmlns:a16="http://schemas.microsoft.com/office/drawing/2014/main" id="{FEDF3A6A-1B31-71AD-9183-EB8F03327BC6}"/>
              </a:ext>
            </a:extLst>
          </p:cNvPr>
          <p:cNvSpPr/>
          <p:nvPr/>
        </p:nvSpPr>
        <p:spPr>
          <a:xfrm>
            <a:off x="7956024" y="2570805"/>
            <a:ext cx="594360" cy="594360"/>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rgbClr val="7732BB"/>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8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Medium Size Projects</a:t>
            </a:r>
          </a:p>
        </p:txBody>
      </p:sp>
      <p:sp>
        <p:nvSpPr>
          <p:cNvPr id="62" name="Shape 1042">
            <a:extLst>
              <a:ext uri="{FF2B5EF4-FFF2-40B4-BE49-F238E27FC236}">
                <a16:creationId xmlns:a16="http://schemas.microsoft.com/office/drawing/2014/main" id="{7724778A-59D8-1052-C6B4-757ED8A19A65}"/>
              </a:ext>
            </a:extLst>
          </p:cNvPr>
          <p:cNvSpPr/>
          <p:nvPr/>
        </p:nvSpPr>
        <p:spPr>
          <a:xfrm>
            <a:off x="7955024" y="3892353"/>
            <a:ext cx="594360" cy="589095"/>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rgbClr val="7732BB"/>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8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Medium Size Projects</a:t>
            </a:r>
          </a:p>
        </p:txBody>
      </p:sp>
      <p:sp>
        <p:nvSpPr>
          <p:cNvPr id="66" name="Shape 1042">
            <a:extLst>
              <a:ext uri="{FF2B5EF4-FFF2-40B4-BE49-F238E27FC236}">
                <a16:creationId xmlns:a16="http://schemas.microsoft.com/office/drawing/2014/main" id="{30EBE25F-09DD-1803-81E8-B8B62D722FD2}"/>
              </a:ext>
            </a:extLst>
          </p:cNvPr>
          <p:cNvSpPr/>
          <p:nvPr/>
        </p:nvSpPr>
        <p:spPr>
          <a:xfrm>
            <a:off x="8761880" y="2235354"/>
            <a:ext cx="594360" cy="594360"/>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rgbClr val="00BEB8"/>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8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Small </a:t>
            </a:r>
          </a:p>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8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Projects</a:t>
            </a:r>
          </a:p>
        </p:txBody>
      </p:sp>
      <p:sp>
        <p:nvSpPr>
          <p:cNvPr id="67" name="Shape 1042">
            <a:extLst>
              <a:ext uri="{FF2B5EF4-FFF2-40B4-BE49-F238E27FC236}">
                <a16:creationId xmlns:a16="http://schemas.microsoft.com/office/drawing/2014/main" id="{DF92E024-BD08-0C08-69F5-3409294A3783}"/>
              </a:ext>
            </a:extLst>
          </p:cNvPr>
          <p:cNvSpPr/>
          <p:nvPr/>
        </p:nvSpPr>
        <p:spPr>
          <a:xfrm>
            <a:off x="9024341" y="3262979"/>
            <a:ext cx="594360" cy="594360"/>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rgbClr val="00BEB8"/>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8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Small </a:t>
            </a:r>
          </a:p>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8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Projects</a:t>
            </a:r>
          </a:p>
        </p:txBody>
      </p:sp>
      <p:sp>
        <p:nvSpPr>
          <p:cNvPr id="68" name="Shape 1042">
            <a:extLst>
              <a:ext uri="{FF2B5EF4-FFF2-40B4-BE49-F238E27FC236}">
                <a16:creationId xmlns:a16="http://schemas.microsoft.com/office/drawing/2014/main" id="{34EA58A4-3D63-CA5E-B618-D196402E665F}"/>
              </a:ext>
            </a:extLst>
          </p:cNvPr>
          <p:cNvSpPr/>
          <p:nvPr/>
        </p:nvSpPr>
        <p:spPr>
          <a:xfrm>
            <a:off x="8771325" y="4286833"/>
            <a:ext cx="594360" cy="594360"/>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rgbClr val="00BEB8"/>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8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Small </a:t>
            </a:r>
          </a:p>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8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Projects</a:t>
            </a:r>
          </a:p>
        </p:txBody>
      </p:sp>
      <p:sp>
        <p:nvSpPr>
          <p:cNvPr id="69" name="Shape 1042">
            <a:extLst>
              <a:ext uri="{FF2B5EF4-FFF2-40B4-BE49-F238E27FC236}">
                <a16:creationId xmlns:a16="http://schemas.microsoft.com/office/drawing/2014/main" id="{68D44E4D-064E-AF5E-F3AD-34F2A182D8E1}"/>
              </a:ext>
            </a:extLst>
          </p:cNvPr>
          <p:cNvSpPr/>
          <p:nvPr/>
        </p:nvSpPr>
        <p:spPr>
          <a:xfrm>
            <a:off x="9582612" y="1866326"/>
            <a:ext cx="594360" cy="594360"/>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rgbClr val="1B2834"/>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7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Continuous Improvement</a:t>
            </a:r>
          </a:p>
        </p:txBody>
      </p:sp>
      <p:sp>
        <p:nvSpPr>
          <p:cNvPr id="71" name="Shape 1042">
            <a:extLst>
              <a:ext uri="{FF2B5EF4-FFF2-40B4-BE49-F238E27FC236}">
                <a16:creationId xmlns:a16="http://schemas.microsoft.com/office/drawing/2014/main" id="{F1E2B88F-6A79-4AD3-162A-020492E03AC8}"/>
              </a:ext>
            </a:extLst>
          </p:cNvPr>
          <p:cNvSpPr/>
          <p:nvPr/>
        </p:nvSpPr>
        <p:spPr>
          <a:xfrm>
            <a:off x="9941307" y="2851925"/>
            <a:ext cx="594360" cy="594360"/>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rgbClr val="1B2834"/>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7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Continuous Improvement</a:t>
            </a:r>
          </a:p>
        </p:txBody>
      </p:sp>
      <p:sp>
        <p:nvSpPr>
          <p:cNvPr id="72" name="Shape 1042">
            <a:extLst>
              <a:ext uri="{FF2B5EF4-FFF2-40B4-BE49-F238E27FC236}">
                <a16:creationId xmlns:a16="http://schemas.microsoft.com/office/drawing/2014/main" id="{678D291A-57F4-72E9-BD27-EA80C8B733B6}"/>
              </a:ext>
            </a:extLst>
          </p:cNvPr>
          <p:cNvSpPr/>
          <p:nvPr/>
        </p:nvSpPr>
        <p:spPr>
          <a:xfrm>
            <a:off x="9952902" y="3670362"/>
            <a:ext cx="594360" cy="594360"/>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rgbClr val="1B2834"/>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7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Continuous Improvement</a:t>
            </a:r>
          </a:p>
        </p:txBody>
      </p:sp>
      <p:sp>
        <p:nvSpPr>
          <p:cNvPr id="73" name="Shape 1042">
            <a:extLst>
              <a:ext uri="{FF2B5EF4-FFF2-40B4-BE49-F238E27FC236}">
                <a16:creationId xmlns:a16="http://schemas.microsoft.com/office/drawing/2014/main" id="{E686F8C0-B6C9-E22C-B253-3B57C51A30ED}"/>
              </a:ext>
            </a:extLst>
          </p:cNvPr>
          <p:cNvSpPr/>
          <p:nvPr/>
        </p:nvSpPr>
        <p:spPr>
          <a:xfrm>
            <a:off x="9582612" y="4638344"/>
            <a:ext cx="594360" cy="594360"/>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rgbClr val="1B2834"/>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7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Continuous Improvement</a:t>
            </a:r>
          </a:p>
        </p:txBody>
      </p:sp>
      <p:sp>
        <p:nvSpPr>
          <p:cNvPr id="22" name="Shape 1042">
            <a:extLst>
              <a:ext uri="{FF2B5EF4-FFF2-40B4-BE49-F238E27FC236}">
                <a16:creationId xmlns:a16="http://schemas.microsoft.com/office/drawing/2014/main" id="{60C7F8E7-BB36-A212-8564-1788D00CC582}"/>
              </a:ext>
            </a:extLst>
          </p:cNvPr>
          <p:cNvSpPr/>
          <p:nvPr/>
        </p:nvSpPr>
        <p:spPr>
          <a:xfrm>
            <a:off x="5882248" y="2583281"/>
            <a:ext cx="594360" cy="594360"/>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rgbClr val="7732BB"/>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8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Medium Size Projects</a:t>
            </a:r>
          </a:p>
        </p:txBody>
      </p:sp>
      <p:sp>
        <p:nvSpPr>
          <p:cNvPr id="23" name="Shape 1042">
            <a:extLst>
              <a:ext uri="{FF2B5EF4-FFF2-40B4-BE49-F238E27FC236}">
                <a16:creationId xmlns:a16="http://schemas.microsoft.com/office/drawing/2014/main" id="{736C681B-20A4-AF4D-C932-7286A938B93A}"/>
              </a:ext>
            </a:extLst>
          </p:cNvPr>
          <p:cNvSpPr/>
          <p:nvPr/>
        </p:nvSpPr>
        <p:spPr>
          <a:xfrm>
            <a:off x="5881248" y="3904829"/>
            <a:ext cx="594360" cy="589095"/>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rgbClr val="7732BB"/>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8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Medium Size Projects</a:t>
            </a:r>
          </a:p>
        </p:txBody>
      </p:sp>
      <p:sp>
        <p:nvSpPr>
          <p:cNvPr id="24" name="Shape 1042">
            <a:extLst>
              <a:ext uri="{FF2B5EF4-FFF2-40B4-BE49-F238E27FC236}">
                <a16:creationId xmlns:a16="http://schemas.microsoft.com/office/drawing/2014/main" id="{79A79D95-68DE-53E8-6381-187994B78548}"/>
              </a:ext>
            </a:extLst>
          </p:cNvPr>
          <p:cNvSpPr/>
          <p:nvPr/>
        </p:nvSpPr>
        <p:spPr>
          <a:xfrm>
            <a:off x="4922806" y="2267982"/>
            <a:ext cx="594360" cy="594360"/>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rgbClr val="00BEB8"/>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8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Small </a:t>
            </a:r>
          </a:p>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8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Projects</a:t>
            </a:r>
          </a:p>
        </p:txBody>
      </p:sp>
      <p:sp>
        <p:nvSpPr>
          <p:cNvPr id="25" name="Shape 1042">
            <a:extLst>
              <a:ext uri="{FF2B5EF4-FFF2-40B4-BE49-F238E27FC236}">
                <a16:creationId xmlns:a16="http://schemas.microsoft.com/office/drawing/2014/main" id="{2E99C976-1A58-E461-C799-54C5BBBCF2C2}"/>
              </a:ext>
            </a:extLst>
          </p:cNvPr>
          <p:cNvSpPr/>
          <p:nvPr/>
        </p:nvSpPr>
        <p:spPr>
          <a:xfrm>
            <a:off x="4726114" y="3253115"/>
            <a:ext cx="594360" cy="594360"/>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rgbClr val="00BEB8"/>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8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Small </a:t>
            </a:r>
          </a:p>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8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Projects</a:t>
            </a:r>
          </a:p>
        </p:txBody>
      </p:sp>
      <p:sp>
        <p:nvSpPr>
          <p:cNvPr id="26" name="Shape 1042">
            <a:extLst>
              <a:ext uri="{FF2B5EF4-FFF2-40B4-BE49-F238E27FC236}">
                <a16:creationId xmlns:a16="http://schemas.microsoft.com/office/drawing/2014/main" id="{2841347A-31B2-B405-A8E6-E752E963C97C}"/>
              </a:ext>
            </a:extLst>
          </p:cNvPr>
          <p:cNvSpPr/>
          <p:nvPr/>
        </p:nvSpPr>
        <p:spPr>
          <a:xfrm>
            <a:off x="4932251" y="4319461"/>
            <a:ext cx="594360" cy="594360"/>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rgbClr val="00BEB8"/>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8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Small </a:t>
            </a:r>
          </a:p>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8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Projects</a:t>
            </a:r>
          </a:p>
        </p:txBody>
      </p:sp>
      <p:sp>
        <p:nvSpPr>
          <p:cNvPr id="27" name="Shape 1042">
            <a:extLst>
              <a:ext uri="{FF2B5EF4-FFF2-40B4-BE49-F238E27FC236}">
                <a16:creationId xmlns:a16="http://schemas.microsoft.com/office/drawing/2014/main" id="{C593CA95-4193-523B-BA70-F76754EAF4D0}"/>
              </a:ext>
            </a:extLst>
          </p:cNvPr>
          <p:cNvSpPr/>
          <p:nvPr/>
        </p:nvSpPr>
        <p:spPr>
          <a:xfrm>
            <a:off x="4187187" y="1928210"/>
            <a:ext cx="594360" cy="594360"/>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rgbClr val="1B2834"/>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7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Continuous Improvement</a:t>
            </a:r>
          </a:p>
        </p:txBody>
      </p:sp>
      <p:sp>
        <p:nvSpPr>
          <p:cNvPr id="28" name="Shape 1042">
            <a:extLst>
              <a:ext uri="{FF2B5EF4-FFF2-40B4-BE49-F238E27FC236}">
                <a16:creationId xmlns:a16="http://schemas.microsoft.com/office/drawing/2014/main" id="{9CC78989-56E8-5714-0592-C07BB0F0152B}"/>
              </a:ext>
            </a:extLst>
          </p:cNvPr>
          <p:cNvSpPr/>
          <p:nvPr/>
        </p:nvSpPr>
        <p:spPr>
          <a:xfrm>
            <a:off x="3761072" y="2906664"/>
            <a:ext cx="594360" cy="594360"/>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rgbClr val="1B2834"/>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7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Continuous Improvement</a:t>
            </a:r>
          </a:p>
        </p:txBody>
      </p:sp>
      <p:sp>
        <p:nvSpPr>
          <p:cNvPr id="29" name="Shape 1042">
            <a:extLst>
              <a:ext uri="{FF2B5EF4-FFF2-40B4-BE49-F238E27FC236}">
                <a16:creationId xmlns:a16="http://schemas.microsoft.com/office/drawing/2014/main" id="{743B5E7C-3DEE-6699-9EF9-5FB78AFD5BA1}"/>
              </a:ext>
            </a:extLst>
          </p:cNvPr>
          <p:cNvSpPr/>
          <p:nvPr/>
        </p:nvSpPr>
        <p:spPr>
          <a:xfrm>
            <a:off x="3772667" y="3725101"/>
            <a:ext cx="594360" cy="594360"/>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rgbClr val="1B2834"/>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7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Continuous Improvement</a:t>
            </a:r>
          </a:p>
        </p:txBody>
      </p:sp>
      <p:sp>
        <p:nvSpPr>
          <p:cNvPr id="30" name="Shape 1042">
            <a:extLst>
              <a:ext uri="{FF2B5EF4-FFF2-40B4-BE49-F238E27FC236}">
                <a16:creationId xmlns:a16="http://schemas.microsoft.com/office/drawing/2014/main" id="{448839AC-BEBF-3D77-09E8-16D733E0EEFE}"/>
              </a:ext>
            </a:extLst>
          </p:cNvPr>
          <p:cNvSpPr/>
          <p:nvPr/>
        </p:nvSpPr>
        <p:spPr>
          <a:xfrm>
            <a:off x="4187187" y="4700228"/>
            <a:ext cx="594360" cy="594360"/>
          </a:xfrm>
          <a:custGeom>
            <a:avLst/>
            <a:gdLst/>
            <a:ahLst/>
            <a:cxnLst>
              <a:cxn ang="0">
                <a:pos x="wd2" y="hd2"/>
              </a:cxn>
              <a:cxn ang="5400000">
                <a:pos x="wd2" y="hd2"/>
              </a:cxn>
              <a:cxn ang="10800000">
                <a:pos x="wd2" y="hd2"/>
              </a:cxn>
              <a:cxn ang="16200000">
                <a:pos x="wd2" y="hd2"/>
              </a:cxn>
            </a:cxnLst>
            <a:rect l="0" t="0" r="r" b="b"/>
            <a:pathLst>
              <a:path w="21600" h="21600" extrusionOk="0">
                <a:moveTo>
                  <a:pt x="10501" y="0"/>
                </a:moveTo>
                <a:lnTo>
                  <a:pt x="11100" y="0"/>
                </a:lnTo>
                <a:cubicBezTo>
                  <a:pt x="16899" y="0"/>
                  <a:pt x="21600" y="4702"/>
                  <a:pt x="21600" y="10500"/>
                </a:cubicBezTo>
                <a:lnTo>
                  <a:pt x="21600" y="11100"/>
                </a:lnTo>
                <a:cubicBezTo>
                  <a:pt x="21600" y="16898"/>
                  <a:pt x="16899" y="21600"/>
                  <a:pt x="11100" y="21600"/>
                </a:cubicBezTo>
                <a:lnTo>
                  <a:pt x="10501" y="21600"/>
                </a:lnTo>
                <a:cubicBezTo>
                  <a:pt x="4702" y="21600"/>
                  <a:pt x="0" y="16898"/>
                  <a:pt x="0" y="11100"/>
                </a:cubicBezTo>
                <a:lnTo>
                  <a:pt x="0" y="10500"/>
                </a:lnTo>
                <a:cubicBezTo>
                  <a:pt x="0" y="4702"/>
                  <a:pt x="4702" y="0"/>
                  <a:pt x="10501" y="0"/>
                </a:cubicBezTo>
                <a:cubicBezTo>
                  <a:pt x="10501" y="0"/>
                  <a:pt x="10501" y="0"/>
                  <a:pt x="10501" y="0"/>
                </a:cubicBezTo>
                <a:close/>
              </a:path>
            </a:pathLst>
          </a:custGeom>
          <a:solidFill>
            <a:srgbClr val="1B2834"/>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marL="0" marR="0" lvl="0" indent="0" algn="ctr" defTabSz="584200" rtl="0" eaLnBrk="1" fontAlgn="auto" latinLnBrk="0" hangingPunct="1">
              <a:lnSpc>
                <a:spcPct val="100000"/>
              </a:lnSpc>
              <a:spcBef>
                <a:spcPts val="0"/>
              </a:spcBef>
              <a:spcAft>
                <a:spcPts val="0"/>
              </a:spcAft>
              <a:buClrTx/>
              <a:buSzTx/>
              <a:buFontTx/>
              <a:buNone/>
              <a:tabLst/>
              <a:defRPr sz="1800" cap="none">
                <a:solidFill>
                  <a:srgbClr val="000000"/>
                </a:solidFill>
              </a:defRPr>
            </a:pPr>
            <a:r>
              <a:rPr kumimoji="0" lang="en-US" sz="700" b="0" i="0" u="none" strike="noStrike" kern="0" cap="none" spc="0" normalizeH="0" baseline="0" noProof="0" dirty="0">
                <a:ln>
                  <a:noFill/>
                </a:ln>
                <a:solidFill>
                  <a:srgbClr val="FFFFFF"/>
                </a:solidFill>
                <a:effectLst/>
                <a:uLnTx/>
                <a:uFillTx/>
                <a:latin typeface="Sinkin Sans 300 Light" charset="0"/>
                <a:ea typeface="Sinkin Sans 300 Light" charset="0"/>
                <a:cs typeface="Sinkin Sans 300 Light" charset="0"/>
                <a:sym typeface="Helvetica Neue Light"/>
              </a:rPr>
              <a:t>Continuous Improvement</a:t>
            </a:r>
          </a:p>
        </p:txBody>
      </p:sp>
      <p:sp>
        <p:nvSpPr>
          <p:cNvPr id="38" name="Rounded Rectangle 29">
            <a:extLst>
              <a:ext uri="{FF2B5EF4-FFF2-40B4-BE49-F238E27FC236}">
                <a16:creationId xmlns:a16="http://schemas.microsoft.com/office/drawing/2014/main" id="{A72405BC-2F1A-9C11-1F44-5238B2F0A18A}"/>
              </a:ext>
            </a:extLst>
          </p:cNvPr>
          <p:cNvSpPr/>
          <p:nvPr/>
        </p:nvSpPr>
        <p:spPr bwMode="auto">
          <a:xfrm>
            <a:off x="4355432" y="6145260"/>
            <a:ext cx="1823193" cy="377986"/>
          </a:xfrm>
          <a:prstGeom prst="roundRect">
            <a:avLst>
              <a:gd name="adj" fmla="val 4422"/>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57150" tIns="57150" rIns="57150" bIns="57150" numCol="1" rtlCol="0" anchor="ctr" anchorCtr="0" compatLnSpc="1">
            <a:prstTxWarp prst="textNoShape">
              <a:avLst/>
            </a:prstTxWarp>
          </a:bodyPr>
          <a:lstStyle/>
          <a:p>
            <a:pPr marL="0" marR="0" lvl="0" indent="0" algn="ctr" defTabSz="571464"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IBM Plex Sans Light"/>
                <a:ea typeface="+mn-ea"/>
                <a:cs typeface="+mn-cs"/>
              </a:rPr>
              <a:t>ELIMINATE</a:t>
            </a:r>
          </a:p>
        </p:txBody>
      </p:sp>
      <p:sp>
        <p:nvSpPr>
          <p:cNvPr id="39" name="Rounded Rectangle 30">
            <a:extLst>
              <a:ext uri="{FF2B5EF4-FFF2-40B4-BE49-F238E27FC236}">
                <a16:creationId xmlns:a16="http://schemas.microsoft.com/office/drawing/2014/main" id="{160281F2-8384-F853-3A9A-66E485E19B41}"/>
              </a:ext>
            </a:extLst>
          </p:cNvPr>
          <p:cNvSpPr/>
          <p:nvPr/>
        </p:nvSpPr>
        <p:spPr bwMode="auto">
          <a:xfrm>
            <a:off x="6337314" y="6139173"/>
            <a:ext cx="1823193" cy="377986"/>
          </a:xfrm>
          <a:prstGeom prst="roundRect">
            <a:avLst>
              <a:gd name="adj" fmla="val 4422"/>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57150" tIns="57150" rIns="57150" bIns="57150" numCol="1" rtlCol="0" anchor="ctr" anchorCtr="0" compatLnSpc="1">
            <a:prstTxWarp prst="textNoShape">
              <a:avLst/>
            </a:prstTxWarp>
          </a:bodyPr>
          <a:lstStyle/>
          <a:p>
            <a:pPr marL="0" marR="0" lvl="0" indent="0" algn="ctr" defTabSz="571464"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IBM Plex Sans Light"/>
                <a:ea typeface="+mn-ea"/>
                <a:cs typeface="+mn-cs"/>
              </a:rPr>
              <a:t>SIMPLIFY</a:t>
            </a:r>
          </a:p>
        </p:txBody>
      </p:sp>
      <p:sp>
        <p:nvSpPr>
          <p:cNvPr id="40" name="Rounded Rectangle 33">
            <a:extLst>
              <a:ext uri="{FF2B5EF4-FFF2-40B4-BE49-F238E27FC236}">
                <a16:creationId xmlns:a16="http://schemas.microsoft.com/office/drawing/2014/main" id="{CCEBF279-1500-0F06-9367-CE39F3FC65CD}"/>
              </a:ext>
            </a:extLst>
          </p:cNvPr>
          <p:cNvSpPr/>
          <p:nvPr/>
        </p:nvSpPr>
        <p:spPr bwMode="auto">
          <a:xfrm>
            <a:off x="8319196" y="6139173"/>
            <a:ext cx="1823193" cy="377986"/>
          </a:xfrm>
          <a:prstGeom prst="roundRect">
            <a:avLst>
              <a:gd name="adj" fmla="val 4422"/>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57150" tIns="57150" rIns="57150" bIns="57150" numCol="1" rtlCol="0" anchor="ctr" anchorCtr="0" compatLnSpc="1">
            <a:prstTxWarp prst="textNoShape">
              <a:avLst/>
            </a:prstTxWarp>
          </a:bodyPr>
          <a:lstStyle/>
          <a:p>
            <a:pPr marL="0" marR="0" lvl="0" indent="0" algn="ctr" defTabSz="571464"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IBM Plex Sans Light"/>
                <a:ea typeface="+mn-ea"/>
                <a:cs typeface="+mn-cs"/>
              </a:rPr>
              <a:t>AUTOMATE</a:t>
            </a:r>
          </a:p>
        </p:txBody>
      </p:sp>
      <p:sp>
        <p:nvSpPr>
          <p:cNvPr id="41" name="TextBox 40">
            <a:extLst>
              <a:ext uri="{FF2B5EF4-FFF2-40B4-BE49-F238E27FC236}">
                <a16:creationId xmlns:a16="http://schemas.microsoft.com/office/drawing/2014/main" id="{95589AAF-BA83-14FC-DF97-1B4E2F272465}"/>
              </a:ext>
            </a:extLst>
          </p:cNvPr>
          <p:cNvSpPr txBox="1"/>
          <p:nvPr/>
        </p:nvSpPr>
        <p:spPr>
          <a:xfrm>
            <a:off x="2782190" y="6133401"/>
            <a:ext cx="1532792" cy="400110"/>
          </a:xfrm>
          <a:prstGeom prst="rect">
            <a:avLst/>
          </a:prstGeom>
          <a:noFill/>
        </p:spPr>
        <p:txBody>
          <a:bodyPr wrap="none" lIns="91440" tIns="91440" rIns="91440" bIns="9144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Core HR Mantra:</a:t>
            </a:r>
          </a:p>
        </p:txBody>
      </p:sp>
      <p:sp>
        <p:nvSpPr>
          <p:cNvPr id="4" name="TextBox 3">
            <a:extLst>
              <a:ext uri="{FF2B5EF4-FFF2-40B4-BE49-F238E27FC236}">
                <a16:creationId xmlns:a16="http://schemas.microsoft.com/office/drawing/2014/main" id="{ECF9FA5B-5DBB-21A4-9495-B565542725E5}"/>
              </a:ext>
            </a:extLst>
          </p:cNvPr>
          <p:cNvSpPr txBox="1"/>
          <p:nvPr/>
        </p:nvSpPr>
        <p:spPr>
          <a:xfrm>
            <a:off x="64419" y="57023"/>
            <a:ext cx="2457852" cy="923330"/>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Rethinking HR Transformation</a:t>
            </a:r>
          </a:p>
        </p:txBody>
      </p:sp>
    </p:spTree>
    <p:extLst>
      <p:ext uri="{BB962C8B-B14F-4D97-AF65-F5344CB8AC3E}">
        <p14:creationId xmlns:p14="http://schemas.microsoft.com/office/powerpoint/2010/main" val="30375207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3271F5EE-85C2-4373-4814-9C77B2998621}"/>
              </a:ext>
            </a:extLst>
          </p:cNvPr>
          <p:cNvGrpSpPr/>
          <p:nvPr/>
        </p:nvGrpSpPr>
        <p:grpSpPr>
          <a:xfrm>
            <a:off x="718819" y="2020106"/>
            <a:ext cx="3389734" cy="3573744"/>
            <a:chOff x="1437826" y="4577725"/>
            <a:chExt cx="6780350" cy="6617707"/>
          </a:xfrm>
        </p:grpSpPr>
        <p:sp>
          <p:nvSpPr>
            <p:cNvPr id="22" name="Rectangle 21">
              <a:extLst>
                <a:ext uri="{FF2B5EF4-FFF2-40B4-BE49-F238E27FC236}">
                  <a16:creationId xmlns:a16="http://schemas.microsoft.com/office/drawing/2014/main" id="{ABD4441E-63CB-BE86-39F6-A1F323152CD3}"/>
                </a:ext>
              </a:extLst>
            </p:cNvPr>
            <p:cNvSpPr/>
            <p:nvPr/>
          </p:nvSpPr>
          <p:spPr bwMode="auto">
            <a:xfrm>
              <a:off x="2005136" y="6083966"/>
              <a:ext cx="5959769" cy="5111466"/>
            </a:xfrm>
            <a:prstGeom prst="rect">
              <a:avLst/>
            </a:prstGeom>
            <a:noFill/>
            <a:ln w="63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grpSp>
          <p:nvGrpSpPr>
            <p:cNvPr id="15" name="Group 14">
              <a:extLst>
                <a:ext uri="{FF2B5EF4-FFF2-40B4-BE49-F238E27FC236}">
                  <a16:creationId xmlns:a16="http://schemas.microsoft.com/office/drawing/2014/main" id="{6C600028-DA48-0FD7-1AAA-2F6C9C4A6406}"/>
                </a:ext>
              </a:extLst>
            </p:cNvPr>
            <p:cNvGrpSpPr/>
            <p:nvPr/>
          </p:nvGrpSpPr>
          <p:grpSpPr>
            <a:xfrm>
              <a:off x="1437826" y="4577725"/>
              <a:ext cx="6780350" cy="2361323"/>
              <a:chOff x="1245322" y="4577725"/>
              <a:chExt cx="6780350" cy="2361323"/>
            </a:xfrm>
          </p:grpSpPr>
          <p:sp>
            <p:nvSpPr>
              <p:cNvPr id="11" name="Rounded Rectangle 10">
                <a:extLst>
                  <a:ext uri="{FF2B5EF4-FFF2-40B4-BE49-F238E27FC236}">
                    <a16:creationId xmlns:a16="http://schemas.microsoft.com/office/drawing/2014/main" id="{66ADC99C-7C7E-C450-7302-0BA3CA8ECE18}"/>
                  </a:ext>
                </a:extLst>
              </p:cNvPr>
              <p:cNvSpPr/>
              <p:nvPr/>
            </p:nvSpPr>
            <p:spPr bwMode="auto">
              <a:xfrm>
                <a:off x="1812632" y="5149659"/>
                <a:ext cx="6213040" cy="934309"/>
              </a:xfrm>
              <a:prstGeom prst="roundRect">
                <a:avLst/>
              </a:prstGeom>
              <a:solidFill>
                <a:srgbClr val="E5F6FF">
                  <a:alpha val="40191"/>
                </a:srgbClr>
              </a:solidFill>
              <a:ln w="3175">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4" name="Oval 3">
                <a:extLst>
                  <a:ext uri="{FF2B5EF4-FFF2-40B4-BE49-F238E27FC236}">
                    <a16:creationId xmlns:a16="http://schemas.microsoft.com/office/drawing/2014/main" id="{FF649481-9E30-0344-CC5B-5D0BBB92AC9D}"/>
                  </a:ext>
                </a:extLst>
              </p:cNvPr>
              <p:cNvSpPr/>
              <p:nvPr/>
            </p:nvSpPr>
            <p:spPr bwMode="auto">
              <a:xfrm>
                <a:off x="1245322" y="4577725"/>
                <a:ext cx="2550696" cy="2361323"/>
              </a:xfrm>
              <a:prstGeom prst="ellipse">
                <a:avLst/>
              </a:pr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grpSp>
      </p:grpSp>
      <p:sp>
        <p:nvSpPr>
          <p:cNvPr id="2" name="Title 1">
            <a:extLst>
              <a:ext uri="{FF2B5EF4-FFF2-40B4-BE49-F238E27FC236}">
                <a16:creationId xmlns:a16="http://schemas.microsoft.com/office/drawing/2014/main" id="{D47AEEA3-344B-AF69-F6F3-BDFB91E08EBE}"/>
              </a:ext>
            </a:extLst>
          </p:cNvPr>
          <p:cNvSpPr>
            <a:spLocks noGrp="1"/>
          </p:cNvSpPr>
          <p:nvPr>
            <p:ph type="title"/>
          </p:nvPr>
        </p:nvSpPr>
        <p:spPr>
          <a:xfrm>
            <a:off x="288002" y="206134"/>
            <a:ext cx="4312807" cy="2286496"/>
          </a:xfrm>
        </p:spPr>
        <p:txBody>
          <a:bodyPr/>
          <a:lstStyle/>
          <a:p>
            <a:r>
              <a:rPr lang="en-US" sz="2800" b="1" dirty="0">
                <a:solidFill>
                  <a:schemeClr val="tx1"/>
                </a:solidFill>
              </a:rPr>
              <a:t>Technology as an enabler:</a:t>
            </a:r>
            <a:br>
              <a:rPr lang="en-US" sz="2000" b="1" dirty="0">
                <a:solidFill>
                  <a:schemeClr val="tx1"/>
                </a:solidFill>
              </a:rPr>
            </a:br>
            <a:r>
              <a:rPr lang="en-US" sz="2000" b="1" i="1" dirty="0">
                <a:solidFill>
                  <a:schemeClr val="tx1"/>
                </a:solidFill>
              </a:rPr>
              <a:t>The Persona Experience</a:t>
            </a:r>
          </a:p>
        </p:txBody>
      </p:sp>
      <p:sp>
        <p:nvSpPr>
          <p:cNvPr id="28" name="Slide Number Placeholder 4">
            <a:extLst>
              <a:ext uri="{FF2B5EF4-FFF2-40B4-BE49-F238E27FC236}">
                <a16:creationId xmlns:a16="http://schemas.microsoft.com/office/drawing/2014/main" id="{31B1C401-9F8E-5479-E6D9-9F7511FAE2C0}"/>
              </a:ext>
            </a:extLst>
          </p:cNvPr>
          <p:cNvSpPr>
            <a:spLocks noGrp="1"/>
          </p:cNvSpPr>
          <p:nvPr>
            <p:ph type="sldNum" sz="quarter" idx="4"/>
          </p:nvPr>
        </p:nvSpPr>
        <p:spPr>
          <a:xfrm>
            <a:off x="5890660" y="3203953"/>
            <a:ext cx="60915" cy="123111"/>
          </a:xfrm>
        </p:spPr>
        <p:txBody>
          <a:bodyPr/>
          <a:lstStyle/>
          <a:p>
            <a:pPr marL="0" marR="0" lvl="0" indent="0" algn="r" defTabSz="914507" rtl="0" eaLnBrk="1" fontAlgn="auto" latinLnBrk="0" hangingPunct="1">
              <a:lnSpc>
                <a:spcPct val="100000"/>
              </a:lnSpc>
              <a:spcBef>
                <a:spcPts val="0"/>
              </a:spcBef>
              <a:spcAft>
                <a:spcPts val="0"/>
              </a:spcAft>
              <a:buClrTx/>
              <a:buSzTx/>
              <a:buFontTx/>
              <a:buNone/>
              <a:tabLst/>
              <a:defRPr/>
            </a:pPr>
            <a:fld id="{59395FB3-9C97-154F-86B2-7E381B951268}" type="slidenum">
              <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sym typeface="IBM Plex Sans"/>
              </a:rPr>
              <a:pPr marL="0" marR="0" lvl="0" indent="0" algn="r" defTabSz="914507"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IBM Plex Sans"/>
            </a:endParaRPr>
          </a:p>
        </p:txBody>
      </p:sp>
      <p:sp>
        <p:nvSpPr>
          <p:cNvPr id="53" name="TextBox 52">
            <a:extLst>
              <a:ext uri="{FF2B5EF4-FFF2-40B4-BE49-F238E27FC236}">
                <a16:creationId xmlns:a16="http://schemas.microsoft.com/office/drawing/2014/main" id="{13674164-2C24-DE46-918C-542B8265436A}"/>
              </a:ext>
            </a:extLst>
          </p:cNvPr>
          <p:cNvSpPr txBox="1"/>
          <p:nvPr/>
        </p:nvSpPr>
        <p:spPr>
          <a:xfrm>
            <a:off x="4402985" y="5103295"/>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188" marR="0" lvl="0" indent="-223330" algn="l" defTabSz="1218956" rtl="0" eaLnBrk="1" fontAlgn="auto" latinLnBrk="0" hangingPunct="1">
              <a:lnSpc>
                <a:spcPct val="100000"/>
              </a:lnSpc>
              <a:spcBef>
                <a:spcPts val="1450"/>
              </a:spcBef>
              <a:spcAft>
                <a:spcPts val="0"/>
              </a:spcAft>
              <a:buClrTx/>
              <a:buSzPct val="100000"/>
              <a:buFontTx/>
              <a:buChar char="–"/>
              <a:tabLst/>
              <a:defRPr/>
            </a:pPr>
            <a:endParaRPr kumimoji="0" lang="en-US" sz="18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17" name="Oval 16">
            <a:extLst>
              <a:ext uri="{FF2B5EF4-FFF2-40B4-BE49-F238E27FC236}">
                <a16:creationId xmlns:a16="http://schemas.microsoft.com/office/drawing/2014/main" id="{BCCB5261-BA12-7B08-4C80-C6F2E4EC079B}"/>
              </a:ext>
            </a:extLst>
          </p:cNvPr>
          <p:cNvSpPr/>
          <p:nvPr/>
        </p:nvSpPr>
        <p:spPr bwMode="auto">
          <a:xfrm>
            <a:off x="4342835" y="2020105"/>
            <a:ext cx="1275181" cy="1275181"/>
          </a:xfrm>
          <a:prstGeom prst="ellipse">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grpSp>
        <p:nvGrpSpPr>
          <p:cNvPr id="25" name="Group 24">
            <a:extLst>
              <a:ext uri="{FF2B5EF4-FFF2-40B4-BE49-F238E27FC236}">
                <a16:creationId xmlns:a16="http://schemas.microsoft.com/office/drawing/2014/main" id="{071CA5F5-4D4D-FCF0-364A-6D487524A14E}"/>
              </a:ext>
            </a:extLst>
          </p:cNvPr>
          <p:cNvGrpSpPr/>
          <p:nvPr/>
        </p:nvGrpSpPr>
        <p:grpSpPr>
          <a:xfrm>
            <a:off x="4342835" y="2020106"/>
            <a:ext cx="3389734" cy="3573744"/>
            <a:chOff x="1437826" y="4039845"/>
            <a:chExt cx="6780350" cy="6617706"/>
          </a:xfrm>
        </p:grpSpPr>
        <p:sp>
          <p:nvSpPr>
            <p:cNvPr id="29" name="Rectangle 28">
              <a:extLst>
                <a:ext uri="{FF2B5EF4-FFF2-40B4-BE49-F238E27FC236}">
                  <a16:creationId xmlns:a16="http://schemas.microsoft.com/office/drawing/2014/main" id="{60861C4A-5B4A-FEC9-F032-63D114B2F2DD}"/>
                </a:ext>
              </a:extLst>
            </p:cNvPr>
            <p:cNvSpPr/>
            <p:nvPr/>
          </p:nvSpPr>
          <p:spPr bwMode="auto">
            <a:xfrm>
              <a:off x="2005136" y="5546085"/>
              <a:ext cx="6056026" cy="5111466"/>
            </a:xfrm>
            <a:prstGeom prst="rect">
              <a:avLst/>
            </a:prstGeom>
            <a:solidFill>
              <a:schemeClr val="bg1"/>
            </a:solidFill>
            <a:ln w="63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grpSp>
          <p:nvGrpSpPr>
            <p:cNvPr id="26" name="Group 25">
              <a:extLst>
                <a:ext uri="{FF2B5EF4-FFF2-40B4-BE49-F238E27FC236}">
                  <a16:creationId xmlns:a16="http://schemas.microsoft.com/office/drawing/2014/main" id="{B957F5F5-B3C9-5D1E-40FC-66FBCCC41FB0}"/>
                </a:ext>
              </a:extLst>
            </p:cNvPr>
            <p:cNvGrpSpPr/>
            <p:nvPr/>
          </p:nvGrpSpPr>
          <p:grpSpPr>
            <a:xfrm>
              <a:off x="1437826" y="4039845"/>
              <a:ext cx="6780350" cy="2361321"/>
              <a:chOff x="1245322" y="4039845"/>
              <a:chExt cx="6780350" cy="2361321"/>
            </a:xfrm>
          </p:grpSpPr>
          <p:sp>
            <p:nvSpPr>
              <p:cNvPr id="30" name="Rounded Rectangle 29">
                <a:extLst>
                  <a:ext uri="{FF2B5EF4-FFF2-40B4-BE49-F238E27FC236}">
                    <a16:creationId xmlns:a16="http://schemas.microsoft.com/office/drawing/2014/main" id="{0025C92E-3EF8-5754-061B-39C376DC0A25}"/>
                  </a:ext>
                </a:extLst>
              </p:cNvPr>
              <p:cNvSpPr/>
              <p:nvPr/>
            </p:nvSpPr>
            <p:spPr bwMode="auto">
              <a:xfrm>
                <a:off x="1812632" y="4611779"/>
                <a:ext cx="6213040" cy="934309"/>
              </a:xfrm>
              <a:prstGeom prst="roundRect">
                <a:avLst/>
              </a:prstGeom>
              <a:solidFill>
                <a:schemeClr val="accent2">
                  <a:lumMod val="20000"/>
                  <a:lumOff val="80000"/>
                  <a:alpha val="39688"/>
                </a:schemeClr>
              </a:solidFill>
              <a:ln w="3175">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6" name="Oval 35">
                <a:extLst>
                  <a:ext uri="{FF2B5EF4-FFF2-40B4-BE49-F238E27FC236}">
                    <a16:creationId xmlns:a16="http://schemas.microsoft.com/office/drawing/2014/main" id="{B38A5762-BCCF-9F20-7A7C-47F69CD9F9A5}"/>
                  </a:ext>
                </a:extLst>
              </p:cNvPr>
              <p:cNvSpPr/>
              <p:nvPr/>
            </p:nvSpPr>
            <p:spPr bwMode="auto">
              <a:xfrm>
                <a:off x="1245322" y="4039845"/>
                <a:ext cx="2550696" cy="2361321"/>
              </a:xfrm>
              <a:prstGeom prst="ellipse">
                <a:avLst/>
              </a:pr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grpSp>
      </p:grpSp>
      <p:grpSp>
        <p:nvGrpSpPr>
          <p:cNvPr id="37" name="Group 36">
            <a:extLst>
              <a:ext uri="{FF2B5EF4-FFF2-40B4-BE49-F238E27FC236}">
                <a16:creationId xmlns:a16="http://schemas.microsoft.com/office/drawing/2014/main" id="{95AED5F2-1832-F34D-1DF1-BFB6D3DC2E56}"/>
              </a:ext>
            </a:extLst>
          </p:cNvPr>
          <p:cNvGrpSpPr/>
          <p:nvPr/>
        </p:nvGrpSpPr>
        <p:grpSpPr>
          <a:xfrm>
            <a:off x="8185381" y="2020104"/>
            <a:ext cx="3448503" cy="3573746"/>
            <a:chOff x="1730568" y="4039841"/>
            <a:chExt cx="6897904" cy="6678186"/>
          </a:xfrm>
        </p:grpSpPr>
        <p:sp>
          <p:nvSpPr>
            <p:cNvPr id="40" name="Rectangle 39">
              <a:extLst>
                <a:ext uri="{FF2B5EF4-FFF2-40B4-BE49-F238E27FC236}">
                  <a16:creationId xmlns:a16="http://schemas.microsoft.com/office/drawing/2014/main" id="{F2A7F728-3F05-EE9E-5F7F-371C31801D00}"/>
                </a:ext>
              </a:extLst>
            </p:cNvPr>
            <p:cNvSpPr/>
            <p:nvPr/>
          </p:nvSpPr>
          <p:spPr bwMode="auto">
            <a:xfrm>
              <a:off x="2035134" y="5541201"/>
              <a:ext cx="5959769" cy="5176826"/>
            </a:xfrm>
            <a:prstGeom prst="rect">
              <a:avLst/>
            </a:prstGeom>
            <a:solidFill>
              <a:schemeClr val="bg1"/>
            </a:solidFill>
            <a:ln w="3175">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grpSp>
          <p:nvGrpSpPr>
            <p:cNvPr id="39" name="Group 38">
              <a:extLst>
                <a:ext uri="{FF2B5EF4-FFF2-40B4-BE49-F238E27FC236}">
                  <a16:creationId xmlns:a16="http://schemas.microsoft.com/office/drawing/2014/main" id="{DD06AB3A-BCC5-C3ED-FA2D-D916859878CB}"/>
                </a:ext>
              </a:extLst>
            </p:cNvPr>
            <p:cNvGrpSpPr/>
            <p:nvPr/>
          </p:nvGrpSpPr>
          <p:grpSpPr>
            <a:xfrm>
              <a:off x="1730568" y="4039841"/>
              <a:ext cx="6897904" cy="2382901"/>
              <a:chOff x="1538064" y="4039841"/>
              <a:chExt cx="6897904" cy="2382901"/>
            </a:xfrm>
          </p:grpSpPr>
          <p:sp>
            <p:nvSpPr>
              <p:cNvPr id="41" name="Rounded Rectangle 40">
                <a:extLst>
                  <a:ext uri="{FF2B5EF4-FFF2-40B4-BE49-F238E27FC236}">
                    <a16:creationId xmlns:a16="http://schemas.microsoft.com/office/drawing/2014/main" id="{1D37773E-A985-6FAB-E156-465997E41BD2}"/>
                  </a:ext>
                </a:extLst>
              </p:cNvPr>
              <p:cNvSpPr/>
              <p:nvPr/>
            </p:nvSpPr>
            <p:spPr bwMode="auto">
              <a:xfrm>
                <a:off x="1538064" y="4606891"/>
                <a:ext cx="6213040" cy="934310"/>
              </a:xfrm>
              <a:prstGeom prst="roundRect">
                <a:avLst/>
              </a:prstGeom>
              <a:solidFill>
                <a:schemeClr val="accent3">
                  <a:lumMod val="40000"/>
                  <a:lumOff val="60000"/>
                  <a:alpha val="40000"/>
                </a:schemeClr>
              </a:solidFill>
              <a:ln w="3175">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43" name="Oval 42">
                <a:extLst>
                  <a:ext uri="{FF2B5EF4-FFF2-40B4-BE49-F238E27FC236}">
                    <a16:creationId xmlns:a16="http://schemas.microsoft.com/office/drawing/2014/main" id="{7A2D24A1-DA1E-4253-71EC-5136DD4EFE02}"/>
                  </a:ext>
                </a:extLst>
              </p:cNvPr>
              <p:cNvSpPr/>
              <p:nvPr/>
            </p:nvSpPr>
            <p:spPr bwMode="auto">
              <a:xfrm>
                <a:off x="5885274" y="4039841"/>
                <a:ext cx="2550694" cy="2382901"/>
              </a:xfrm>
              <a:prstGeom prst="ellipse">
                <a:avLst/>
              </a:prstGeom>
              <a:solidFill>
                <a:schemeClr val="bg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grpSp>
      </p:grpSp>
      <p:sp>
        <p:nvSpPr>
          <p:cNvPr id="60" name="TextBox 59">
            <a:extLst>
              <a:ext uri="{FF2B5EF4-FFF2-40B4-BE49-F238E27FC236}">
                <a16:creationId xmlns:a16="http://schemas.microsoft.com/office/drawing/2014/main" id="{67D55F2A-A8E9-487E-D641-9DDACF274F8F}"/>
              </a:ext>
            </a:extLst>
          </p:cNvPr>
          <p:cNvSpPr txBox="1"/>
          <p:nvPr/>
        </p:nvSpPr>
        <p:spPr>
          <a:xfrm>
            <a:off x="2002997" y="2411878"/>
            <a:ext cx="1744352" cy="3849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US" sz="16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sym typeface="IBM Plex Sans Light"/>
              </a:rPr>
              <a:t>Employees</a:t>
            </a:r>
          </a:p>
        </p:txBody>
      </p:sp>
      <p:sp>
        <p:nvSpPr>
          <p:cNvPr id="61" name="Rectangle 60">
            <a:extLst>
              <a:ext uri="{FF2B5EF4-FFF2-40B4-BE49-F238E27FC236}">
                <a16:creationId xmlns:a16="http://schemas.microsoft.com/office/drawing/2014/main" id="{DF764C3E-87ED-4110-7DB5-116FFC2E821A}"/>
              </a:ext>
            </a:extLst>
          </p:cNvPr>
          <p:cNvSpPr/>
          <p:nvPr/>
        </p:nvSpPr>
        <p:spPr bwMode="auto">
          <a:xfrm>
            <a:off x="3046392" y="1264150"/>
            <a:ext cx="6099216" cy="565411"/>
          </a:xfrm>
          <a:prstGeom prst="rect">
            <a:avLst/>
          </a:prstGeom>
          <a:gradFill flip="none" rotWithShape="1">
            <a:gsLst>
              <a:gs pos="0">
                <a:schemeClr val="accent1">
                  <a:lumMod val="20000"/>
                  <a:lumOff val="80000"/>
                </a:schemeClr>
              </a:gs>
              <a:gs pos="82000">
                <a:schemeClr val="accent2">
                  <a:lumMod val="20000"/>
                  <a:lumOff val="80000"/>
                </a:schemeClr>
              </a:gs>
              <a:gs pos="100000">
                <a:schemeClr val="accent2">
                  <a:lumMod val="40000"/>
                  <a:lumOff val="60000"/>
                  <a:shade val="100000"/>
                  <a:satMod val="115000"/>
                </a:schemeClr>
              </a:gs>
            </a:gsLst>
            <a:lin ang="13500000" scaled="1"/>
            <a:tileRect/>
          </a:gradFill>
          <a:ln w="381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IBM Plex Sans Light"/>
                <a:ea typeface="+mn-ea"/>
                <a:cs typeface="+mn-cs"/>
              </a:rPr>
              <a:t>AI Orchestration Layer for HR </a:t>
            </a:r>
            <a:br>
              <a:rPr kumimoji="0" lang="en-US" sz="1200" b="1" i="0" u="none" strike="noStrike" kern="1200" cap="none" spc="0" normalizeH="0" baseline="0" noProof="0" dirty="0">
                <a:ln>
                  <a:noFill/>
                </a:ln>
                <a:solidFill>
                  <a:srgbClr val="000000"/>
                </a:solidFill>
                <a:effectLst/>
                <a:uLnTx/>
                <a:uFillTx/>
                <a:latin typeface="IBM Plex Sans Light"/>
                <a:ea typeface="+mn-ea"/>
                <a:cs typeface="+mn-cs"/>
              </a:rPr>
            </a:br>
            <a:r>
              <a:rPr kumimoji="0" lang="en-US" sz="1050" b="1" i="1" u="none" strike="noStrike" kern="1200" cap="none" spc="0" normalizeH="0" baseline="0" noProof="0" dirty="0">
                <a:ln>
                  <a:noFill/>
                </a:ln>
                <a:solidFill>
                  <a:srgbClr val="000000"/>
                </a:solidFill>
                <a:effectLst/>
                <a:uLnTx/>
                <a:uFillTx/>
                <a:latin typeface="IBM Plex Sans Light"/>
                <a:ea typeface="+mn-ea"/>
                <a:cs typeface="+mn-cs"/>
              </a:rPr>
              <a:t>powered by </a:t>
            </a:r>
            <a:r>
              <a:rPr kumimoji="0" lang="en-US" sz="1050" b="1" i="0" u="none" strike="noStrike" kern="1200" cap="none" spc="0" normalizeH="0" baseline="0" noProof="0" dirty="0">
                <a:ln>
                  <a:noFill/>
                </a:ln>
                <a:solidFill>
                  <a:srgbClr val="000000"/>
                </a:solidFill>
                <a:effectLst/>
                <a:uLnTx/>
                <a:uFillTx/>
                <a:latin typeface="IBM Plex Sans Light"/>
                <a:ea typeface="+mn-ea"/>
                <a:cs typeface="+mn-cs"/>
              </a:rPr>
              <a:t>watson</a:t>
            </a:r>
            <a:r>
              <a:rPr kumimoji="0" lang="en-US" sz="1050" b="1" i="0" u="none" strike="noStrike" kern="1200" cap="none" spc="0" normalizeH="0" baseline="0" noProof="0" dirty="0">
                <a:ln>
                  <a:noFill/>
                </a:ln>
                <a:solidFill>
                  <a:srgbClr val="0E61FF"/>
                </a:solidFill>
                <a:effectLst/>
                <a:uLnTx/>
                <a:uFillTx/>
                <a:latin typeface="IBM Plex Sans Light"/>
                <a:ea typeface="+mn-ea"/>
                <a:cs typeface="+mn-cs"/>
              </a:rPr>
              <a:t>x</a:t>
            </a:r>
            <a:r>
              <a:rPr kumimoji="0" lang="en-US" sz="1050" b="1" i="0" u="none" strike="noStrike" kern="1200" cap="none" spc="0" normalizeH="0" baseline="0" noProof="0" dirty="0">
                <a:ln>
                  <a:noFill/>
                </a:ln>
                <a:solidFill>
                  <a:srgbClr val="000000"/>
                </a:solidFill>
                <a:effectLst/>
                <a:uLnTx/>
                <a:uFillTx/>
                <a:latin typeface="IBM Plex Sans Light"/>
                <a:ea typeface="+mn-ea"/>
                <a:cs typeface="+mn-cs"/>
              </a:rPr>
              <a:t> Orchestrate</a:t>
            </a:r>
            <a:endParaRPr kumimoji="0" lang="en-US" sz="1200" b="1" i="0" u="none" strike="noStrike" kern="1200" cap="none" spc="0" normalizeH="0" baseline="0" noProof="0" dirty="0">
              <a:ln>
                <a:noFill/>
              </a:ln>
              <a:solidFill>
                <a:srgbClr val="000000"/>
              </a:solidFill>
              <a:effectLst/>
              <a:uLnTx/>
              <a:uFillTx/>
              <a:latin typeface="IBM Plex Sans Light"/>
              <a:ea typeface="+mn-ea"/>
              <a:cs typeface="+mn-cs"/>
            </a:endParaRPr>
          </a:p>
        </p:txBody>
      </p:sp>
      <p:cxnSp>
        <p:nvCxnSpPr>
          <p:cNvPr id="63" name="Elbow Connector 62">
            <a:extLst>
              <a:ext uri="{FF2B5EF4-FFF2-40B4-BE49-F238E27FC236}">
                <a16:creationId xmlns:a16="http://schemas.microsoft.com/office/drawing/2014/main" id="{84F92C5C-10B6-D857-292F-76F5417D27D2}"/>
              </a:ext>
            </a:extLst>
          </p:cNvPr>
          <p:cNvCxnSpPr>
            <a:cxnSpLocks/>
            <a:stCxn id="4" idx="0"/>
            <a:endCxn id="61" idx="1"/>
          </p:cNvCxnSpPr>
          <p:nvPr/>
        </p:nvCxnSpPr>
        <p:spPr bwMode="auto">
          <a:xfrm rot="5400000" flipH="1" flipV="1">
            <a:off x="1964776" y="938490"/>
            <a:ext cx="473250" cy="1689982"/>
          </a:xfrm>
          <a:prstGeom prst="bentConnector2">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65" name="Elbow Connector 64">
            <a:extLst>
              <a:ext uri="{FF2B5EF4-FFF2-40B4-BE49-F238E27FC236}">
                <a16:creationId xmlns:a16="http://schemas.microsoft.com/office/drawing/2014/main" id="{3A426608-B077-2EA9-59B0-D13AADBC3C18}"/>
              </a:ext>
            </a:extLst>
          </p:cNvPr>
          <p:cNvCxnSpPr>
            <a:cxnSpLocks/>
            <a:stCxn id="43" idx="0"/>
          </p:cNvCxnSpPr>
          <p:nvPr/>
        </p:nvCxnSpPr>
        <p:spPr bwMode="auto">
          <a:xfrm rot="16200000" flipV="1">
            <a:off x="9823920" y="847730"/>
            <a:ext cx="490633" cy="1854116"/>
          </a:xfrm>
          <a:prstGeom prst="bentConnector2">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69" name="TextBox 68">
            <a:extLst>
              <a:ext uri="{FF2B5EF4-FFF2-40B4-BE49-F238E27FC236}">
                <a16:creationId xmlns:a16="http://schemas.microsoft.com/office/drawing/2014/main" id="{F3173869-EFE5-683F-6B2B-0984109D0361}"/>
              </a:ext>
            </a:extLst>
          </p:cNvPr>
          <p:cNvSpPr txBox="1"/>
          <p:nvPr/>
        </p:nvSpPr>
        <p:spPr>
          <a:xfrm>
            <a:off x="5626204" y="2411878"/>
            <a:ext cx="1744352" cy="3849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US" sz="16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sym typeface="IBM Plex Sans Light"/>
              </a:rPr>
              <a:t>Managers</a:t>
            </a:r>
          </a:p>
        </p:txBody>
      </p:sp>
      <p:sp>
        <p:nvSpPr>
          <p:cNvPr id="70" name="TextBox 69">
            <a:extLst>
              <a:ext uri="{FF2B5EF4-FFF2-40B4-BE49-F238E27FC236}">
                <a16:creationId xmlns:a16="http://schemas.microsoft.com/office/drawing/2014/main" id="{0DD97859-5D1F-BFD1-D8FB-ED5E609E42E0}"/>
              </a:ext>
            </a:extLst>
          </p:cNvPr>
          <p:cNvSpPr txBox="1"/>
          <p:nvPr/>
        </p:nvSpPr>
        <p:spPr>
          <a:xfrm>
            <a:off x="8509435" y="2420306"/>
            <a:ext cx="1744352" cy="3849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0" marR="0" lvl="0" indent="0" algn="ctr" defTabSz="1218956" rtl="0" eaLnBrk="1" fontAlgn="auto" latinLnBrk="0" hangingPunct="1">
              <a:lnSpc>
                <a:spcPct val="100000"/>
              </a:lnSpc>
              <a:spcBef>
                <a:spcPts val="1450"/>
              </a:spcBef>
              <a:spcAft>
                <a:spcPts val="0"/>
              </a:spcAft>
              <a:buClrTx/>
              <a:buSzPct val="100000"/>
              <a:buFontTx/>
              <a:buNone/>
              <a:tabLst/>
              <a:defRPr/>
            </a:pPr>
            <a:r>
              <a:rPr kumimoji="0" lang="en-US" sz="16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sym typeface="IBM Plex Sans Light"/>
              </a:rPr>
              <a:t>HR Professionals</a:t>
            </a:r>
          </a:p>
        </p:txBody>
      </p:sp>
      <p:pic>
        <p:nvPicPr>
          <p:cNvPr id="73" name="Picture 72" descr="A picture containing text, gear&#10;&#10;Description automatically generated">
            <a:extLst>
              <a:ext uri="{FF2B5EF4-FFF2-40B4-BE49-F238E27FC236}">
                <a16:creationId xmlns:a16="http://schemas.microsoft.com/office/drawing/2014/main" id="{3BBA73DE-4755-A20A-69C0-31481F4E352D}"/>
              </a:ext>
            </a:extLst>
          </p:cNvPr>
          <p:cNvPicPr>
            <a:picLocks noChangeAspect="1"/>
          </p:cNvPicPr>
          <p:nvPr/>
        </p:nvPicPr>
        <p:blipFill>
          <a:blip r:embed="rId2"/>
          <a:stretch>
            <a:fillRect/>
          </a:stretch>
        </p:blipFill>
        <p:spPr>
          <a:xfrm>
            <a:off x="4533281" y="2101964"/>
            <a:ext cx="921179" cy="977008"/>
          </a:xfrm>
          <a:prstGeom prst="rect">
            <a:avLst/>
          </a:prstGeom>
        </p:spPr>
      </p:pic>
      <p:cxnSp>
        <p:nvCxnSpPr>
          <p:cNvPr id="72" name="Straight Arrow Connector 71">
            <a:extLst>
              <a:ext uri="{FF2B5EF4-FFF2-40B4-BE49-F238E27FC236}">
                <a16:creationId xmlns:a16="http://schemas.microsoft.com/office/drawing/2014/main" id="{C05A9420-2D66-73D5-E693-7887B42097AE}"/>
              </a:ext>
            </a:extLst>
          </p:cNvPr>
          <p:cNvCxnSpPr/>
          <p:nvPr/>
        </p:nvCxnSpPr>
        <p:spPr bwMode="auto">
          <a:xfrm flipV="1">
            <a:off x="6498380" y="1829561"/>
            <a:ext cx="0" cy="474031"/>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pic>
        <p:nvPicPr>
          <p:cNvPr id="74" name="Picture 73" descr="Icon&#10;&#10;Description automatically generated">
            <a:extLst>
              <a:ext uri="{FF2B5EF4-FFF2-40B4-BE49-F238E27FC236}">
                <a16:creationId xmlns:a16="http://schemas.microsoft.com/office/drawing/2014/main" id="{14EF523C-4B2C-4A10-8E16-C59569179BD8}"/>
              </a:ext>
            </a:extLst>
          </p:cNvPr>
          <p:cNvPicPr>
            <a:picLocks noChangeAspect="1"/>
          </p:cNvPicPr>
          <p:nvPr/>
        </p:nvPicPr>
        <p:blipFill>
          <a:blip r:embed="rId3"/>
          <a:stretch>
            <a:fillRect/>
          </a:stretch>
        </p:blipFill>
        <p:spPr>
          <a:xfrm>
            <a:off x="864867" y="2028738"/>
            <a:ext cx="990221" cy="1050234"/>
          </a:xfrm>
          <a:prstGeom prst="rect">
            <a:avLst/>
          </a:prstGeom>
        </p:spPr>
      </p:pic>
      <p:pic>
        <p:nvPicPr>
          <p:cNvPr id="75" name="Picture 74" descr="Icon&#10;&#10;Description automatically generated">
            <a:extLst>
              <a:ext uri="{FF2B5EF4-FFF2-40B4-BE49-F238E27FC236}">
                <a16:creationId xmlns:a16="http://schemas.microsoft.com/office/drawing/2014/main" id="{029B00CB-0338-8DCF-3B32-FCE013AB65D0}"/>
              </a:ext>
            </a:extLst>
          </p:cNvPr>
          <p:cNvPicPr>
            <a:picLocks noChangeAspect="1"/>
          </p:cNvPicPr>
          <p:nvPr/>
        </p:nvPicPr>
        <p:blipFill>
          <a:blip r:embed="rId4"/>
          <a:stretch>
            <a:fillRect/>
          </a:stretch>
        </p:blipFill>
        <p:spPr>
          <a:xfrm>
            <a:off x="10565275" y="2101965"/>
            <a:ext cx="862036" cy="963260"/>
          </a:xfrm>
          <a:prstGeom prst="rect">
            <a:avLst/>
          </a:prstGeom>
        </p:spPr>
      </p:pic>
      <p:sp>
        <p:nvSpPr>
          <p:cNvPr id="76" name="TextBox 75">
            <a:extLst>
              <a:ext uri="{FF2B5EF4-FFF2-40B4-BE49-F238E27FC236}">
                <a16:creationId xmlns:a16="http://schemas.microsoft.com/office/drawing/2014/main" id="{3A47C58F-C48F-4391-B2B0-ACAD2705D9D2}"/>
              </a:ext>
            </a:extLst>
          </p:cNvPr>
          <p:cNvSpPr txBox="1"/>
          <p:nvPr/>
        </p:nvSpPr>
        <p:spPr>
          <a:xfrm>
            <a:off x="1091291" y="3461750"/>
            <a:ext cx="2656058" cy="164032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222188" marR="0" lvl="0" indent="-223330" algn="l" defTabSz="1218956" rtl="0" eaLnBrk="1" fontAlgn="auto" latinLnBrk="0" hangingPunct="1">
              <a:lnSpc>
                <a:spcPct val="100000"/>
              </a:lnSpc>
              <a:spcBef>
                <a:spcPts val="1450"/>
              </a:spcBef>
              <a:spcAft>
                <a:spcPts val="0"/>
              </a:spcAft>
              <a:buClrTx/>
              <a:buSzPct val="100000"/>
              <a:buFontTx/>
              <a:buChar char="–"/>
              <a:tabLst/>
              <a:defRPr/>
            </a:pPr>
            <a:r>
              <a:rPr kumimoji="0" lang="en-US" sz="14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Engages with </a:t>
            </a:r>
            <a:r>
              <a:rPr kumimoji="0" lang="en-US" sz="1400" b="1" i="0" u="none" strike="noStrike" kern="0" cap="none" spc="0" normalizeH="0" baseline="0" noProof="0" dirty="0">
                <a:ln>
                  <a:noFill/>
                </a:ln>
                <a:solidFill>
                  <a:srgbClr val="0F62FE"/>
                </a:solidFill>
                <a:effectLst/>
                <a:uLnTx/>
                <a:uFillTx/>
                <a:latin typeface="IBM Plex Sans Light"/>
                <a:ea typeface="+mn-ea"/>
                <a:cs typeface="+mn-cs"/>
                <a:sym typeface="IBM Plex Sans Light"/>
              </a:rPr>
              <a:t>digital assistant </a:t>
            </a:r>
            <a:r>
              <a:rPr kumimoji="0" lang="en-US" sz="14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AskHR)</a:t>
            </a:r>
            <a:r>
              <a:rPr kumimoji="0" lang="en-US" sz="1400" b="0" i="0" u="none" strike="noStrike" kern="0" cap="none" spc="0" normalizeH="0" baseline="0" noProof="0" dirty="0">
                <a:ln>
                  <a:noFill/>
                </a:ln>
                <a:solidFill>
                  <a:srgbClr val="0F62FE"/>
                </a:solidFill>
                <a:effectLst/>
                <a:uLnTx/>
                <a:uFillTx/>
                <a:latin typeface="IBM Plex Sans Light"/>
                <a:ea typeface="+mn-ea"/>
                <a:cs typeface="+mn-cs"/>
                <a:sym typeface="IBM Plex Sans Light"/>
              </a:rPr>
              <a:t> </a:t>
            </a:r>
            <a:r>
              <a:rPr kumimoji="0" lang="en-US" sz="14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as the primary entry point into HR </a:t>
            </a:r>
          </a:p>
          <a:p>
            <a:pPr marL="222188" marR="0" lvl="0" indent="-223330" algn="l" defTabSz="1218956" rtl="0" eaLnBrk="1" fontAlgn="auto" latinLnBrk="0" hangingPunct="1">
              <a:lnSpc>
                <a:spcPct val="100000"/>
              </a:lnSpc>
              <a:spcBef>
                <a:spcPts val="1450"/>
              </a:spcBef>
              <a:spcAft>
                <a:spcPts val="0"/>
              </a:spcAft>
              <a:buClrTx/>
              <a:buSzPct val="100000"/>
              <a:buFontTx/>
              <a:buChar char="–"/>
              <a:tabLst/>
              <a:defRPr/>
            </a:pPr>
            <a:r>
              <a:rPr kumimoji="0" lang="en-US" sz="14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Transaction and HR query assistance</a:t>
            </a:r>
          </a:p>
        </p:txBody>
      </p:sp>
      <p:sp>
        <p:nvSpPr>
          <p:cNvPr id="77" name="TextBox 76">
            <a:extLst>
              <a:ext uri="{FF2B5EF4-FFF2-40B4-BE49-F238E27FC236}">
                <a16:creationId xmlns:a16="http://schemas.microsoft.com/office/drawing/2014/main" id="{B633C4AD-EE11-11A8-1502-53B826F1EC58}"/>
              </a:ext>
            </a:extLst>
          </p:cNvPr>
          <p:cNvSpPr txBox="1"/>
          <p:nvPr/>
        </p:nvSpPr>
        <p:spPr>
          <a:xfrm>
            <a:off x="4697211" y="3421652"/>
            <a:ext cx="2886101" cy="164032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222188" marR="0" lvl="0" indent="-223330" algn="l" defTabSz="1218956" rtl="0" eaLnBrk="1" fontAlgn="auto" latinLnBrk="0" hangingPunct="1">
              <a:lnSpc>
                <a:spcPct val="100000"/>
              </a:lnSpc>
              <a:spcBef>
                <a:spcPts val="1450"/>
              </a:spcBef>
              <a:spcAft>
                <a:spcPts val="0"/>
              </a:spcAft>
              <a:buClrTx/>
              <a:buSzPct val="100000"/>
              <a:buFontTx/>
              <a:buChar char="–"/>
              <a:tabLst/>
              <a:defRPr/>
            </a:pPr>
            <a:r>
              <a:rPr kumimoji="0" lang="en-US" sz="14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Engages with </a:t>
            </a:r>
            <a:r>
              <a:rPr kumimoji="0" lang="en-US" sz="1400" b="1" i="0" u="none" strike="noStrike" kern="0" cap="none" spc="0" normalizeH="0" baseline="0" noProof="0" dirty="0">
                <a:ln>
                  <a:noFill/>
                </a:ln>
                <a:solidFill>
                  <a:srgbClr val="0F62FE"/>
                </a:solidFill>
                <a:effectLst/>
                <a:uLnTx/>
                <a:uFillTx/>
                <a:latin typeface="IBM Plex Sans Light"/>
                <a:ea typeface="+mn-ea"/>
                <a:cs typeface="+mn-cs"/>
                <a:sym typeface="IBM Plex Sans Light"/>
              </a:rPr>
              <a:t>digital assistant </a:t>
            </a:r>
            <a:r>
              <a:rPr kumimoji="0" lang="en-US" sz="14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AskHR) as the primary entry point into HR </a:t>
            </a:r>
          </a:p>
          <a:p>
            <a:pPr marL="222188" marR="0" lvl="0" indent="-223330" algn="l" defTabSz="1218956" rtl="0" eaLnBrk="1" fontAlgn="auto" latinLnBrk="0" hangingPunct="1">
              <a:lnSpc>
                <a:spcPct val="100000"/>
              </a:lnSpc>
              <a:spcBef>
                <a:spcPts val="1450"/>
              </a:spcBef>
              <a:spcAft>
                <a:spcPts val="0"/>
              </a:spcAft>
              <a:buClrTx/>
              <a:buSzPct val="100000"/>
              <a:buFontTx/>
              <a:buChar char="–"/>
              <a:tabLst/>
              <a:defRPr/>
            </a:pPr>
            <a:r>
              <a:rPr kumimoji="0" lang="en-US" sz="14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Transaction, HR query and complex case assistance</a:t>
            </a:r>
          </a:p>
          <a:p>
            <a:pPr marL="222188" marR="0" lvl="0" indent="-223330" algn="l" defTabSz="1218956" rtl="0" eaLnBrk="1" fontAlgn="auto" latinLnBrk="0" hangingPunct="1">
              <a:lnSpc>
                <a:spcPct val="100000"/>
              </a:lnSpc>
              <a:spcBef>
                <a:spcPts val="1450"/>
              </a:spcBef>
              <a:spcAft>
                <a:spcPts val="0"/>
              </a:spcAft>
              <a:buClrTx/>
              <a:buSzPct val="100000"/>
              <a:buFontTx/>
              <a:buChar char="–"/>
              <a:tabLst/>
              <a:defRPr/>
            </a:pPr>
            <a:r>
              <a:rPr kumimoji="0" lang="en-US" sz="14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Engages with </a:t>
            </a:r>
            <a:r>
              <a:rPr kumimoji="0" lang="en-US" sz="1400" b="1" i="0" u="none" strike="noStrike" kern="0" cap="none" spc="0" normalizeH="0" baseline="0" noProof="0" dirty="0">
                <a:ln>
                  <a:noFill/>
                </a:ln>
                <a:solidFill>
                  <a:srgbClr val="0F62FE"/>
                </a:solidFill>
                <a:effectLst/>
                <a:uLnTx/>
                <a:uFillTx/>
                <a:latin typeface="IBM Plex Sans Light"/>
                <a:ea typeface="+mn-ea"/>
                <a:cs typeface="+mn-cs"/>
                <a:sym typeface="IBM Plex Sans Light"/>
              </a:rPr>
              <a:t>digital labor </a:t>
            </a:r>
            <a:r>
              <a:rPr kumimoji="0" lang="en-US" sz="14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as a guide during end-to-end HR processes</a:t>
            </a:r>
          </a:p>
        </p:txBody>
      </p:sp>
      <p:sp>
        <p:nvSpPr>
          <p:cNvPr id="78" name="TextBox 77">
            <a:extLst>
              <a:ext uri="{FF2B5EF4-FFF2-40B4-BE49-F238E27FC236}">
                <a16:creationId xmlns:a16="http://schemas.microsoft.com/office/drawing/2014/main" id="{256C66B5-67F9-B278-A866-26F5BB0D17EC}"/>
              </a:ext>
            </a:extLst>
          </p:cNvPr>
          <p:cNvSpPr txBox="1"/>
          <p:nvPr/>
        </p:nvSpPr>
        <p:spPr>
          <a:xfrm>
            <a:off x="8444651" y="3421651"/>
            <a:ext cx="2656058" cy="164032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222188" marR="0" lvl="0" indent="-223330" algn="l" defTabSz="1218956" rtl="0" eaLnBrk="1" fontAlgn="auto" latinLnBrk="0" hangingPunct="1">
              <a:lnSpc>
                <a:spcPct val="100000"/>
              </a:lnSpc>
              <a:spcBef>
                <a:spcPts val="1450"/>
              </a:spcBef>
              <a:spcAft>
                <a:spcPts val="0"/>
              </a:spcAft>
              <a:buClrTx/>
              <a:buSzPct val="100000"/>
              <a:buFontTx/>
              <a:buChar char="–"/>
              <a:tabLst/>
              <a:defRPr/>
            </a:pPr>
            <a:r>
              <a:rPr kumimoji="0" lang="en-US" sz="14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Engages with </a:t>
            </a:r>
            <a:r>
              <a:rPr kumimoji="0" lang="en-US" sz="1400" b="1" i="0" u="none" strike="noStrike" kern="0" cap="none" spc="0" normalizeH="0" baseline="0" noProof="0" dirty="0">
                <a:ln>
                  <a:noFill/>
                </a:ln>
                <a:solidFill>
                  <a:srgbClr val="0F62FE"/>
                </a:solidFill>
                <a:effectLst/>
                <a:uLnTx/>
                <a:uFillTx/>
                <a:latin typeface="IBM Plex Sans Light"/>
                <a:ea typeface="+mn-ea"/>
                <a:cs typeface="+mn-cs"/>
                <a:sym typeface="IBM Plex Sans Light"/>
              </a:rPr>
              <a:t>digital labor </a:t>
            </a:r>
            <a:r>
              <a:rPr kumimoji="0" lang="en-US" sz="14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to pass off low-value manual work, instead focusing on coaching and guiding the business </a:t>
            </a:r>
            <a:br>
              <a:rPr kumimoji="0" lang="en-US" sz="14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endParaRPr kumimoji="0" lang="en-US" sz="14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6" name="Slide Number Placeholder 5">
            <a:extLst>
              <a:ext uri="{FF2B5EF4-FFF2-40B4-BE49-F238E27FC236}">
                <a16:creationId xmlns:a16="http://schemas.microsoft.com/office/drawing/2014/main" id="{B5A6B1A8-988B-823E-80EA-63E981724A54}"/>
              </a:ext>
            </a:extLst>
          </p:cNvPr>
          <p:cNvSpPr txBox="1">
            <a:spLocks/>
          </p:cNvSpPr>
          <p:nvPr/>
        </p:nvSpPr>
        <p:spPr>
          <a:xfrm>
            <a:off x="9448803" y="6400415"/>
            <a:ext cx="2438309" cy="222220"/>
          </a:xfrm>
          <a:prstGeom prst="rect">
            <a:avLst/>
          </a:prstGeom>
        </p:spPr>
        <p:txBody>
          <a:bodyPr vert="horz" lIns="0" tIns="0" rIns="0" bIns="0" rtlCol="0" anchor="ctr"/>
          <a:lstStyle>
            <a:defPPr>
              <a:defRPr lang="en-US"/>
            </a:defPPr>
            <a:lvl1pPr marL="0" algn="r"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r" defTabSz="1829013" rtl="0" eaLnBrk="1" fontAlgn="auto" latinLnBrk="0" hangingPunct="1">
              <a:lnSpc>
                <a:spcPct val="100000"/>
              </a:lnSpc>
              <a:spcBef>
                <a:spcPts val="0"/>
              </a:spcBef>
              <a:spcAft>
                <a:spcPts val="0"/>
              </a:spcAft>
              <a:buClrTx/>
              <a:buSzTx/>
              <a:buFontTx/>
              <a:buNone/>
              <a:tabLst/>
              <a:defRPr/>
            </a:pPr>
            <a:fld id="{48D7F682-F14B-F843-BB27-DCCE6EB7FFC1}" type="slidenum">
              <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pPr marL="0" marR="0" lvl="0" indent="0" algn="r" defTabSz="1829013"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5" name="Footer Placeholder 6">
            <a:extLst>
              <a:ext uri="{FF2B5EF4-FFF2-40B4-BE49-F238E27FC236}">
                <a16:creationId xmlns:a16="http://schemas.microsoft.com/office/drawing/2014/main" id="{E3B98F74-C7EE-7E31-A30A-7B041E108F3A}"/>
              </a:ext>
            </a:extLst>
          </p:cNvPr>
          <p:cNvSpPr txBox="1">
            <a:spLocks/>
          </p:cNvSpPr>
          <p:nvPr/>
        </p:nvSpPr>
        <p:spPr>
          <a:xfrm>
            <a:off x="181655" y="6433297"/>
            <a:ext cx="2763478" cy="2479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IBM HR | 2024</a:t>
            </a:r>
          </a:p>
        </p:txBody>
      </p:sp>
    </p:spTree>
    <p:extLst>
      <p:ext uri="{BB962C8B-B14F-4D97-AF65-F5344CB8AC3E}">
        <p14:creationId xmlns:p14="http://schemas.microsoft.com/office/powerpoint/2010/main" val="730016738"/>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24F2C40-71B0-B85B-F308-C11C29DB20DB}"/>
              </a:ext>
            </a:extLst>
          </p:cNvPr>
          <p:cNvSpPr/>
          <p:nvPr/>
        </p:nvSpPr>
        <p:spPr bwMode="auto">
          <a:xfrm>
            <a:off x="0" y="845843"/>
            <a:ext cx="12192000" cy="6011709"/>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163767" marR="0" lvl="0" indent="-163767" algn="l" defTabSz="457109"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 name="Title 1">
            <a:extLst>
              <a:ext uri="{FF2B5EF4-FFF2-40B4-BE49-F238E27FC236}">
                <a16:creationId xmlns:a16="http://schemas.microsoft.com/office/drawing/2014/main" id="{C665D33C-FE4F-78BE-C0E0-639B71381AA0}"/>
              </a:ext>
            </a:extLst>
          </p:cNvPr>
          <p:cNvSpPr>
            <a:spLocks noGrp="1"/>
          </p:cNvSpPr>
          <p:nvPr>
            <p:ph type="title"/>
          </p:nvPr>
        </p:nvSpPr>
        <p:spPr>
          <a:xfrm>
            <a:off x="120965" y="898137"/>
            <a:ext cx="3421325" cy="763425"/>
          </a:xfrm>
        </p:spPr>
        <p:txBody>
          <a:bodyPr/>
          <a:lstStyle/>
          <a:p>
            <a:r>
              <a:rPr lang="en-US" sz="2200" b="1" dirty="0"/>
              <a:t>First Chatbot Launch</a:t>
            </a:r>
            <a:br>
              <a:rPr lang="en-US" sz="2200" b="1" dirty="0"/>
            </a:br>
            <a:r>
              <a:rPr lang="en-US" sz="1400" i="1" dirty="0"/>
              <a:t>Cost reduction and efficiency</a:t>
            </a:r>
            <a:endParaRPr lang="en-US" sz="2200" i="1" dirty="0"/>
          </a:p>
        </p:txBody>
      </p:sp>
      <p:sp>
        <p:nvSpPr>
          <p:cNvPr id="4" name="Rectangle 3">
            <a:extLst>
              <a:ext uri="{FF2B5EF4-FFF2-40B4-BE49-F238E27FC236}">
                <a16:creationId xmlns:a16="http://schemas.microsoft.com/office/drawing/2014/main" id="{D377BCE8-6F98-27E4-778B-C37582702A68}"/>
              </a:ext>
            </a:extLst>
          </p:cNvPr>
          <p:cNvSpPr/>
          <p:nvPr/>
        </p:nvSpPr>
        <p:spPr bwMode="auto">
          <a:xfrm>
            <a:off x="1520627" y="1714724"/>
            <a:ext cx="10682004" cy="5142830"/>
          </a:xfrm>
          <a:prstGeom prst="rect">
            <a:avLst/>
          </a:prstGeom>
          <a:solidFill>
            <a:schemeClr val="accent1">
              <a:lumMod val="20000"/>
              <a:lumOff val="8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163767" marR="0" lvl="0" indent="-163767" algn="l" defTabSz="457109"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5" name="Title 1">
            <a:extLst>
              <a:ext uri="{FF2B5EF4-FFF2-40B4-BE49-F238E27FC236}">
                <a16:creationId xmlns:a16="http://schemas.microsoft.com/office/drawing/2014/main" id="{667E7253-EDE9-DE9D-14CB-EB8A2732136D}"/>
              </a:ext>
            </a:extLst>
          </p:cNvPr>
          <p:cNvSpPr txBox="1">
            <a:spLocks/>
          </p:cNvSpPr>
          <p:nvPr/>
        </p:nvSpPr>
        <p:spPr>
          <a:xfrm>
            <a:off x="1701579" y="1987616"/>
            <a:ext cx="3529758" cy="7634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rPr>
              <a:t>+ Transactions</a:t>
            </a:r>
            <a:br>
              <a:rPr kumimoji="0" lang="en-US" sz="2200" b="1"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rPr>
            </a:br>
            <a:r>
              <a:rPr kumimoji="0" lang="en-US" sz="1400" b="0" i="1"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rPr>
              <a:t>+Improve the employee experience</a:t>
            </a:r>
            <a:endParaRPr kumimoji="0" lang="en-US" sz="2200" b="0" i="1"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endParaRPr>
          </a:p>
        </p:txBody>
      </p:sp>
      <p:sp>
        <p:nvSpPr>
          <p:cNvPr id="6" name="Rectangle 5">
            <a:extLst>
              <a:ext uri="{FF2B5EF4-FFF2-40B4-BE49-F238E27FC236}">
                <a16:creationId xmlns:a16="http://schemas.microsoft.com/office/drawing/2014/main" id="{118453B7-3E7E-10C5-6448-95ED4C5DAB94}"/>
              </a:ext>
            </a:extLst>
          </p:cNvPr>
          <p:cNvSpPr/>
          <p:nvPr/>
        </p:nvSpPr>
        <p:spPr bwMode="auto">
          <a:xfrm>
            <a:off x="3333316" y="3023934"/>
            <a:ext cx="8858684" cy="3833620"/>
          </a:xfrm>
          <a:prstGeom prst="rect">
            <a:avLst/>
          </a:prstGeom>
          <a:solidFill>
            <a:schemeClr val="accent1">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163767" marR="0" lvl="0" indent="-163767" algn="l" defTabSz="457109"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7" name="Title 1">
            <a:extLst>
              <a:ext uri="{FF2B5EF4-FFF2-40B4-BE49-F238E27FC236}">
                <a16:creationId xmlns:a16="http://schemas.microsoft.com/office/drawing/2014/main" id="{AD065EE2-E2C8-9782-AF95-5EC6C2943DE8}"/>
              </a:ext>
            </a:extLst>
          </p:cNvPr>
          <p:cNvSpPr txBox="1">
            <a:spLocks/>
          </p:cNvSpPr>
          <p:nvPr/>
        </p:nvSpPr>
        <p:spPr>
          <a:xfrm>
            <a:off x="3514237" y="3260483"/>
            <a:ext cx="2483459" cy="7634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rPr>
              <a:t>Current State</a:t>
            </a:r>
            <a:br>
              <a:rPr kumimoji="0" lang="en-US" sz="2200" b="1"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rPr>
            </a:br>
            <a:r>
              <a:rPr kumimoji="0" lang="en-US" sz="1400" b="0" i="1"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rPr>
              <a:t>+ Compliance</a:t>
            </a:r>
            <a:endParaRPr kumimoji="0" lang="en-US" sz="2200" b="0" i="1"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endParaRPr>
          </a:p>
        </p:txBody>
      </p:sp>
      <p:sp>
        <p:nvSpPr>
          <p:cNvPr id="11" name="Rectangle 10">
            <a:extLst>
              <a:ext uri="{FF2B5EF4-FFF2-40B4-BE49-F238E27FC236}">
                <a16:creationId xmlns:a16="http://schemas.microsoft.com/office/drawing/2014/main" id="{FD1E761D-341E-2738-5028-C3A1280FC9A8}"/>
              </a:ext>
            </a:extLst>
          </p:cNvPr>
          <p:cNvSpPr/>
          <p:nvPr/>
        </p:nvSpPr>
        <p:spPr bwMode="auto">
          <a:xfrm>
            <a:off x="5256734" y="4286139"/>
            <a:ext cx="6935266" cy="2559976"/>
          </a:xfrm>
          <a:prstGeom prst="rect">
            <a:avLst/>
          </a:prstGeom>
          <a:solidFill>
            <a:schemeClr val="accent1">
              <a:lumMod val="60000"/>
              <a:lumOff val="4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163767" marR="0" lvl="0" indent="-163767" algn="l" defTabSz="457109"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3" name="Title 1">
            <a:extLst>
              <a:ext uri="{FF2B5EF4-FFF2-40B4-BE49-F238E27FC236}">
                <a16:creationId xmlns:a16="http://schemas.microsoft.com/office/drawing/2014/main" id="{F5319D08-774F-5DA3-BCEC-29EA9D2C779B}"/>
              </a:ext>
            </a:extLst>
          </p:cNvPr>
          <p:cNvSpPr txBox="1">
            <a:spLocks/>
          </p:cNvSpPr>
          <p:nvPr/>
        </p:nvSpPr>
        <p:spPr>
          <a:xfrm>
            <a:off x="5463546" y="4482808"/>
            <a:ext cx="3421325" cy="7634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rPr>
              <a:t>Future State</a:t>
            </a:r>
          </a:p>
          <a:p>
            <a:pPr marL="0" marR="0" lvl="0" indent="0" algn="l" defTabSz="1218956"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IBM Plex Sans Light"/>
                <a:ea typeface="+mj-ea"/>
                <a:cs typeface="+mj-cs"/>
                <a:sym typeface="IBM Plex Sans Light"/>
              </a:rPr>
              <a:t>+Generative AI</a:t>
            </a:r>
            <a:endParaRPr kumimoji="0" lang="en-US" sz="2200" b="0" i="1"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endParaRPr>
          </a:p>
        </p:txBody>
      </p:sp>
      <p:sp>
        <p:nvSpPr>
          <p:cNvPr id="14" name="Title 1">
            <a:extLst>
              <a:ext uri="{FF2B5EF4-FFF2-40B4-BE49-F238E27FC236}">
                <a16:creationId xmlns:a16="http://schemas.microsoft.com/office/drawing/2014/main" id="{E4D61A6E-B1D8-7B8E-2F31-D2ACB4C63B2D}"/>
              </a:ext>
            </a:extLst>
          </p:cNvPr>
          <p:cNvSpPr txBox="1">
            <a:spLocks/>
          </p:cNvSpPr>
          <p:nvPr/>
        </p:nvSpPr>
        <p:spPr>
          <a:xfrm>
            <a:off x="4520683" y="985486"/>
            <a:ext cx="5839689" cy="7634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285750" marR="0" lvl="1" indent="-285750" algn="l" defTabSz="1218956"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General information recall and search </a:t>
            </a:r>
          </a:p>
          <a:p>
            <a:pPr marL="285750" marR="0" lvl="1" indent="-285750" algn="l" defTabSz="1218956"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Ticket generation</a:t>
            </a:r>
          </a:p>
        </p:txBody>
      </p:sp>
      <p:sp>
        <p:nvSpPr>
          <p:cNvPr id="15" name="Title 1">
            <a:extLst>
              <a:ext uri="{FF2B5EF4-FFF2-40B4-BE49-F238E27FC236}">
                <a16:creationId xmlns:a16="http://schemas.microsoft.com/office/drawing/2014/main" id="{A350A85C-1F29-B768-3B1C-85C79DE04096}"/>
              </a:ext>
            </a:extLst>
          </p:cNvPr>
          <p:cNvSpPr txBox="1">
            <a:spLocks/>
          </p:cNvSpPr>
          <p:nvPr/>
        </p:nvSpPr>
        <p:spPr>
          <a:xfrm>
            <a:off x="5412289" y="1987616"/>
            <a:ext cx="5666517" cy="6872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285750" marR="0" lvl="1" indent="-285750" algn="l" defTabSz="1218956"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Customized information through APIs</a:t>
            </a:r>
          </a:p>
          <a:p>
            <a:pPr marL="285750" marR="0" lvl="1" indent="-285750" algn="l" defTabSz="1218956"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Ticket generation</a:t>
            </a:r>
          </a:p>
          <a:p>
            <a:pPr marL="285750" marR="0" lvl="1" indent="-285750" algn="l" defTabSz="1218956"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Automated transactions </a:t>
            </a:r>
          </a:p>
          <a:p>
            <a:pPr marL="0" marR="0" lvl="0" indent="0" algn="l" defTabSz="121895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rPr>
              <a:t>.</a:t>
            </a:r>
            <a:endParaRPr kumimoji="0" lang="en-US" sz="1400" b="0" i="1"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endParaRPr>
          </a:p>
        </p:txBody>
      </p:sp>
      <p:sp>
        <p:nvSpPr>
          <p:cNvPr id="16" name="Title 1">
            <a:extLst>
              <a:ext uri="{FF2B5EF4-FFF2-40B4-BE49-F238E27FC236}">
                <a16:creationId xmlns:a16="http://schemas.microsoft.com/office/drawing/2014/main" id="{6E61B23F-46A7-0A92-6032-94817B40D4DB}"/>
              </a:ext>
            </a:extLst>
          </p:cNvPr>
          <p:cNvSpPr txBox="1">
            <a:spLocks/>
          </p:cNvSpPr>
          <p:nvPr/>
        </p:nvSpPr>
        <p:spPr>
          <a:xfrm>
            <a:off x="6255112" y="3077043"/>
            <a:ext cx="5679473" cy="83473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285750" marR="0" lvl="1" indent="-285750" algn="l" defTabSz="1218956"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Customized information through APIs</a:t>
            </a:r>
          </a:p>
          <a:p>
            <a:pPr marL="285750" marR="0" lvl="1" indent="-285750" algn="l" defTabSz="1218956"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Routing to human tier support</a:t>
            </a:r>
          </a:p>
          <a:p>
            <a:pPr marL="285750" marR="0" lvl="1" indent="-285750" algn="l" defTabSz="1218956"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Automated transactions</a:t>
            </a:r>
          </a:p>
          <a:p>
            <a:pPr marL="285750" marR="0" lvl="1" indent="-285750" algn="l" defTabSz="1218956"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Mobile</a:t>
            </a:r>
          </a:p>
          <a:p>
            <a:pPr marL="285750" marR="0" lvl="1" indent="-285750" algn="l" defTabSz="1218956"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Data driven nudges</a:t>
            </a:r>
          </a:p>
        </p:txBody>
      </p:sp>
      <p:sp>
        <p:nvSpPr>
          <p:cNvPr id="17" name="Title 1">
            <a:extLst>
              <a:ext uri="{FF2B5EF4-FFF2-40B4-BE49-F238E27FC236}">
                <a16:creationId xmlns:a16="http://schemas.microsoft.com/office/drawing/2014/main" id="{A2A9871D-BC2B-39FD-1EC9-AD89BBB0F831}"/>
              </a:ext>
            </a:extLst>
          </p:cNvPr>
          <p:cNvSpPr txBox="1">
            <a:spLocks/>
          </p:cNvSpPr>
          <p:nvPr/>
        </p:nvSpPr>
        <p:spPr>
          <a:xfrm>
            <a:off x="6638967" y="5270100"/>
            <a:ext cx="5295618" cy="7420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285750" marR="0" lvl="1" indent="-285750" algn="l" defTabSz="1218956"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Hyper-personalized responses</a:t>
            </a:r>
          </a:p>
          <a:p>
            <a:pPr marL="285750" marR="0" lvl="1" indent="-285750" algn="l" defTabSz="1218956"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Automatic feedback analysis </a:t>
            </a:r>
          </a:p>
          <a:p>
            <a:pPr marL="285750" marR="0" lvl="1" indent="-285750" algn="l" defTabSz="1218956"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Seamless handoffs between AI assistants</a:t>
            </a:r>
          </a:p>
        </p:txBody>
      </p:sp>
      <p:pic>
        <p:nvPicPr>
          <p:cNvPr id="21" name="Graphic 20">
            <a:extLst>
              <a:ext uri="{FF2B5EF4-FFF2-40B4-BE49-F238E27FC236}">
                <a16:creationId xmlns:a16="http://schemas.microsoft.com/office/drawing/2014/main" id="{A37CD724-AD32-F472-7291-D89EBAE2D65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20527" y="4103320"/>
            <a:ext cx="513895" cy="513895"/>
          </a:xfrm>
          <a:prstGeom prst="rect">
            <a:avLst/>
          </a:prstGeom>
        </p:spPr>
      </p:pic>
      <p:grpSp>
        <p:nvGrpSpPr>
          <p:cNvPr id="22" name="Group 21">
            <a:extLst>
              <a:ext uri="{FF2B5EF4-FFF2-40B4-BE49-F238E27FC236}">
                <a16:creationId xmlns:a16="http://schemas.microsoft.com/office/drawing/2014/main" id="{5C358553-7748-BAFF-EB2A-AC1B940AB858}"/>
              </a:ext>
            </a:extLst>
          </p:cNvPr>
          <p:cNvGrpSpPr/>
          <p:nvPr/>
        </p:nvGrpSpPr>
        <p:grpSpPr>
          <a:xfrm>
            <a:off x="1761540" y="2881748"/>
            <a:ext cx="614017" cy="488625"/>
            <a:chOff x="11360215" y="6733288"/>
            <a:chExt cx="1228193" cy="977377"/>
          </a:xfrm>
        </p:grpSpPr>
        <p:sp>
          <p:nvSpPr>
            <p:cNvPr id="23" name="Freeform 29">
              <a:extLst>
                <a:ext uri="{FF2B5EF4-FFF2-40B4-BE49-F238E27FC236}">
                  <a16:creationId xmlns:a16="http://schemas.microsoft.com/office/drawing/2014/main" id="{4B84BED9-9045-0879-037B-3B5F5ADFE868}"/>
                </a:ext>
              </a:extLst>
            </p:cNvPr>
            <p:cNvSpPr/>
            <p:nvPr/>
          </p:nvSpPr>
          <p:spPr>
            <a:xfrm rot="408157">
              <a:off x="11360215" y="6733288"/>
              <a:ext cx="865055" cy="865055"/>
            </a:xfrm>
            <a:custGeom>
              <a:avLst/>
              <a:gdLst>
                <a:gd name="connsiteX0" fmla="*/ 983764 w 1805389"/>
                <a:gd name="connsiteY0" fmla="*/ 1335193 h 1805330"/>
                <a:gd name="connsiteX1" fmla="*/ 821567 w 1805389"/>
                <a:gd name="connsiteY1" fmla="*/ 1335193 h 1805330"/>
                <a:gd name="connsiteX2" fmla="*/ 800410 w 1805389"/>
                <a:gd name="connsiteY2" fmla="*/ 1314036 h 1805330"/>
                <a:gd name="connsiteX3" fmla="*/ 800410 w 1805389"/>
                <a:gd name="connsiteY3" fmla="*/ 1221948 h 1805330"/>
                <a:gd name="connsiteX4" fmla="*/ 749342 w 1805389"/>
                <a:gd name="connsiteY4" fmla="*/ 1200616 h 1805330"/>
                <a:gd name="connsiteX5" fmla="*/ 684051 w 1805389"/>
                <a:gd name="connsiteY5" fmla="*/ 1265906 h 1805330"/>
                <a:gd name="connsiteX6" fmla="*/ 669124 w 1805389"/>
                <a:gd name="connsiteY6" fmla="*/ 1272077 h 1805330"/>
                <a:gd name="connsiteX7" fmla="*/ 669124 w 1805389"/>
                <a:gd name="connsiteY7" fmla="*/ 1272077 h 1805330"/>
                <a:gd name="connsiteX8" fmla="*/ 654197 w 1805389"/>
                <a:gd name="connsiteY8" fmla="*/ 1265906 h 1805330"/>
                <a:gd name="connsiteX9" fmla="*/ 539484 w 1805389"/>
                <a:gd name="connsiteY9" fmla="*/ 1151192 h 1805330"/>
                <a:gd name="connsiteX10" fmla="*/ 539484 w 1805389"/>
                <a:gd name="connsiteY10" fmla="*/ 1121221 h 1805330"/>
                <a:gd name="connsiteX11" fmla="*/ 604598 w 1805389"/>
                <a:gd name="connsiteY11" fmla="*/ 1056166 h 1805330"/>
                <a:gd name="connsiteX12" fmla="*/ 583618 w 1805389"/>
                <a:gd name="connsiteY12" fmla="*/ 1004979 h 1805330"/>
                <a:gd name="connsiteX13" fmla="*/ 491294 w 1805389"/>
                <a:gd name="connsiteY13" fmla="*/ 1004979 h 1805330"/>
                <a:gd name="connsiteX14" fmla="*/ 470138 w 1805389"/>
                <a:gd name="connsiteY14" fmla="*/ 983823 h 1805330"/>
                <a:gd name="connsiteX15" fmla="*/ 470138 w 1805389"/>
                <a:gd name="connsiteY15" fmla="*/ 821625 h 1805330"/>
                <a:gd name="connsiteX16" fmla="*/ 491294 w 1805389"/>
                <a:gd name="connsiteY16" fmla="*/ 800469 h 1805330"/>
                <a:gd name="connsiteX17" fmla="*/ 583383 w 1805389"/>
                <a:gd name="connsiteY17" fmla="*/ 800469 h 1805330"/>
                <a:gd name="connsiteX18" fmla="*/ 604715 w 1805389"/>
                <a:gd name="connsiteY18" fmla="*/ 749400 h 1805330"/>
                <a:gd name="connsiteX19" fmla="*/ 539484 w 1805389"/>
                <a:gd name="connsiteY19" fmla="*/ 684051 h 1805330"/>
                <a:gd name="connsiteX20" fmla="*/ 539484 w 1805389"/>
                <a:gd name="connsiteY20" fmla="*/ 654139 h 1805330"/>
                <a:gd name="connsiteX21" fmla="*/ 654139 w 1805389"/>
                <a:gd name="connsiteY21" fmla="*/ 539425 h 1805330"/>
                <a:gd name="connsiteX22" fmla="*/ 684051 w 1805389"/>
                <a:gd name="connsiteY22" fmla="*/ 539425 h 1805330"/>
                <a:gd name="connsiteX23" fmla="*/ 749165 w 1805389"/>
                <a:gd name="connsiteY23" fmla="*/ 604598 h 1805330"/>
                <a:gd name="connsiteX24" fmla="*/ 800410 w 1805389"/>
                <a:gd name="connsiteY24" fmla="*/ 583618 h 1805330"/>
                <a:gd name="connsiteX25" fmla="*/ 800410 w 1805389"/>
                <a:gd name="connsiteY25" fmla="*/ 491294 h 1805330"/>
                <a:gd name="connsiteX26" fmla="*/ 821567 w 1805389"/>
                <a:gd name="connsiteY26" fmla="*/ 470138 h 1805330"/>
                <a:gd name="connsiteX27" fmla="*/ 983764 w 1805389"/>
                <a:gd name="connsiteY27" fmla="*/ 470138 h 1805330"/>
                <a:gd name="connsiteX28" fmla="*/ 1004921 w 1805389"/>
                <a:gd name="connsiteY28" fmla="*/ 491294 h 1805330"/>
                <a:gd name="connsiteX29" fmla="*/ 1004921 w 1805389"/>
                <a:gd name="connsiteY29" fmla="*/ 583383 h 1805330"/>
                <a:gd name="connsiteX30" fmla="*/ 1055931 w 1805389"/>
                <a:gd name="connsiteY30" fmla="*/ 604715 h 1805330"/>
                <a:gd name="connsiteX31" fmla="*/ 1121162 w 1805389"/>
                <a:gd name="connsiteY31" fmla="*/ 539425 h 1805330"/>
                <a:gd name="connsiteX32" fmla="*/ 1151134 w 1805389"/>
                <a:gd name="connsiteY32" fmla="*/ 539425 h 1805330"/>
                <a:gd name="connsiteX33" fmla="*/ 1265847 w 1805389"/>
                <a:gd name="connsiteY33" fmla="*/ 654139 h 1805330"/>
                <a:gd name="connsiteX34" fmla="*/ 1272018 w 1805389"/>
                <a:gd name="connsiteY34" fmla="*/ 669066 h 1805330"/>
                <a:gd name="connsiteX35" fmla="*/ 1265847 w 1805389"/>
                <a:gd name="connsiteY35" fmla="*/ 683992 h 1805330"/>
                <a:gd name="connsiteX36" fmla="*/ 1200674 w 1805389"/>
                <a:gd name="connsiteY36" fmla="*/ 749107 h 1805330"/>
                <a:gd name="connsiteX37" fmla="*/ 1221654 w 1805389"/>
                <a:gd name="connsiteY37" fmla="*/ 800352 h 1805330"/>
                <a:gd name="connsiteX38" fmla="*/ 1314036 w 1805389"/>
                <a:gd name="connsiteY38" fmla="*/ 800352 h 1805330"/>
                <a:gd name="connsiteX39" fmla="*/ 1335193 w 1805389"/>
                <a:gd name="connsiteY39" fmla="*/ 821508 h 1805330"/>
                <a:gd name="connsiteX40" fmla="*/ 1335193 w 1805389"/>
                <a:gd name="connsiteY40" fmla="*/ 983706 h 1805330"/>
                <a:gd name="connsiteX41" fmla="*/ 1314036 w 1805389"/>
                <a:gd name="connsiteY41" fmla="*/ 1004862 h 1805330"/>
                <a:gd name="connsiteX42" fmla="*/ 1221948 w 1805389"/>
                <a:gd name="connsiteY42" fmla="*/ 1004862 h 1805330"/>
                <a:gd name="connsiteX43" fmla="*/ 1200616 w 1805389"/>
                <a:gd name="connsiteY43" fmla="*/ 1055872 h 1805330"/>
                <a:gd name="connsiteX44" fmla="*/ 1265906 w 1805389"/>
                <a:gd name="connsiteY44" fmla="*/ 1121103 h 1805330"/>
                <a:gd name="connsiteX45" fmla="*/ 1272077 w 1805389"/>
                <a:gd name="connsiteY45" fmla="*/ 1136089 h 1805330"/>
                <a:gd name="connsiteX46" fmla="*/ 1265906 w 1805389"/>
                <a:gd name="connsiteY46" fmla="*/ 1151075 h 1805330"/>
                <a:gd name="connsiteX47" fmla="*/ 1151192 w 1805389"/>
                <a:gd name="connsiteY47" fmla="*/ 1265789 h 1805330"/>
                <a:gd name="connsiteX48" fmla="*/ 1136207 w 1805389"/>
                <a:gd name="connsiteY48" fmla="*/ 1271959 h 1805330"/>
                <a:gd name="connsiteX49" fmla="*/ 1136207 w 1805389"/>
                <a:gd name="connsiteY49" fmla="*/ 1271959 h 1805330"/>
                <a:gd name="connsiteX50" fmla="*/ 1121221 w 1805389"/>
                <a:gd name="connsiteY50" fmla="*/ 1265789 h 1805330"/>
                <a:gd name="connsiteX51" fmla="*/ 1056166 w 1805389"/>
                <a:gd name="connsiteY51" fmla="*/ 1200616 h 1805330"/>
                <a:gd name="connsiteX52" fmla="*/ 1004979 w 1805389"/>
                <a:gd name="connsiteY52" fmla="*/ 1221596 h 1805330"/>
                <a:gd name="connsiteX53" fmla="*/ 1004979 w 1805389"/>
                <a:gd name="connsiteY53" fmla="*/ 1314036 h 1805330"/>
                <a:gd name="connsiteX54" fmla="*/ 983764 w 1805389"/>
                <a:gd name="connsiteY54" fmla="*/ 1335193 h 1805330"/>
                <a:gd name="connsiteX55" fmla="*/ 842723 w 1805389"/>
                <a:gd name="connsiteY55" fmla="*/ 1292880 h 1805330"/>
                <a:gd name="connsiteX56" fmla="*/ 962608 w 1805389"/>
                <a:gd name="connsiteY56" fmla="*/ 1292880 h 1805330"/>
                <a:gd name="connsiteX57" fmla="*/ 962608 w 1805389"/>
                <a:gd name="connsiteY57" fmla="*/ 1207550 h 1805330"/>
                <a:gd name="connsiteX58" fmla="*/ 975772 w 1805389"/>
                <a:gd name="connsiteY58" fmla="*/ 1187981 h 1805330"/>
                <a:gd name="connsiteX59" fmla="*/ 1053110 w 1805389"/>
                <a:gd name="connsiteY59" fmla="*/ 1156246 h 1805330"/>
                <a:gd name="connsiteX60" fmla="*/ 1076146 w 1805389"/>
                <a:gd name="connsiteY60" fmla="*/ 1160830 h 1805330"/>
                <a:gd name="connsiteX61" fmla="*/ 1136207 w 1805389"/>
                <a:gd name="connsiteY61" fmla="*/ 1221008 h 1805330"/>
                <a:gd name="connsiteX62" fmla="*/ 1221008 w 1805389"/>
                <a:gd name="connsiteY62" fmla="*/ 1136207 h 1805330"/>
                <a:gd name="connsiteX63" fmla="*/ 1160595 w 1805389"/>
                <a:gd name="connsiteY63" fmla="*/ 1075911 h 1805330"/>
                <a:gd name="connsiteX64" fmla="*/ 1156070 w 1805389"/>
                <a:gd name="connsiteY64" fmla="*/ 1052757 h 1805330"/>
                <a:gd name="connsiteX65" fmla="*/ 1188392 w 1805389"/>
                <a:gd name="connsiteY65" fmla="*/ 975654 h 1805330"/>
                <a:gd name="connsiteX66" fmla="*/ 1207903 w 1805389"/>
                <a:gd name="connsiteY66" fmla="*/ 962608 h 1805330"/>
                <a:gd name="connsiteX67" fmla="*/ 1292880 w 1805389"/>
                <a:gd name="connsiteY67" fmla="*/ 962608 h 1805330"/>
                <a:gd name="connsiteX68" fmla="*/ 1292880 w 1805389"/>
                <a:gd name="connsiteY68" fmla="*/ 842723 h 1805330"/>
                <a:gd name="connsiteX69" fmla="*/ 1207550 w 1805389"/>
                <a:gd name="connsiteY69" fmla="*/ 842723 h 1805330"/>
                <a:gd name="connsiteX70" fmla="*/ 1187981 w 1805389"/>
                <a:gd name="connsiteY70" fmla="*/ 829618 h 1805330"/>
                <a:gd name="connsiteX71" fmla="*/ 1156246 w 1805389"/>
                <a:gd name="connsiteY71" fmla="*/ 752280 h 1805330"/>
                <a:gd name="connsiteX72" fmla="*/ 1160830 w 1805389"/>
                <a:gd name="connsiteY72" fmla="*/ 729302 h 1805330"/>
                <a:gd name="connsiteX73" fmla="*/ 1221008 w 1805389"/>
                <a:gd name="connsiteY73" fmla="*/ 669183 h 1805330"/>
                <a:gd name="connsiteX74" fmla="*/ 1136207 w 1805389"/>
                <a:gd name="connsiteY74" fmla="*/ 584382 h 1805330"/>
                <a:gd name="connsiteX75" fmla="*/ 1075911 w 1805389"/>
                <a:gd name="connsiteY75" fmla="*/ 644736 h 1805330"/>
                <a:gd name="connsiteX76" fmla="*/ 1052757 w 1805389"/>
                <a:gd name="connsiteY76" fmla="*/ 649320 h 1805330"/>
                <a:gd name="connsiteX77" fmla="*/ 975654 w 1805389"/>
                <a:gd name="connsiteY77" fmla="*/ 617057 h 1805330"/>
                <a:gd name="connsiteX78" fmla="*/ 962608 w 1805389"/>
                <a:gd name="connsiteY78" fmla="*/ 597546 h 1805330"/>
                <a:gd name="connsiteX79" fmla="*/ 962608 w 1805389"/>
                <a:gd name="connsiteY79" fmla="*/ 512451 h 1805330"/>
                <a:gd name="connsiteX80" fmla="*/ 842723 w 1805389"/>
                <a:gd name="connsiteY80" fmla="*/ 512451 h 1805330"/>
                <a:gd name="connsiteX81" fmla="*/ 842723 w 1805389"/>
                <a:gd name="connsiteY81" fmla="*/ 597781 h 1805330"/>
                <a:gd name="connsiteX82" fmla="*/ 829618 w 1805389"/>
                <a:gd name="connsiteY82" fmla="*/ 617350 h 1805330"/>
                <a:gd name="connsiteX83" fmla="*/ 752280 w 1805389"/>
                <a:gd name="connsiteY83" fmla="*/ 649085 h 1805330"/>
                <a:gd name="connsiteX84" fmla="*/ 729302 w 1805389"/>
                <a:gd name="connsiteY84" fmla="*/ 644442 h 1805330"/>
                <a:gd name="connsiteX85" fmla="*/ 669183 w 1805389"/>
                <a:gd name="connsiteY85" fmla="*/ 584323 h 1805330"/>
                <a:gd name="connsiteX86" fmla="*/ 584441 w 1805389"/>
                <a:gd name="connsiteY86" fmla="*/ 669124 h 1805330"/>
                <a:gd name="connsiteX87" fmla="*/ 644795 w 1805389"/>
                <a:gd name="connsiteY87" fmla="*/ 729537 h 1805330"/>
                <a:gd name="connsiteX88" fmla="*/ 649320 w 1805389"/>
                <a:gd name="connsiteY88" fmla="*/ 752691 h 1805330"/>
                <a:gd name="connsiteX89" fmla="*/ 617057 w 1805389"/>
                <a:gd name="connsiteY89" fmla="*/ 829794 h 1805330"/>
                <a:gd name="connsiteX90" fmla="*/ 597546 w 1805389"/>
                <a:gd name="connsiteY90" fmla="*/ 842782 h 1805330"/>
                <a:gd name="connsiteX91" fmla="*/ 512451 w 1805389"/>
                <a:gd name="connsiteY91" fmla="*/ 842782 h 1805330"/>
                <a:gd name="connsiteX92" fmla="*/ 512451 w 1805389"/>
                <a:gd name="connsiteY92" fmla="*/ 962667 h 1805330"/>
                <a:gd name="connsiteX93" fmla="*/ 597781 w 1805389"/>
                <a:gd name="connsiteY93" fmla="*/ 962667 h 1805330"/>
                <a:gd name="connsiteX94" fmla="*/ 617350 w 1805389"/>
                <a:gd name="connsiteY94" fmla="*/ 975831 h 1805330"/>
                <a:gd name="connsiteX95" fmla="*/ 649085 w 1805389"/>
                <a:gd name="connsiteY95" fmla="*/ 1053169 h 1805330"/>
                <a:gd name="connsiteX96" fmla="*/ 644442 w 1805389"/>
                <a:gd name="connsiteY96" fmla="*/ 1076205 h 1805330"/>
                <a:gd name="connsiteX97" fmla="*/ 584382 w 1805389"/>
                <a:gd name="connsiteY97" fmla="*/ 1136265 h 1805330"/>
                <a:gd name="connsiteX98" fmla="*/ 669124 w 1805389"/>
                <a:gd name="connsiteY98" fmla="*/ 1221067 h 1805330"/>
                <a:gd name="connsiteX99" fmla="*/ 729537 w 1805389"/>
                <a:gd name="connsiteY99" fmla="*/ 1160654 h 1805330"/>
                <a:gd name="connsiteX100" fmla="*/ 752691 w 1805389"/>
                <a:gd name="connsiteY100" fmla="*/ 1156129 h 1805330"/>
                <a:gd name="connsiteX101" fmla="*/ 829794 w 1805389"/>
                <a:gd name="connsiteY101" fmla="*/ 1188451 h 1805330"/>
                <a:gd name="connsiteX102" fmla="*/ 842782 w 1805389"/>
                <a:gd name="connsiteY102" fmla="*/ 1207962 h 1805330"/>
                <a:gd name="connsiteX103" fmla="*/ 842723 w 1805389"/>
                <a:gd name="connsiteY103" fmla="*/ 1292880 h 1805330"/>
                <a:gd name="connsiteX104" fmla="*/ 842723 w 1805389"/>
                <a:gd name="connsiteY104" fmla="*/ 1292880 h 1805330"/>
                <a:gd name="connsiteX105" fmla="*/ 902665 w 1805389"/>
                <a:gd name="connsiteY105" fmla="*/ 1100124 h 1805330"/>
                <a:gd name="connsiteX106" fmla="*/ 705207 w 1805389"/>
                <a:gd name="connsiteY106" fmla="*/ 902665 h 1805330"/>
                <a:gd name="connsiteX107" fmla="*/ 902665 w 1805389"/>
                <a:gd name="connsiteY107" fmla="*/ 705207 h 1805330"/>
                <a:gd name="connsiteX108" fmla="*/ 1100124 w 1805389"/>
                <a:gd name="connsiteY108" fmla="*/ 902665 h 1805330"/>
                <a:gd name="connsiteX109" fmla="*/ 902665 w 1805389"/>
                <a:gd name="connsiteY109" fmla="*/ 1100124 h 1805330"/>
                <a:gd name="connsiteX110" fmla="*/ 902665 w 1805389"/>
                <a:gd name="connsiteY110" fmla="*/ 747520 h 1805330"/>
                <a:gd name="connsiteX111" fmla="*/ 747520 w 1805389"/>
                <a:gd name="connsiteY111" fmla="*/ 902665 h 1805330"/>
                <a:gd name="connsiteX112" fmla="*/ 902665 w 1805389"/>
                <a:gd name="connsiteY112" fmla="*/ 1057811 h 1805330"/>
                <a:gd name="connsiteX113" fmla="*/ 1057811 w 1805389"/>
                <a:gd name="connsiteY113" fmla="*/ 902665 h 1805330"/>
                <a:gd name="connsiteX114" fmla="*/ 902665 w 1805389"/>
                <a:gd name="connsiteY114" fmla="*/ 747520 h 1805330"/>
                <a:gd name="connsiteX115" fmla="*/ 902665 w 1805389"/>
                <a:gd name="connsiteY115" fmla="*/ 1805331 h 1805330"/>
                <a:gd name="connsiteX116" fmla="*/ 218614 w 1805389"/>
                <a:gd name="connsiteY116" fmla="*/ 1491631 h 1805330"/>
                <a:gd name="connsiteX117" fmla="*/ 218614 w 1805389"/>
                <a:gd name="connsiteY117" fmla="*/ 1725407 h 1805330"/>
                <a:gd name="connsiteX118" fmla="*/ 176302 w 1805389"/>
                <a:gd name="connsiteY118" fmla="*/ 1725407 h 1805330"/>
                <a:gd name="connsiteX119" fmla="*/ 176302 w 1805389"/>
                <a:gd name="connsiteY119" fmla="*/ 1410415 h 1805330"/>
                <a:gd name="connsiteX120" fmla="*/ 491294 w 1805389"/>
                <a:gd name="connsiteY120" fmla="*/ 1410415 h 1805330"/>
                <a:gd name="connsiteX121" fmla="*/ 491294 w 1805389"/>
                <a:gd name="connsiteY121" fmla="*/ 1452786 h 1805330"/>
                <a:gd name="connsiteX122" fmla="*/ 241122 w 1805389"/>
                <a:gd name="connsiteY122" fmla="*/ 1452786 h 1805330"/>
                <a:gd name="connsiteX123" fmla="*/ 902665 w 1805389"/>
                <a:gd name="connsiteY123" fmla="*/ 1763018 h 1805330"/>
                <a:gd name="connsiteX124" fmla="*/ 1763018 w 1805389"/>
                <a:gd name="connsiteY124" fmla="*/ 902665 h 1805330"/>
                <a:gd name="connsiteX125" fmla="*/ 1805390 w 1805389"/>
                <a:gd name="connsiteY125" fmla="*/ 902665 h 1805330"/>
                <a:gd name="connsiteX126" fmla="*/ 902665 w 1805389"/>
                <a:gd name="connsiteY126" fmla="*/ 1805331 h 1805330"/>
                <a:gd name="connsiteX127" fmla="*/ 42312 w 1805389"/>
                <a:gd name="connsiteY127" fmla="*/ 902665 h 1805330"/>
                <a:gd name="connsiteX128" fmla="*/ 0 w 1805389"/>
                <a:gd name="connsiteY128" fmla="*/ 902665 h 1805330"/>
                <a:gd name="connsiteX129" fmla="*/ 902665 w 1805389"/>
                <a:gd name="connsiteY129" fmla="*/ 0 h 1805330"/>
                <a:gd name="connsiteX130" fmla="*/ 1586717 w 1805389"/>
                <a:gd name="connsiteY130" fmla="*/ 313641 h 1805330"/>
                <a:gd name="connsiteX131" fmla="*/ 1586717 w 1805389"/>
                <a:gd name="connsiteY131" fmla="*/ 79924 h 1805330"/>
                <a:gd name="connsiteX132" fmla="*/ 1629088 w 1805389"/>
                <a:gd name="connsiteY132" fmla="*/ 79924 h 1805330"/>
                <a:gd name="connsiteX133" fmla="*/ 1629088 w 1805389"/>
                <a:gd name="connsiteY133" fmla="*/ 394916 h 1805330"/>
                <a:gd name="connsiteX134" fmla="*/ 1314036 w 1805389"/>
                <a:gd name="connsiteY134" fmla="*/ 394916 h 1805330"/>
                <a:gd name="connsiteX135" fmla="*/ 1314036 w 1805389"/>
                <a:gd name="connsiteY135" fmla="*/ 352604 h 1805330"/>
                <a:gd name="connsiteX136" fmla="*/ 1564209 w 1805389"/>
                <a:gd name="connsiteY136" fmla="*/ 352604 h 1805330"/>
                <a:gd name="connsiteX137" fmla="*/ 902665 w 1805389"/>
                <a:gd name="connsiteY137" fmla="*/ 42312 h 1805330"/>
                <a:gd name="connsiteX138" fmla="*/ 42312 w 1805389"/>
                <a:gd name="connsiteY138" fmla="*/ 902665 h 1805330"/>
                <a:gd name="connsiteX0" fmla="*/ 983764 w 1805390"/>
                <a:gd name="connsiteY0" fmla="*/ 1335193 h 1805331"/>
                <a:gd name="connsiteX1" fmla="*/ 821567 w 1805390"/>
                <a:gd name="connsiteY1" fmla="*/ 1335193 h 1805331"/>
                <a:gd name="connsiteX2" fmla="*/ 800410 w 1805390"/>
                <a:gd name="connsiteY2" fmla="*/ 1314036 h 1805331"/>
                <a:gd name="connsiteX3" fmla="*/ 800410 w 1805390"/>
                <a:gd name="connsiteY3" fmla="*/ 1221948 h 1805331"/>
                <a:gd name="connsiteX4" fmla="*/ 749342 w 1805390"/>
                <a:gd name="connsiteY4" fmla="*/ 1200616 h 1805331"/>
                <a:gd name="connsiteX5" fmla="*/ 684051 w 1805390"/>
                <a:gd name="connsiteY5" fmla="*/ 1265906 h 1805331"/>
                <a:gd name="connsiteX6" fmla="*/ 669124 w 1805390"/>
                <a:gd name="connsiteY6" fmla="*/ 1272077 h 1805331"/>
                <a:gd name="connsiteX7" fmla="*/ 669124 w 1805390"/>
                <a:gd name="connsiteY7" fmla="*/ 1272077 h 1805331"/>
                <a:gd name="connsiteX8" fmla="*/ 654197 w 1805390"/>
                <a:gd name="connsiteY8" fmla="*/ 1265906 h 1805331"/>
                <a:gd name="connsiteX9" fmla="*/ 539484 w 1805390"/>
                <a:gd name="connsiteY9" fmla="*/ 1151192 h 1805331"/>
                <a:gd name="connsiteX10" fmla="*/ 539484 w 1805390"/>
                <a:gd name="connsiteY10" fmla="*/ 1121221 h 1805331"/>
                <a:gd name="connsiteX11" fmla="*/ 604598 w 1805390"/>
                <a:gd name="connsiteY11" fmla="*/ 1056166 h 1805331"/>
                <a:gd name="connsiteX12" fmla="*/ 583618 w 1805390"/>
                <a:gd name="connsiteY12" fmla="*/ 1004979 h 1805331"/>
                <a:gd name="connsiteX13" fmla="*/ 491294 w 1805390"/>
                <a:gd name="connsiteY13" fmla="*/ 1004979 h 1805331"/>
                <a:gd name="connsiteX14" fmla="*/ 470138 w 1805390"/>
                <a:gd name="connsiteY14" fmla="*/ 983823 h 1805331"/>
                <a:gd name="connsiteX15" fmla="*/ 470138 w 1805390"/>
                <a:gd name="connsiteY15" fmla="*/ 821625 h 1805331"/>
                <a:gd name="connsiteX16" fmla="*/ 491294 w 1805390"/>
                <a:gd name="connsiteY16" fmla="*/ 800469 h 1805331"/>
                <a:gd name="connsiteX17" fmla="*/ 583383 w 1805390"/>
                <a:gd name="connsiteY17" fmla="*/ 800469 h 1805331"/>
                <a:gd name="connsiteX18" fmla="*/ 604715 w 1805390"/>
                <a:gd name="connsiteY18" fmla="*/ 749400 h 1805331"/>
                <a:gd name="connsiteX19" fmla="*/ 539484 w 1805390"/>
                <a:gd name="connsiteY19" fmla="*/ 684051 h 1805331"/>
                <a:gd name="connsiteX20" fmla="*/ 539484 w 1805390"/>
                <a:gd name="connsiteY20" fmla="*/ 654139 h 1805331"/>
                <a:gd name="connsiteX21" fmla="*/ 654139 w 1805390"/>
                <a:gd name="connsiteY21" fmla="*/ 539425 h 1805331"/>
                <a:gd name="connsiteX22" fmla="*/ 684051 w 1805390"/>
                <a:gd name="connsiteY22" fmla="*/ 539425 h 1805331"/>
                <a:gd name="connsiteX23" fmla="*/ 749165 w 1805390"/>
                <a:gd name="connsiteY23" fmla="*/ 604598 h 1805331"/>
                <a:gd name="connsiteX24" fmla="*/ 800410 w 1805390"/>
                <a:gd name="connsiteY24" fmla="*/ 583618 h 1805331"/>
                <a:gd name="connsiteX25" fmla="*/ 800410 w 1805390"/>
                <a:gd name="connsiteY25" fmla="*/ 491294 h 1805331"/>
                <a:gd name="connsiteX26" fmla="*/ 821567 w 1805390"/>
                <a:gd name="connsiteY26" fmla="*/ 470138 h 1805331"/>
                <a:gd name="connsiteX27" fmla="*/ 983764 w 1805390"/>
                <a:gd name="connsiteY27" fmla="*/ 470138 h 1805331"/>
                <a:gd name="connsiteX28" fmla="*/ 1004921 w 1805390"/>
                <a:gd name="connsiteY28" fmla="*/ 491294 h 1805331"/>
                <a:gd name="connsiteX29" fmla="*/ 1004921 w 1805390"/>
                <a:gd name="connsiteY29" fmla="*/ 583383 h 1805331"/>
                <a:gd name="connsiteX30" fmla="*/ 1055931 w 1805390"/>
                <a:gd name="connsiteY30" fmla="*/ 604715 h 1805331"/>
                <a:gd name="connsiteX31" fmla="*/ 1121162 w 1805390"/>
                <a:gd name="connsiteY31" fmla="*/ 539425 h 1805331"/>
                <a:gd name="connsiteX32" fmla="*/ 1151134 w 1805390"/>
                <a:gd name="connsiteY32" fmla="*/ 539425 h 1805331"/>
                <a:gd name="connsiteX33" fmla="*/ 1265847 w 1805390"/>
                <a:gd name="connsiteY33" fmla="*/ 654139 h 1805331"/>
                <a:gd name="connsiteX34" fmla="*/ 1272018 w 1805390"/>
                <a:gd name="connsiteY34" fmla="*/ 669066 h 1805331"/>
                <a:gd name="connsiteX35" fmla="*/ 1265847 w 1805390"/>
                <a:gd name="connsiteY35" fmla="*/ 683992 h 1805331"/>
                <a:gd name="connsiteX36" fmla="*/ 1200674 w 1805390"/>
                <a:gd name="connsiteY36" fmla="*/ 749107 h 1805331"/>
                <a:gd name="connsiteX37" fmla="*/ 1221654 w 1805390"/>
                <a:gd name="connsiteY37" fmla="*/ 800352 h 1805331"/>
                <a:gd name="connsiteX38" fmla="*/ 1314036 w 1805390"/>
                <a:gd name="connsiteY38" fmla="*/ 800352 h 1805331"/>
                <a:gd name="connsiteX39" fmla="*/ 1335193 w 1805390"/>
                <a:gd name="connsiteY39" fmla="*/ 821508 h 1805331"/>
                <a:gd name="connsiteX40" fmla="*/ 1335193 w 1805390"/>
                <a:gd name="connsiteY40" fmla="*/ 983706 h 1805331"/>
                <a:gd name="connsiteX41" fmla="*/ 1314036 w 1805390"/>
                <a:gd name="connsiteY41" fmla="*/ 1004862 h 1805331"/>
                <a:gd name="connsiteX42" fmla="*/ 1221948 w 1805390"/>
                <a:gd name="connsiteY42" fmla="*/ 1004862 h 1805331"/>
                <a:gd name="connsiteX43" fmla="*/ 1200616 w 1805390"/>
                <a:gd name="connsiteY43" fmla="*/ 1055872 h 1805331"/>
                <a:gd name="connsiteX44" fmla="*/ 1265906 w 1805390"/>
                <a:gd name="connsiteY44" fmla="*/ 1121103 h 1805331"/>
                <a:gd name="connsiteX45" fmla="*/ 1272077 w 1805390"/>
                <a:gd name="connsiteY45" fmla="*/ 1136089 h 1805331"/>
                <a:gd name="connsiteX46" fmla="*/ 1265906 w 1805390"/>
                <a:gd name="connsiteY46" fmla="*/ 1151075 h 1805331"/>
                <a:gd name="connsiteX47" fmla="*/ 1151192 w 1805390"/>
                <a:gd name="connsiteY47" fmla="*/ 1265789 h 1805331"/>
                <a:gd name="connsiteX48" fmla="*/ 1136207 w 1805390"/>
                <a:gd name="connsiteY48" fmla="*/ 1271959 h 1805331"/>
                <a:gd name="connsiteX49" fmla="*/ 1136207 w 1805390"/>
                <a:gd name="connsiteY49" fmla="*/ 1271959 h 1805331"/>
                <a:gd name="connsiteX50" fmla="*/ 1121221 w 1805390"/>
                <a:gd name="connsiteY50" fmla="*/ 1265789 h 1805331"/>
                <a:gd name="connsiteX51" fmla="*/ 1056166 w 1805390"/>
                <a:gd name="connsiteY51" fmla="*/ 1200616 h 1805331"/>
                <a:gd name="connsiteX52" fmla="*/ 1004979 w 1805390"/>
                <a:gd name="connsiteY52" fmla="*/ 1221596 h 1805331"/>
                <a:gd name="connsiteX53" fmla="*/ 1004979 w 1805390"/>
                <a:gd name="connsiteY53" fmla="*/ 1314036 h 1805331"/>
                <a:gd name="connsiteX54" fmla="*/ 983764 w 1805390"/>
                <a:gd name="connsiteY54" fmla="*/ 1335193 h 1805331"/>
                <a:gd name="connsiteX55" fmla="*/ 842723 w 1805390"/>
                <a:gd name="connsiteY55" fmla="*/ 1292880 h 1805331"/>
                <a:gd name="connsiteX56" fmla="*/ 962608 w 1805390"/>
                <a:gd name="connsiteY56" fmla="*/ 1292880 h 1805331"/>
                <a:gd name="connsiteX57" fmla="*/ 962608 w 1805390"/>
                <a:gd name="connsiteY57" fmla="*/ 1207550 h 1805331"/>
                <a:gd name="connsiteX58" fmla="*/ 975772 w 1805390"/>
                <a:gd name="connsiteY58" fmla="*/ 1187981 h 1805331"/>
                <a:gd name="connsiteX59" fmla="*/ 1053110 w 1805390"/>
                <a:gd name="connsiteY59" fmla="*/ 1156246 h 1805331"/>
                <a:gd name="connsiteX60" fmla="*/ 1076146 w 1805390"/>
                <a:gd name="connsiteY60" fmla="*/ 1160830 h 1805331"/>
                <a:gd name="connsiteX61" fmla="*/ 1136207 w 1805390"/>
                <a:gd name="connsiteY61" fmla="*/ 1221008 h 1805331"/>
                <a:gd name="connsiteX62" fmla="*/ 1221008 w 1805390"/>
                <a:gd name="connsiteY62" fmla="*/ 1136207 h 1805331"/>
                <a:gd name="connsiteX63" fmla="*/ 1160595 w 1805390"/>
                <a:gd name="connsiteY63" fmla="*/ 1075911 h 1805331"/>
                <a:gd name="connsiteX64" fmla="*/ 1156070 w 1805390"/>
                <a:gd name="connsiteY64" fmla="*/ 1052757 h 1805331"/>
                <a:gd name="connsiteX65" fmla="*/ 1188392 w 1805390"/>
                <a:gd name="connsiteY65" fmla="*/ 975654 h 1805331"/>
                <a:gd name="connsiteX66" fmla="*/ 1207903 w 1805390"/>
                <a:gd name="connsiteY66" fmla="*/ 962608 h 1805331"/>
                <a:gd name="connsiteX67" fmla="*/ 1292880 w 1805390"/>
                <a:gd name="connsiteY67" fmla="*/ 962608 h 1805331"/>
                <a:gd name="connsiteX68" fmla="*/ 1292880 w 1805390"/>
                <a:gd name="connsiteY68" fmla="*/ 842723 h 1805331"/>
                <a:gd name="connsiteX69" fmla="*/ 1207550 w 1805390"/>
                <a:gd name="connsiteY69" fmla="*/ 842723 h 1805331"/>
                <a:gd name="connsiteX70" fmla="*/ 1187981 w 1805390"/>
                <a:gd name="connsiteY70" fmla="*/ 829618 h 1805331"/>
                <a:gd name="connsiteX71" fmla="*/ 1156246 w 1805390"/>
                <a:gd name="connsiteY71" fmla="*/ 752280 h 1805331"/>
                <a:gd name="connsiteX72" fmla="*/ 1160830 w 1805390"/>
                <a:gd name="connsiteY72" fmla="*/ 729302 h 1805331"/>
                <a:gd name="connsiteX73" fmla="*/ 1221008 w 1805390"/>
                <a:gd name="connsiteY73" fmla="*/ 669183 h 1805331"/>
                <a:gd name="connsiteX74" fmla="*/ 1136207 w 1805390"/>
                <a:gd name="connsiteY74" fmla="*/ 584382 h 1805331"/>
                <a:gd name="connsiteX75" fmla="*/ 1075911 w 1805390"/>
                <a:gd name="connsiteY75" fmla="*/ 644736 h 1805331"/>
                <a:gd name="connsiteX76" fmla="*/ 1052757 w 1805390"/>
                <a:gd name="connsiteY76" fmla="*/ 649320 h 1805331"/>
                <a:gd name="connsiteX77" fmla="*/ 975654 w 1805390"/>
                <a:gd name="connsiteY77" fmla="*/ 617057 h 1805331"/>
                <a:gd name="connsiteX78" fmla="*/ 962608 w 1805390"/>
                <a:gd name="connsiteY78" fmla="*/ 597546 h 1805331"/>
                <a:gd name="connsiteX79" fmla="*/ 962608 w 1805390"/>
                <a:gd name="connsiteY79" fmla="*/ 512451 h 1805331"/>
                <a:gd name="connsiteX80" fmla="*/ 842723 w 1805390"/>
                <a:gd name="connsiteY80" fmla="*/ 512451 h 1805331"/>
                <a:gd name="connsiteX81" fmla="*/ 842723 w 1805390"/>
                <a:gd name="connsiteY81" fmla="*/ 597781 h 1805331"/>
                <a:gd name="connsiteX82" fmla="*/ 829618 w 1805390"/>
                <a:gd name="connsiteY82" fmla="*/ 617350 h 1805331"/>
                <a:gd name="connsiteX83" fmla="*/ 752280 w 1805390"/>
                <a:gd name="connsiteY83" fmla="*/ 649085 h 1805331"/>
                <a:gd name="connsiteX84" fmla="*/ 729302 w 1805390"/>
                <a:gd name="connsiteY84" fmla="*/ 644442 h 1805331"/>
                <a:gd name="connsiteX85" fmla="*/ 669183 w 1805390"/>
                <a:gd name="connsiteY85" fmla="*/ 584323 h 1805331"/>
                <a:gd name="connsiteX86" fmla="*/ 584441 w 1805390"/>
                <a:gd name="connsiteY86" fmla="*/ 669124 h 1805331"/>
                <a:gd name="connsiteX87" fmla="*/ 644795 w 1805390"/>
                <a:gd name="connsiteY87" fmla="*/ 729537 h 1805331"/>
                <a:gd name="connsiteX88" fmla="*/ 649320 w 1805390"/>
                <a:gd name="connsiteY88" fmla="*/ 752691 h 1805331"/>
                <a:gd name="connsiteX89" fmla="*/ 617057 w 1805390"/>
                <a:gd name="connsiteY89" fmla="*/ 829794 h 1805331"/>
                <a:gd name="connsiteX90" fmla="*/ 597546 w 1805390"/>
                <a:gd name="connsiteY90" fmla="*/ 842782 h 1805331"/>
                <a:gd name="connsiteX91" fmla="*/ 512451 w 1805390"/>
                <a:gd name="connsiteY91" fmla="*/ 842782 h 1805331"/>
                <a:gd name="connsiteX92" fmla="*/ 512451 w 1805390"/>
                <a:gd name="connsiteY92" fmla="*/ 962667 h 1805331"/>
                <a:gd name="connsiteX93" fmla="*/ 597781 w 1805390"/>
                <a:gd name="connsiteY93" fmla="*/ 962667 h 1805331"/>
                <a:gd name="connsiteX94" fmla="*/ 617350 w 1805390"/>
                <a:gd name="connsiteY94" fmla="*/ 975831 h 1805331"/>
                <a:gd name="connsiteX95" fmla="*/ 649085 w 1805390"/>
                <a:gd name="connsiteY95" fmla="*/ 1053169 h 1805331"/>
                <a:gd name="connsiteX96" fmla="*/ 644442 w 1805390"/>
                <a:gd name="connsiteY96" fmla="*/ 1076205 h 1805331"/>
                <a:gd name="connsiteX97" fmla="*/ 584382 w 1805390"/>
                <a:gd name="connsiteY97" fmla="*/ 1136265 h 1805331"/>
                <a:gd name="connsiteX98" fmla="*/ 669124 w 1805390"/>
                <a:gd name="connsiteY98" fmla="*/ 1221067 h 1805331"/>
                <a:gd name="connsiteX99" fmla="*/ 729537 w 1805390"/>
                <a:gd name="connsiteY99" fmla="*/ 1160654 h 1805331"/>
                <a:gd name="connsiteX100" fmla="*/ 752691 w 1805390"/>
                <a:gd name="connsiteY100" fmla="*/ 1156129 h 1805331"/>
                <a:gd name="connsiteX101" fmla="*/ 829794 w 1805390"/>
                <a:gd name="connsiteY101" fmla="*/ 1188451 h 1805331"/>
                <a:gd name="connsiteX102" fmla="*/ 842782 w 1805390"/>
                <a:gd name="connsiteY102" fmla="*/ 1207962 h 1805331"/>
                <a:gd name="connsiteX103" fmla="*/ 842723 w 1805390"/>
                <a:gd name="connsiteY103" fmla="*/ 1292880 h 1805331"/>
                <a:gd name="connsiteX104" fmla="*/ 842723 w 1805390"/>
                <a:gd name="connsiteY104" fmla="*/ 1292880 h 1805331"/>
                <a:gd name="connsiteX105" fmla="*/ 902665 w 1805390"/>
                <a:gd name="connsiteY105" fmla="*/ 1100124 h 1805331"/>
                <a:gd name="connsiteX106" fmla="*/ 705207 w 1805390"/>
                <a:gd name="connsiteY106" fmla="*/ 902665 h 1805331"/>
                <a:gd name="connsiteX107" fmla="*/ 902665 w 1805390"/>
                <a:gd name="connsiteY107" fmla="*/ 705207 h 1805331"/>
                <a:gd name="connsiteX108" fmla="*/ 1100124 w 1805390"/>
                <a:gd name="connsiteY108" fmla="*/ 902665 h 1805331"/>
                <a:gd name="connsiteX109" fmla="*/ 902665 w 1805390"/>
                <a:gd name="connsiteY109" fmla="*/ 1100124 h 1805331"/>
                <a:gd name="connsiteX110" fmla="*/ 902665 w 1805390"/>
                <a:gd name="connsiteY110" fmla="*/ 747520 h 1805331"/>
                <a:gd name="connsiteX111" fmla="*/ 747520 w 1805390"/>
                <a:gd name="connsiteY111" fmla="*/ 902665 h 1805331"/>
                <a:gd name="connsiteX112" fmla="*/ 902665 w 1805390"/>
                <a:gd name="connsiteY112" fmla="*/ 1057811 h 1805331"/>
                <a:gd name="connsiteX113" fmla="*/ 1057811 w 1805390"/>
                <a:gd name="connsiteY113" fmla="*/ 902665 h 1805331"/>
                <a:gd name="connsiteX114" fmla="*/ 902665 w 1805390"/>
                <a:gd name="connsiteY114" fmla="*/ 747520 h 1805331"/>
                <a:gd name="connsiteX115" fmla="*/ 902665 w 1805390"/>
                <a:gd name="connsiteY115" fmla="*/ 1805331 h 1805331"/>
                <a:gd name="connsiteX116" fmla="*/ 218614 w 1805390"/>
                <a:gd name="connsiteY116" fmla="*/ 1491631 h 1805331"/>
                <a:gd name="connsiteX117" fmla="*/ 218614 w 1805390"/>
                <a:gd name="connsiteY117" fmla="*/ 1725407 h 1805331"/>
                <a:gd name="connsiteX118" fmla="*/ 176302 w 1805390"/>
                <a:gd name="connsiteY118" fmla="*/ 1725407 h 1805331"/>
                <a:gd name="connsiteX119" fmla="*/ 176302 w 1805390"/>
                <a:gd name="connsiteY119" fmla="*/ 1410415 h 1805331"/>
                <a:gd name="connsiteX120" fmla="*/ 491294 w 1805390"/>
                <a:gd name="connsiteY120" fmla="*/ 1410415 h 1805331"/>
                <a:gd name="connsiteX121" fmla="*/ 491294 w 1805390"/>
                <a:gd name="connsiteY121" fmla="*/ 1452786 h 1805331"/>
                <a:gd name="connsiteX122" fmla="*/ 241122 w 1805390"/>
                <a:gd name="connsiteY122" fmla="*/ 1452786 h 1805331"/>
                <a:gd name="connsiteX123" fmla="*/ 902665 w 1805390"/>
                <a:gd name="connsiteY123" fmla="*/ 1763018 h 1805331"/>
                <a:gd name="connsiteX124" fmla="*/ 1805390 w 1805390"/>
                <a:gd name="connsiteY124" fmla="*/ 902665 h 1805331"/>
                <a:gd name="connsiteX125" fmla="*/ 902665 w 1805390"/>
                <a:gd name="connsiteY125" fmla="*/ 1805331 h 1805331"/>
                <a:gd name="connsiteX126" fmla="*/ 42312 w 1805390"/>
                <a:gd name="connsiteY126" fmla="*/ 902665 h 1805331"/>
                <a:gd name="connsiteX127" fmla="*/ 0 w 1805390"/>
                <a:gd name="connsiteY127" fmla="*/ 902665 h 1805331"/>
                <a:gd name="connsiteX128" fmla="*/ 902665 w 1805390"/>
                <a:gd name="connsiteY128" fmla="*/ 0 h 1805331"/>
                <a:gd name="connsiteX129" fmla="*/ 1586717 w 1805390"/>
                <a:gd name="connsiteY129" fmla="*/ 313641 h 1805331"/>
                <a:gd name="connsiteX130" fmla="*/ 1586717 w 1805390"/>
                <a:gd name="connsiteY130" fmla="*/ 79924 h 1805331"/>
                <a:gd name="connsiteX131" fmla="*/ 1629088 w 1805390"/>
                <a:gd name="connsiteY131" fmla="*/ 79924 h 1805331"/>
                <a:gd name="connsiteX132" fmla="*/ 1629088 w 1805390"/>
                <a:gd name="connsiteY132" fmla="*/ 394916 h 1805331"/>
                <a:gd name="connsiteX133" fmla="*/ 1314036 w 1805390"/>
                <a:gd name="connsiteY133" fmla="*/ 394916 h 1805331"/>
                <a:gd name="connsiteX134" fmla="*/ 1314036 w 1805390"/>
                <a:gd name="connsiteY134" fmla="*/ 352604 h 1805331"/>
                <a:gd name="connsiteX135" fmla="*/ 1564209 w 1805390"/>
                <a:gd name="connsiteY135" fmla="*/ 352604 h 1805331"/>
                <a:gd name="connsiteX136" fmla="*/ 902665 w 1805390"/>
                <a:gd name="connsiteY136" fmla="*/ 42312 h 1805331"/>
                <a:gd name="connsiteX137" fmla="*/ 42312 w 1805390"/>
                <a:gd name="connsiteY137" fmla="*/ 902665 h 1805331"/>
                <a:gd name="connsiteX0" fmla="*/ 983764 w 1629088"/>
                <a:gd name="connsiteY0" fmla="*/ 1335193 h 1827528"/>
                <a:gd name="connsiteX1" fmla="*/ 821567 w 1629088"/>
                <a:gd name="connsiteY1" fmla="*/ 1335193 h 1827528"/>
                <a:gd name="connsiteX2" fmla="*/ 800410 w 1629088"/>
                <a:gd name="connsiteY2" fmla="*/ 1314036 h 1827528"/>
                <a:gd name="connsiteX3" fmla="*/ 800410 w 1629088"/>
                <a:gd name="connsiteY3" fmla="*/ 1221948 h 1827528"/>
                <a:gd name="connsiteX4" fmla="*/ 749342 w 1629088"/>
                <a:gd name="connsiteY4" fmla="*/ 1200616 h 1827528"/>
                <a:gd name="connsiteX5" fmla="*/ 684051 w 1629088"/>
                <a:gd name="connsiteY5" fmla="*/ 1265906 h 1827528"/>
                <a:gd name="connsiteX6" fmla="*/ 669124 w 1629088"/>
                <a:gd name="connsiteY6" fmla="*/ 1272077 h 1827528"/>
                <a:gd name="connsiteX7" fmla="*/ 669124 w 1629088"/>
                <a:gd name="connsiteY7" fmla="*/ 1272077 h 1827528"/>
                <a:gd name="connsiteX8" fmla="*/ 654197 w 1629088"/>
                <a:gd name="connsiteY8" fmla="*/ 1265906 h 1827528"/>
                <a:gd name="connsiteX9" fmla="*/ 539484 w 1629088"/>
                <a:gd name="connsiteY9" fmla="*/ 1151192 h 1827528"/>
                <a:gd name="connsiteX10" fmla="*/ 539484 w 1629088"/>
                <a:gd name="connsiteY10" fmla="*/ 1121221 h 1827528"/>
                <a:gd name="connsiteX11" fmla="*/ 604598 w 1629088"/>
                <a:gd name="connsiteY11" fmla="*/ 1056166 h 1827528"/>
                <a:gd name="connsiteX12" fmla="*/ 583618 w 1629088"/>
                <a:gd name="connsiteY12" fmla="*/ 1004979 h 1827528"/>
                <a:gd name="connsiteX13" fmla="*/ 491294 w 1629088"/>
                <a:gd name="connsiteY13" fmla="*/ 1004979 h 1827528"/>
                <a:gd name="connsiteX14" fmla="*/ 470138 w 1629088"/>
                <a:gd name="connsiteY14" fmla="*/ 983823 h 1827528"/>
                <a:gd name="connsiteX15" fmla="*/ 470138 w 1629088"/>
                <a:gd name="connsiteY15" fmla="*/ 821625 h 1827528"/>
                <a:gd name="connsiteX16" fmla="*/ 491294 w 1629088"/>
                <a:gd name="connsiteY16" fmla="*/ 800469 h 1827528"/>
                <a:gd name="connsiteX17" fmla="*/ 583383 w 1629088"/>
                <a:gd name="connsiteY17" fmla="*/ 800469 h 1827528"/>
                <a:gd name="connsiteX18" fmla="*/ 604715 w 1629088"/>
                <a:gd name="connsiteY18" fmla="*/ 749400 h 1827528"/>
                <a:gd name="connsiteX19" fmla="*/ 539484 w 1629088"/>
                <a:gd name="connsiteY19" fmla="*/ 684051 h 1827528"/>
                <a:gd name="connsiteX20" fmla="*/ 539484 w 1629088"/>
                <a:gd name="connsiteY20" fmla="*/ 654139 h 1827528"/>
                <a:gd name="connsiteX21" fmla="*/ 654139 w 1629088"/>
                <a:gd name="connsiteY21" fmla="*/ 539425 h 1827528"/>
                <a:gd name="connsiteX22" fmla="*/ 684051 w 1629088"/>
                <a:gd name="connsiteY22" fmla="*/ 539425 h 1827528"/>
                <a:gd name="connsiteX23" fmla="*/ 749165 w 1629088"/>
                <a:gd name="connsiteY23" fmla="*/ 604598 h 1827528"/>
                <a:gd name="connsiteX24" fmla="*/ 800410 w 1629088"/>
                <a:gd name="connsiteY24" fmla="*/ 583618 h 1827528"/>
                <a:gd name="connsiteX25" fmla="*/ 800410 w 1629088"/>
                <a:gd name="connsiteY25" fmla="*/ 491294 h 1827528"/>
                <a:gd name="connsiteX26" fmla="*/ 821567 w 1629088"/>
                <a:gd name="connsiteY26" fmla="*/ 470138 h 1827528"/>
                <a:gd name="connsiteX27" fmla="*/ 983764 w 1629088"/>
                <a:gd name="connsiteY27" fmla="*/ 470138 h 1827528"/>
                <a:gd name="connsiteX28" fmla="*/ 1004921 w 1629088"/>
                <a:gd name="connsiteY28" fmla="*/ 491294 h 1827528"/>
                <a:gd name="connsiteX29" fmla="*/ 1004921 w 1629088"/>
                <a:gd name="connsiteY29" fmla="*/ 583383 h 1827528"/>
                <a:gd name="connsiteX30" fmla="*/ 1055931 w 1629088"/>
                <a:gd name="connsiteY30" fmla="*/ 604715 h 1827528"/>
                <a:gd name="connsiteX31" fmla="*/ 1121162 w 1629088"/>
                <a:gd name="connsiteY31" fmla="*/ 539425 h 1827528"/>
                <a:gd name="connsiteX32" fmla="*/ 1151134 w 1629088"/>
                <a:gd name="connsiteY32" fmla="*/ 539425 h 1827528"/>
                <a:gd name="connsiteX33" fmla="*/ 1265847 w 1629088"/>
                <a:gd name="connsiteY33" fmla="*/ 654139 h 1827528"/>
                <a:gd name="connsiteX34" fmla="*/ 1272018 w 1629088"/>
                <a:gd name="connsiteY34" fmla="*/ 669066 h 1827528"/>
                <a:gd name="connsiteX35" fmla="*/ 1265847 w 1629088"/>
                <a:gd name="connsiteY35" fmla="*/ 683992 h 1827528"/>
                <a:gd name="connsiteX36" fmla="*/ 1200674 w 1629088"/>
                <a:gd name="connsiteY36" fmla="*/ 749107 h 1827528"/>
                <a:gd name="connsiteX37" fmla="*/ 1221654 w 1629088"/>
                <a:gd name="connsiteY37" fmla="*/ 800352 h 1827528"/>
                <a:gd name="connsiteX38" fmla="*/ 1314036 w 1629088"/>
                <a:gd name="connsiteY38" fmla="*/ 800352 h 1827528"/>
                <a:gd name="connsiteX39" fmla="*/ 1335193 w 1629088"/>
                <a:gd name="connsiteY39" fmla="*/ 821508 h 1827528"/>
                <a:gd name="connsiteX40" fmla="*/ 1335193 w 1629088"/>
                <a:gd name="connsiteY40" fmla="*/ 983706 h 1827528"/>
                <a:gd name="connsiteX41" fmla="*/ 1314036 w 1629088"/>
                <a:gd name="connsiteY41" fmla="*/ 1004862 h 1827528"/>
                <a:gd name="connsiteX42" fmla="*/ 1221948 w 1629088"/>
                <a:gd name="connsiteY42" fmla="*/ 1004862 h 1827528"/>
                <a:gd name="connsiteX43" fmla="*/ 1200616 w 1629088"/>
                <a:gd name="connsiteY43" fmla="*/ 1055872 h 1827528"/>
                <a:gd name="connsiteX44" fmla="*/ 1265906 w 1629088"/>
                <a:gd name="connsiteY44" fmla="*/ 1121103 h 1827528"/>
                <a:gd name="connsiteX45" fmla="*/ 1272077 w 1629088"/>
                <a:gd name="connsiteY45" fmla="*/ 1136089 h 1827528"/>
                <a:gd name="connsiteX46" fmla="*/ 1265906 w 1629088"/>
                <a:gd name="connsiteY46" fmla="*/ 1151075 h 1827528"/>
                <a:gd name="connsiteX47" fmla="*/ 1151192 w 1629088"/>
                <a:gd name="connsiteY47" fmla="*/ 1265789 h 1827528"/>
                <a:gd name="connsiteX48" fmla="*/ 1136207 w 1629088"/>
                <a:gd name="connsiteY48" fmla="*/ 1271959 h 1827528"/>
                <a:gd name="connsiteX49" fmla="*/ 1136207 w 1629088"/>
                <a:gd name="connsiteY49" fmla="*/ 1271959 h 1827528"/>
                <a:gd name="connsiteX50" fmla="*/ 1121221 w 1629088"/>
                <a:gd name="connsiteY50" fmla="*/ 1265789 h 1827528"/>
                <a:gd name="connsiteX51" fmla="*/ 1056166 w 1629088"/>
                <a:gd name="connsiteY51" fmla="*/ 1200616 h 1827528"/>
                <a:gd name="connsiteX52" fmla="*/ 1004979 w 1629088"/>
                <a:gd name="connsiteY52" fmla="*/ 1221596 h 1827528"/>
                <a:gd name="connsiteX53" fmla="*/ 1004979 w 1629088"/>
                <a:gd name="connsiteY53" fmla="*/ 1314036 h 1827528"/>
                <a:gd name="connsiteX54" fmla="*/ 983764 w 1629088"/>
                <a:gd name="connsiteY54" fmla="*/ 1335193 h 1827528"/>
                <a:gd name="connsiteX55" fmla="*/ 842723 w 1629088"/>
                <a:gd name="connsiteY55" fmla="*/ 1292880 h 1827528"/>
                <a:gd name="connsiteX56" fmla="*/ 962608 w 1629088"/>
                <a:gd name="connsiteY56" fmla="*/ 1292880 h 1827528"/>
                <a:gd name="connsiteX57" fmla="*/ 962608 w 1629088"/>
                <a:gd name="connsiteY57" fmla="*/ 1207550 h 1827528"/>
                <a:gd name="connsiteX58" fmla="*/ 975772 w 1629088"/>
                <a:gd name="connsiteY58" fmla="*/ 1187981 h 1827528"/>
                <a:gd name="connsiteX59" fmla="*/ 1053110 w 1629088"/>
                <a:gd name="connsiteY59" fmla="*/ 1156246 h 1827528"/>
                <a:gd name="connsiteX60" fmla="*/ 1076146 w 1629088"/>
                <a:gd name="connsiteY60" fmla="*/ 1160830 h 1827528"/>
                <a:gd name="connsiteX61" fmla="*/ 1136207 w 1629088"/>
                <a:gd name="connsiteY61" fmla="*/ 1221008 h 1827528"/>
                <a:gd name="connsiteX62" fmla="*/ 1221008 w 1629088"/>
                <a:gd name="connsiteY62" fmla="*/ 1136207 h 1827528"/>
                <a:gd name="connsiteX63" fmla="*/ 1160595 w 1629088"/>
                <a:gd name="connsiteY63" fmla="*/ 1075911 h 1827528"/>
                <a:gd name="connsiteX64" fmla="*/ 1156070 w 1629088"/>
                <a:gd name="connsiteY64" fmla="*/ 1052757 h 1827528"/>
                <a:gd name="connsiteX65" fmla="*/ 1188392 w 1629088"/>
                <a:gd name="connsiteY65" fmla="*/ 975654 h 1827528"/>
                <a:gd name="connsiteX66" fmla="*/ 1207903 w 1629088"/>
                <a:gd name="connsiteY66" fmla="*/ 962608 h 1827528"/>
                <a:gd name="connsiteX67" fmla="*/ 1292880 w 1629088"/>
                <a:gd name="connsiteY67" fmla="*/ 962608 h 1827528"/>
                <a:gd name="connsiteX68" fmla="*/ 1292880 w 1629088"/>
                <a:gd name="connsiteY68" fmla="*/ 842723 h 1827528"/>
                <a:gd name="connsiteX69" fmla="*/ 1207550 w 1629088"/>
                <a:gd name="connsiteY69" fmla="*/ 842723 h 1827528"/>
                <a:gd name="connsiteX70" fmla="*/ 1187981 w 1629088"/>
                <a:gd name="connsiteY70" fmla="*/ 829618 h 1827528"/>
                <a:gd name="connsiteX71" fmla="*/ 1156246 w 1629088"/>
                <a:gd name="connsiteY71" fmla="*/ 752280 h 1827528"/>
                <a:gd name="connsiteX72" fmla="*/ 1160830 w 1629088"/>
                <a:gd name="connsiteY72" fmla="*/ 729302 h 1827528"/>
                <a:gd name="connsiteX73" fmla="*/ 1221008 w 1629088"/>
                <a:gd name="connsiteY73" fmla="*/ 669183 h 1827528"/>
                <a:gd name="connsiteX74" fmla="*/ 1136207 w 1629088"/>
                <a:gd name="connsiteY74" fmla="*/ 584382 h 1827528"/>
                <a:gd name="connsiteX75" fmla="*/ 1075911 w 1629088"/>
                <a:gd name="connsiteY75" fmla="*/ 644736 h 1827528"/>
                <a:gd name="connsiteX76" fmla="*/ 1052757 w 1629088"/>
                <a:gd name="connsiteY76" fmla="*/ 649320 h 1827528"/>
                <a:gd name="connsiteX77" fmla="*/ 975654 w 1629088"/>
                <a:gd name="connsiteY77" fmla="*/ 617057 h 1827528"/>
                <a:gd name="connsiteX78" fmla="*/ 962608 w 1629088"/>
                <a:gd name="connsiteY78" fmla="*/ 597546 h 1827528"/>
                <a:gd name="connsiteX79" fmla="*/ 962608 w 1629088"/>
                <a:gd name="connsiteY79" fmla="*/ 512451 h 1827528"/>
                <a:gd name="connsiteX80" fmla="*/ 842723 w 1629088"/>
                <a:gd name="connsiteY80" fmla="*/ 512451 h 1827528"/>
                <a:gd name="connsiteX81" fmla="*/ 842723 w 1629088"/>
                <a:gd name="connsiteY81" fmla="*/ 597781 h 1827528"/>
                <a:gd name="connsiteX82" fmla="*/ 829618 w 1629088"/>
                <a:gd name="connsiteY82" fmla="*/ 617350 h 1827528"/>
                <a:gd name="connsiteX83" fmla="*/ 752280 w 1629088"/>
                <a:gd name="connsiteY83" fmla="*/ 649085 h 1827528"/>
                <a:gd name="connsiteX84" fmla="*/ 729302 w 1629088"/>
                <a:gd name="connsiteY84" fmla="*/ 644442 h 1827528"/>
                <a:gd name="connsiteX85" fmla="*/ 669183 w 1629088"/>
                <a:gd name="connsiteY85" fmla="*/ 584323 h 1827528"/>
                <a:gd name="connsiteX86" fmla="*/ 584441 w 1629088"/>
                <a:gd name="connsiteY86" fmla="*/ 669124 h 1827528"/>
                <a:gd name="connsiteX87" fmla="*/ 644795 w 1629088"/>
                <a:gd name="connsiteY87" fmla="*/ 729537 h 1827528"/>
                <a:gd name="connsiteX88" fmla="*/ 649320 w 1629088"/>
                <a:gd name="connsiteY88" fmla="*/ 752691 h 1827528"/>
                <a:gd name="connsiteX89" fmla="*/ 617057 w 1629088"/>
                <a:gd name="connsiteY89" fmla="*/ 829794 h 1827528"/>
                <a:gd name="connsiteX90" fmla="*/ 597546 w 1629088"/>
                <a:gd name="connsiteY90" fmla="*/ 842782 h 1827528"/>
                <a:gd name="connsiteX91" fmla="*/ 512451 w 1629088"/>
                <a:gd name="connsiteY91" fmla="*/ 842782 h 1827528"/>
                <a:gd name="connsiteX92" fmla="*/ 512451 w 1629088"/>
                <a:gd name="connsiteY92" fmla="*/ 962667 h 1827528"/>
                <a:gd name="connsiteX93" fmla="*/ 597781 w 1629088"/>
                <a:gd name="connsiteY93" fmla="*/ 962667 h 1827528"/>
                <a:gd name="connsiteX94" fmla="*/ 617350 w 1629088"/>
                <a:gd name="connsiteY94" fmla="*/ 975831 h 1827528"/>
                <a:gd name="connsiteX95" fmla="*/ 649085 w 1629088"/>
                <a:gd name="connsiteY95" fmla="*/ 1053169 h 1827528"/>
                <a:gd name="connsiteX96" fmla="*/ 644442 w 1629088"/>
                <a:gd name="connsiteY96" fmla="*/ 1076205 h 1827528"/>
                <a:gd name="connsiteX97" fmla="*/ 584382 w 1629088"/>
                <a:gd name="connsiteY97" fmla="*/ 1136265 h 1827528"/>
                <a:gd name="connsiteX98" fmla="*/ 669124 w 1629088"/>
                <a:gd name="connsiteY98" fmla="*/ 1221067 h 1827528"/>
                <a:gd name="connsiteX99" fmla="*/ 729537 w 1629088"/>
                <a:gd name="connsiteY99" fmla="*/ 1160654 h 1827528"/>
                <a:gd name="connsiteX100" fmla="*/ 752691 w 1629088"/>
                <a:gd name="connsiteY100" fmla="*/ 1156129 h 1827528"/>
                <a:gd name="connsiteX101" fmla="*/ 829794 w 1629088"/>
                <a:gd name="connsiteY101" fmla="*/ 1188451 h 1827528"/>
                <a:gd name="connsiteX102" fmla="*/ 842782 w 1629088"/>
                <a:gd name="connsiteY102" fmla="*/ 1207962 h 1827528"/>
                <a:gd name="connsiteX103" fmla="*/ 842723 w 1629088"/>
                <a:gd name="connsiteY103" fmla="*/ 1292880 h 1827528"/>
                <a:gd name="connsiteX104" fmla="*/ 842723 w 1629088"/>
                <a:gd name="connsiteY104" fmla="*/ 1292880 h 1827528"/>
                <a:gd name="connsiteX105" fmla="*/ 902665 w 1629088"/>
                <a:gd name="connsiteY105" fmla="*/ 1100124 h 1827528"/>
                <a:gd name="connsiteX106" fmla="*/ 705207 w 1629088"/>
                <a:gd name="connsiteY106" fmla="*/ 902665 h 1827528"/>
                <a:gd name="connsiteX107" fmla="*/ 902665 w 1629088"/>
                <a:gd name="connsiteY107" fmla="*/ 705207 h 1827528"/>
                <a:gd name="connsiteX108" fmla="*/ 1100124 w 1629088"/>
                <a:gd name="connsiteY108" fmla="*/ 902665 h 1827528"/>
                <a:gd name="connsiteX109" fmla="*/ 902665 w 1629088"/>
                <a:gd name="connsiteY109" fmla="*/ 1100124 h 1827528"/>
                <a:gd name="connsiteX110" fmla="*/ 902665 w 1629088"/>
                <a:gd name="connsiteY110" fmla="*/ 747520 h 1827528"/>
                <a:gd name="connsiteX111" fmla="*/ 747520 w 1629088"/>
                <a:gd name="connsiteY111" fmla="*/ 902665 h 1827528"/>
                <a:gd name="connsiteX112" fmla="*/ 902665 w 1629088"/>
                <a:gd name="connsiteY112" fmla="*/ 1057811 h 1827528"/>
                <a:gd name="connsiteX113" fmla="*/ 1057811 w 1629088"/>
                <a:gd name="connsiteY113" fmla="*/ 902665 h 1827528"/>
                <a:gd name="connsiteX114" fmla="*/ 902665 w 1629088"/>
                <a:gd name="connsiteY114" fmla="*/ 747520 h 1827528"/>
                <a:gd name="connsiteX115" fmla="*/ 902665 w 1629088"/>
                <a:gd name="connsiteY115" fmla="*/ 1805331 h 1827528"/>
                <a:gd name="connsiteX116" fmla="*/ 218614 w 1629088"/>
                <a:gd name="connsiteY116" fmla="*/ 1491631 h 1827528"/>
                <a:gd name="connsiteX117" fmla="*/ 218614 w 1629088"/>
                <a:gd name="connsiteY117" fmla="*/ 1725407 h 1827528"/>
                <a:gd name="connsiteX118" fmla="*/ 176302 w 1629088"/>
                <a:gd name="connsiteY118" fmla="*/ 1725407 h 1827528"/>
                <a:gd name="connsiteX119" fmla="*/ 176302 w 1629088"/>
                <a:gd name="connsiteY119" fmla="*/ 1410415 h 1827528"/>
                <a:gd name="connsiteX120" fmla="*/ 491294 w 1629088"/>
                <a:gd name="connsiteY120" fmla="*/ 1410415 h 1827528"/>
                <a:gd name="connsiteX121" fmla="*/ 491294 w 1629088"/>
                <a:gd name="connsiteY121" fmla="*/ 1452786 h 1827528"/>
                <a:gd name="connsiteX122" fmla="*/ 241122 w 1629088"/>
                <a:gd name="connsiteY122" fmla="*/ 1452786 h 1827528"/>
                <a:gd name="connsiteX123" fmla="*/ 902665 w 1629088"/>
                <a:gd name="connsiteY123" fmla="*/ 1763018 h 1827528"/>
                <a:gd name="connsiteX124" fmla="*/ 902665 w 1629088"/>
                <a:gd name="connsiteY124" fmla="*/ 1805331 h 1827528"/>
                <a:gd name="connsiteX125" fmla="*/ 42312 w 1629088"/>
                <a:gd name="connsiteY125" fmla="*/ 902665 h 1827528"/>
                <a:gd name="connsiteX126" fmla="*/ 0 w 1629088"/>
                <a:gd name="connsiteY126" fmla="*/ 902665 h 1827528"/>
                <a:gd name="connsiteX127" fmla="*/ 902665 w 1629088"/>
                <a:gd name="connsiteY127" fmla="*/ 0 h 1827528"/>
                <a:gd name="connsiteX128" fmla="*/ 1586717 w 1629088"/>
                <a:gd name="connsiteY128" fmla="*/ 313641 h 1827528"/>
                <a:gd name="connsiteX129" fmla="*/ 1586717 w 1629088"/>
                <a:gd name="connsiteY129" fmla="*/ 79924 h 1827528"/>
                <a:gd name="connsiteX130" fmla="*/ 1629088 w 1629088"/>
                <a:gd name="connsiteY130" fmla="*/ 79924 h 1827528"/>
                <a:gd name="connsiteX131" fmla="*/ 1629088 w 1629088"/>
                <a:gd name="connsiteY131" fmla="*/ 394916 h 1827528"/>
                <a:gd name="connsiteX132" fmla="*/ 1314036 w 1629088"/>
                <a:gd name="connsiteY132" fmla="*/ 394916 h 1827528"/>
                <a:gd name="connsiteX133" fmla="*/ 1314036 w 1629088"/>
                <a:gd name="connsiteY133" fmla="*/ 352604 h 1827528"/>
                <a:gd name="connsiteX134" fmla="*/ 1564209 w 1629088"/>
                <a:gd name="connsiteY134" fmla="*/ 352604 h 1827528"/>
                <a:gd name="connsiteX135" fmla="*/ 902665 w 1629088"/>
                <a:gd name="connsiteY135" fmla="*/ 42312 h 1827528"/>
                <a:gd name="connsiteX136" fmla="*/ 42312 w 1629088"/>
                <a:gd name="connsiteY136" fmla="*/ 902665 h 1827528"/>
                <a:gd name="connsiteX0" fmla="*/ 983764 w 1629088"/>
                <a:gd name="connsiteY0" fmla="*/ 1335193 h 1763131"/>
                <a:gd name="connsiteX1" fmla="*/ 821567 w 1629088"/>
                <a:gd name="connsiteY1" fmla="*/ 1335193 h 1763131"/>
                <a:gd name="connsiteX2" fmla="*/ 800410 w 1629088"/>
                <a:gd name="connsiteY2" fmla="*/ 1314036 h 1763131"/>
                <a:gd name="connsiteX3" fmla="*/ 800410 w 1629088"/>
                <a:gd name="connsiteY3" fmla="*/ 1221948 h 1763131"/>
                <a:gd name="connsiteX4" fmla="*/ 749342 w 1629088"/>
                <a:gd name="connsiteY4" fmla="*/ 1200616 h 1763131"/>
                <a:gd name="connsiteX5" fmla="*/ 684051 w 1629088"/>
                <a:gd name="connsiteY5" fmla="*/ 1265906 h 1763131"/>
                <a:gd name="connsiteX6" fmla="*/ 669124 w 1629088"/>
                <a:gd name="connsiteY6" fmla="*/ 1272077 h 1763131"/>
                <a:gd name="connsiteX7" fmla="*/ 669124 w 1629088"/>
                <a:gd name="connsiteY7" fmla="*/ 1272077 h 1763131"/>
                <a:gd name="connsiteX8" fmla="*/ 654197 w 1629088"/>
                <a:gd name="connsiteY8" fmla="*/ 1265906 h 1763131"/>
                <a:gd name="connsiteX9" fmla="*/ 539484 w 1629088"/>
                <a:gd name="connsiteY9" fmla="*/ 1151192 h 1763131"/>
                <a:gd name="connsiteX10" fmla="*/ 539484 w 1629088"/>
                <a:gd name="connsiteY10" fmla="*/ 1121221 h 1763131"/>
                <a:gd name="connsiteX11" fmla="*/ 604598 w 1629088"/>
                <a:gd name="connsiteY11" fmla="*/ 1056166 h 1763131"/>
                <a:gd name="connsiteX12" fmla="*/ 583618 w 1629088"/>
                <a:gd name="connsiteY12" fmla="*/ 1004979 h 1763131"/>
                <a:gd name="connsiteX13" fmla="*/ 491294 w 1629088"/>
                <a:gd name="connsiteY13" fmla="*/ 1004979 h 1763131"/>
                <a:gd name="connsiteX14" fmla="*/ 470138 w 1629088"/>
                <a:gd name="connsiteY14" fmla="*/ 983823 h 1763131"/>
                <a:gd name="connsiteX15" fmla="*/ 470138 w 1629088"/>
                <a:gd name="connsiteY15" fmla="*/ 821625 h 1763131"/>
                <a:gd name="connsiteX16" fmla="*/ 491294 w 1629088"/>
                <a:gd name="connsiteY16" fmla="*/ 800469 h 1763131"/>
                <a:gd name="connsiteX17" fmla="*/ 583383 w 1629088"/>
                <a:gd name="connsiteY17" fmla="*/ 800469 h 1763131"/>
                <a:gd name="connsiteX18" fmla="*/ 604715 w 1629088"/>
                <a:gd name="connsiteY18" fmla="*/ 749400 h 1763131"/>
                <a:gd name="connsiteX19" fmla="*/ 539484 w 1629088"/>
                <a:gd name="connsiteY19" fmla="*/ 684051 h 1763131"/>
                <a:gd name="connsiteX20" fmla="*/ 539484 w 1629088"/>
                <a:gd name="connsiteY20" fmla="*/ 654139 h 1763131"/>
                <a:gd name="connsiteX21" fmla="*/ 654139 w 1629088"/>
                <a:gd name="connsiteY21" fmla="*/ 539425 h 1763131"/>
                <a:gd name="connsiteX22" fmla="*/ 684051 w 1629088"/>
                <a:gd name="connsiteY22" fmla="*/ 539425 h 1763131"/>
                <a:gd name="connsiteX23" fmla="*/ 749165 w 1629088"/>
                <a:gd name="connsiteY23" fmla="*/ 604598 h 1763131"/>
                <a:gd name="connsiteX24" fmla="*/ 800410 w 1629088"/>
                <a:gd name="connsiteY24" fmla="*/ 583618 h 1763131"/>
                <a:gd name="connsiteX25" fmla="*/ 800410 w 1629088"/>
                <a:gd name="connsiteY25" fmla="*/ 491294 h 1763131"/>
                <a:gd name="connsiteX26" fmla="*/ 821567 w 1629088"/>
                <a:gd name="connsiteY26" fmla="*/ 470138 h 1763131"/>
                <a:gd name="connsiteX27" fmla="*/ 983764 w 1629088"/>
                <a:gd name="connsiteY27" fmla="*/ 470138 h 1763131"/>
                <a:gd name="connsiteX28" fmla="*/ 1004921 w 1629088"/>
                <a:gd name="connsiteY28" fmla="*/ 491294 h 1763131"/>
                <a:gd name="connsiteX29" fmla="*/ 1004921 w 1629088"/>
                <a:gd name="connsiteY29" fmla="*/ 583383 h 1763131"/>
                <a:gd name="connsiteX30" fmla="*/ 1055931 w 1629088"/>
                <a:gd name="connsiteY30" fmla="*/ 604715 h 1763131"/>
                <a:gd name="connsiteX31" fmla="*/ 1121162 w 1629088"/>
                <a:gd name="connsiteY31" fmla="*/ 539425 h 1763131"/>
                <a:gd name="connsiteX32" fmla="*/ 1151134 w 1629088"/>
                <a:gd name="connsiteY32" fmla="*/ 539425 h 1763131"/>
                <a:gd name="connsiteX33" fmla="*/ 1265847 w 1629088"/>
                <a:gd name="connsiteY33" fmla="*/ 654139 h 1763131"/>
                <a:gd name="connsiteX34" fmla="*/ 1272018 w 1629088"/>
                <a:gd name="connsiteY34" fmla="*/ 669066 h 1763131"/>
                <a:gd name="connsiteX35" fmla="*/ 1265847 w 1629088"/>
                <a:gd name="connsiteY35" fmla="*/ 683992 h 1763131"/>
                <a:gd name="connsiteX36" fmla="*/ 1200674 w 1629088"/>
                <a:gd name="connsiteY36" fmla="*/ 749107 h 1763131"/>
                <a:gd name="connsiteX37" fmla="*/ 1221654 w 1629088"/>
                <a:gd name="connsiteY37" fmla="*/ 800352 h 1763131"/>
                <a:gd name="connsiteX38" fmla="*/ 1314036 w 1629088"/>
                <a:gd name="connsiteY38" fmla="*/ 800352 h 1763131"/>
                <a:gd name="connsiteX39" fmla="*/ 1335193 w 1629088"/>
                <a:gd name="connsiteY39" fmla="*/ 821508 h 1763131"/>
                <a:gd name="connsiteX40" fmla="*/ 1335193 w 1629088"/>
                <a:gd name="connsiteY40" fmla="*/ 983706 h 1763131"/>
                <a:gd name="connsiteX41" fmla="*/ 1314036 w 1629088"/>
                <a:gd name="connsiteY41" fmla="*/ 1004862 h 1763131"/>
                <a:gd name="connsiteX42" fmla="*/ 1221948 w 1629088"/>
                <a:gd name="connsiteY42" fmla="*/ 1004862 h 1763131"/>
                <a:gd name="connsiteX43" fmla="*/ 1200616 w 1629088"/>
                <a:gd name="connsiteY43" fmla="*/ 1055872 h 1763131"/>
                <a:gd name="connsiteX44" fmla="*/ 1265906 w 1629088"/>
                <a:gd name="connsiteY44" fmla="*/ 1121103 h 1763131"/>
                <a:gd name="connsiteX45" fmla="*/ 1272077 w 1629088"/>
                <a:gd name="connsiteY45" fmla="*/ 1136089 h 1763131"/>
                <a:gd name="connsiteX46" fmla="*/ 1265906 w 1629088"/>
                <a:gd name="connsiteY46" fmla="*/ 1151075 h 1763131"/>
                <a:gd name="connsiteX47" fmla="*/ 1151192 w 1629088"/>
                <a:gd name="connsiteY47" fmla="*/ 1265789 h 1763131"/>
                <a:gd name="connsiteX48" fmla="*/ 1136207 w 1629088"/>
                <a:gd name="connsiteY48" fmla="*/ 1271959 h 1763131"/>
                <a:gd name="connsiteX49" fmla="*/ 1136207 w 1629088"/>
                <a:gd name="connsiteY49" fmla="*/ 1271959 h 1763131"/>
                <a:gd name="connsiteX50" fmla="*/ 1121221 w 1629088"/>
                <a:gd name="connsiteY50" fmla="*/ 1265789 h 1763131"/>
                <a:gd name="connsiteX51" fmla="*/ 1056166 w 1629088"/>
                <a:gd name="connsiteY51" fmla="*/ 1200616 h 1763131"/>
                <a:gd name="connsiteX52" fmla="*/ 1004979 w 1629088"/>
                <a:gd name="connsiteY52" fmla="*/ 1221596 h 1763131"/>
                <a:gd name="connsiteX53" fmla="*/ 1004979 w 1629088"/>
                <a:gd name="connsiteY53" fmla="*/ 1314036 h 1763131"/>
                <a:gd name="connsiteX54" fmla="*/ 983764 w 1629088"/>
                <a:gd name="connsiteY54" fmla="*/ 1335193 h 1763131"/>
                <a:gd name="connsiteX55" fmla="*/ 842723 w 1629088"/>
                <a:gd name="connsiteY55" fmla="*/ 1292880 h 1763131"/>
                <a:gd name="connsiteX56" fmla="*/ 962608 w 1629088"/>
                <a:gd name="connsiteY56" fmla="*/ 1292880 h 1763131"/>
                <a:gd name="connsiteX57" fmla="*/ 962608 w 1629088"/>
                <a:gd name="connsiteY57" fmla="*/ 1207550 h 1763131"/>
                <a:gd name="connsiteX58" fmla="*/ 975772 w 1629088"/>
                <a:gd name="connsiteY58" fmla="*/ 1187981 h 1763131"/>
                <a:gd name="connsiteX59" fmla="*/ 1053110 w 1629088"/>
                <a:gd name="connsiteY59" fmla="*/ 1156246 h 1763131"/>
                <a:gd name="connsiteX60" fmla="*/ 1076146 w 1629088"/>
                <a:gd name="connsiteY60" fmla="*/ 1160830 h 1763131"/>
                <a:gd name="connsiteX61" fmla="*/ 1136207 w 1629088"/>
                <a:gd name="connsiteY61" fmla="*/ 1221008 h 1763131"/>
                <a:gd name="connsiteX62" fmla="*/ 1221008 w 1629088"/>
                <a:gd name="connsiteY62" fmla="*/ 1136207 h 1763131"/>
                <a:gd name="connsiteX63" fmla="*/ 1160595 w 1629088"/>
                <a:gd name="connsiteY63" fmla="*/ 1075911 h 1763131"/>
                <a:gd name="connsiteX64" fmla="*/ 1156070 w 1629088"/>
                <a:gd name="connsiteY64" fmla="*/ 1052757 h 1763131"/>
                <a:gd name="connsiteX65" fmla="*/ 1188392 w 1629088"/>
                <a:gd name="connsiteY65" fmla="*/ 975654 h 1763131"/>
                <a:gd name="connsiteX66" fmla="*/ 1207903 w 1629088"/>
                <a:gd name="connsiteY66" fmla="*/ 962608 h 1763131"/>
                <a:gd name="connsiteX67" fmla="*/ 1292880 w 1629088"/>
                <a:gd name="connsiteY67" fmla="*/ 962608 h 1763131"/>
                <a:gd name="connsiteX68" fmla="*/ 1292880 w 1629088"/>
                <a:gd name="connsiteY68" fmla="*/ 842723 h 1763131"/>
                <a:gd name="connsiteX69" fmla="*/ 1207550 w 1629088"/>
                <a:gd name="connsiteY69" fmla="*/ 842723 h 1763131"/>
                <a:gd name="connsiteX70" fmla="*/ 1187981 w 1629088"/>
                <a:gd name="connsiteY70" fmla="*/ 829618 h 1763131"/>
                <a:gd name="connsiteX71" fmla="*/ 1156246 w 1629088"/>
                <a:gd name="connsiteY71" fmla="*/ 752280 h 1763131"/>
                <a:gd name="connsiteX72" fmla="*/ 1160830 w 1629088"/>
                <a:gd name="connsiteY72" fmla="*/ 729302 h 1763131"/>
                <a:gd name="connsiteX73" fmla="*/ 1221008 w 1629088"/>
                <a:gd name="connsiteY73" fmla="*/ 669183 h 1763131"/>
                <a:gd name="connsiteX74" fmla="*/ 1136207 w 1629088"/>
                <a:gd name="connsiteY74" fmla="*/ 584382 h 1763131"/>
                <a:gd name="connsiteX75" fmla="*/ 1075911 w 1629088"/>
                <a:gd name="connsiteY75" fmla="*/ 644736 h 1763131"/>
                <a:gd name="connsiteX76" fmla="*/ 1052757 w 1629088"/>
                <a:gd name="connsiteY76" fmla="*/ 649320 h 1763131"/>
                <a:gd name="connsiteX77" fmla="*/ 975654 w 1629088"/>
                <a:gd name="connsiteY77" fmla="*/ 617057 h 1763131"/>
                <a:gd name="connsiteX78" fmla="*/ 962608 w 1629088"/>
                <a:gd name="connsiteY78" fmla="*/ 597546 h 1763131"/>
                <a:gd name="connsiteX79" fmla="*/ 962608 w 1629088"/>
                <a:gd name="connsiteY79" fmla="*/ 512451 h 1763131"/>
                <a:gd name="connsiteX80" fmla="*/ 842723 w 1629088"/>
                <a:gd name="connsiteY80" fmla="*/ 512451 h 1763131"/>
                <a:gd name="connsiteX81" fmla="*/ 842723 w 1629088"/>
                <a:gd name="connsiteY81" fmla="*/ 597781 h 1763131"/>
                <a:gd name="connsiteX82" fmla="*/ 829618 w 1629088"/>
                <a:gd name="connsiteY82" fmla="*/ 617350 h 1763131"/>
                <a:gd name="connsiteX83" fmla="*/ 752280 w 1629088"/>
                <a:gd name="connsiteY83" fmla="*/ 649085 h 1763131"/>
                <a:gd name="connsiteX84" fmla="*/ 729302 w 1629088"/>
                <a:gd name="connsiteY84" fmla="*/ 644442 h 1763131"/>
                <a:gd name="connsiteX85" fmla="*/ 669183 w 1629088"/>
                <a:gd name="connsiteY85" fmla="*/ 584323 h 1763131"/>
                <a:gd name="connsiteX86" fmla="*/ 584441 w 1629088"/>
                <a:gd name="connsiteY86" fmla="*/ 669124 h 1763131"/>
                <a:gd name="connsiteX87" fmla="*/ 644795 w 1629088"/>
                <a:gd name="connsiteY87" fmla="*/ 729537 h 1763131"/>
                <a:gd name="connsiteX88" fmla="*/ 649320 w 1629088"/>
                <a:gd name="connsiteY88" fmla="*/ 752691 h 1763131"/>
                <a:gd name="connsiteX89" fmla="*/ 617057 w 1629088"/>
                <a:gd name="connsiteY89" fmla="*/ 829794 h 1763131"/>
                <a:gd name="connsiteX90" fmla="*/ 597546 w 1629088"/>
                <a:gd name="connsiteY90" fmla="*/ 842782 h 1763131"/>
                <a:gd name="connsiteX91" fmla="*/ 512451 w 1629088"/>
                <a:gd name="connsiteY91" fmla="*/ 842782 h 1763131"/>
                <a:gd name="connsiteX92" fmla="*/ 512451 w 1629088"/>
                <a:gd name="connsiteY92" fmla="*/ 962667 h 1763131"/>
                <a:gd name="connsiteX93" fmla="*/ 597781 w 1629088"/>
                <a:gd name="connsiteY93" fmla="*/ 962667 h 1763131"/>
                <a:gd name="connsiteX94" fmla="*/ 617350 w 1629088"/>
                <a:gd name="connsiteY94" fmla="*/ 975831 h 1763131"/>
                <a:gd name="connsiteX95" fmla="*/ 649085 w 1629088"/>
                <a:gd name="connsiteY95" fmla="*/ 1053169 h 1763131"/>
                <a:gd name="connsiteX96" fmla="*/ 644442 w 1629088"/>
                <a:gd name="connsiteY96" fmla="*/ 1076205 h 1763131"/>
                <a:gd name="connsiteX97" fmla="*/ 584382 w 1629088"/>
                <a:gd name="connsiteY97" fmla="*/ 1136265 h 1763131"/>
                <a:gd name="connsiteX98" fmla="*/ 669124 w 1629088"/>
                <a:gd name="connsiteY98" fmla="*/ 1221067 h 1763131"/>
                <a:gd name="connsiteX99" fmla="*/ 729537 w 1629088"/>
                <a:gd name="connsiteY99" fmla="*/ 1160654 h 1763131"/>
                <a:gd name="connsiteX100" fmla="*/ 752691 w 1629088"/>
                <a:gd name="connsiteY100" fmla="*/ 1156129 h 1763131"/>
                <a:gd name="connsiteX101" fmla="*/ 829794 w 1629088"/>
                <a:gd name="connsiteY101" fmla="*/ 1188451 h 1763131"/>
                <a:gd name="connsiteX102" fmla="*/ 842782 w 1629088"/>
                <a:gd name="connsiteY102" fmla="*/ 1207962 h 1763131"/>
                <a:gd name="connsiteX103" fmla="*/ 842723 w 1629088"/>
                <a:gd name="connsiteY103" fmla="*/ 1292880 h 1763131"/>
                <a:gd name="connsiteX104" fmla="*/ 842723 w 1629088"/>
                <a:gd name="connsiteY104" fmla="*/ 1292880 h 1763131"/>
                <a:gd name="connsiteX105" fmla="*/ 902665 w 1629088"/>
                <a:gd name="connsiteY105" fmla="*/ 1100124 h 1763131"/>
                <a:gd name="connsiteX106" fmla="*/ 705207 w 1629088"/>
                <a:gd name="connsiteY106" fmla="*/ 902665 h 1763131"/>
                <a:gd name="connsiteX107" fmla="*/ 902665 w 1629088"/>
                <a:gd name="connsiteY107" fmla="*/ 705207 h 1763131"/>
                <a:gd name="connsiteX108" fmla="*/ 1100124 w 1629088"/>
                <a:gd name="connsiteY108" fmla="*/ 902665 h 1763131"/>
                <a:gd name="connsiteX109" fmla="*/ 902665 w 1629088"/>
                <a:gd name="connsiteY109" fmla="*/ 1100124 h 1763131"/>
                <a:gd name="connsiteX110" fmla="*/ 902665 w 1629088"/>
                <a:gd name="connsiteY110" fmla="*/ 747520 h 1763131"/>
                <a:gd name="connsiteX111" fmla="*/ 747520 w 1629088"/>
                <a:gd name="connsiteY111" fmla="*/ 902665 h 1763131"/>
                <a:gd name="connsiteX112" fmla="*/ 902665 w 1629088"/>
                <a:gd name="connsiteY112" fmla="*/ 1057811 h 1763131"/>
                <a:gd name="connsiteX113" fmla="*/ 1057811 w 1629088"/>
                <a:gd name="connsiteY113" fmla="*/ 902665 h 1763131"/>
                <a:gd name="connsiteX114" fmla="*/ 902665 w 1629088"/>
                <a:gd name="connsiteY114" fmla="*/ 747520 h 1763131"/>
                <a:gd name="connsiteX115" fmla="*/ 902665 w 1629088"/>
                <a:gd name="connsiteY115" fmla="*/ 1763018 h 1763131"/>
                <a:gd name="connsiteX116" fmla="*/ 218614 w 1629088"/>
                <a:gd name="connsiteY116" fmla="*/ 1491631 h 1763131"/>
                <a:gd name="connsiteX117" fmla="*/ 218614 w 1629088"/>
                <a:gd name="connsiteY117" fmla="*/ 1725407 h 1763131"/>
                <a:gd name="connsiteX118" fmla="*/ 176302 w 1629088"/>
                <a:gd name="connsiteY118" fmla="*/ 1725407 h 1763131"/>
                <a:gd name="connsiteX119" fmla="*/ 176302 w 1629088"/>
                <a:gd name="connsiteY119" fmla="*/ 1410415 h 1763131"/>
                <a:gd name="connsiteX120" fmla="*/ 491294 w 1629088"/>
                <a:gd name="connsiteY120" fmla="*/ 1410415 h 1763131"/>
                <a:gd name="connsiteX121" fmla="*/ 491294 w 1629088"/>
                <a:gd name="connsiteY121" fmla="*/ 1452786 h 1763131"/>
                <a:gd name="connsiteX122" fmla="*/ 241122 w 1629088"/>
                <a:gd name="connsiteY122" fmla="*/ 1452786 h 1763131"/>
                <a:gd name="connsiteX123" fmla="*/ 902665 w 1629088"/>
                <a:gd name="connsiteY123" fmla="*/ 1763018 h 1763131"/>
                <a:gd name="connsiteX124" fmla="*/ 42312 w 1629088"/>
                <a:gd name="connsiteY124" fmla="*/ 902665 h 1763131"/>
                <a:gd name="connsiteX125" fmla="*/ 0 w 1629088"/>
                <a:gd name="connsiteY125" fmla="*/ 902665 h 1763131"/>
                <a:gd name="connsiteX126" fmla="*/ 902665 w 1629088"/>
                <a:gd name="connsiteY126" fmla="*/ 0 h 1763131"/>
                <a:gd name="connsiteX127" fmla="*/ 1586717 w 1629088"/>
                <a:gd name="connsiteY127" fmla="*/ 313641 h 1763131"/>
                <a:gd name="connsiteX128" fmla="*/ 1586717 w 1629088"/>
                <a:gd name="connsiteY128" fmla="*/ 79924 h 1763131"/>
                <a:gd name="connsiteX129" fmla="*/ 1629088 w 1629088"/>
                <a:gd name="connsiteY129" fmla="*/ 79924 h 1763131"/>
                <a:gd name="connsiteX130" fmla="*/ 1629088 w 1629088"/>
                <a:gd name="connsiteY130" fmla="*/ 394916 h 1763131"/>
                <a:gd name="connsiteX131" fmla="*/ 1314036 w 1629088"/>
                <a:gd name="connsiteY131" fmla="*/ 394916 h 1763131"/>
                <a:gd name="connsiteX132" fmla="*/ 1314036 w 1629088"/>
                <a:gd name="connsiteY132" fmla="*/ 352604 h 1763131"/>
                <a:gd name="connsiteX133" fmla="*/ 1564209 w 1629088"/>
                <a:gd name="connsiteY133" fmla="*/ 352604 h 1763131"/>
                <a:gd name="connsiteX134" fmla="*/ 902665 w 1629088"/>
                <a:gd name="connsiteY134" fmla="*/ 42312 h 1763131"/>
                <a:gd name="connsiteX135" fmla="*/ 42312 w 1629088"/>
                <a:gd name="connsiteY135" fmla="*/ 902665 h 1763131"/>
                <a:gd name="connsiteX0" fmla="*/ 983764 w 1629088"/>
                <a:gd name="connsiteY0" fmla="*/ 1335193 h 1725407"/>
                <a:gd name="connsiteX1" fmla="*/ 821567 w 1629088"/>
                <a:gd name="connsiteY1" fmla="*/ 1335193 h 1725407"/>
                <a:gd name="connsiteX2" fmla="*/ 800410 w 1629088"/>
                <a:gd name="connsiteY2" fmla="*/ 1314036 h 1725407"/>
                <a:gd name="connsiteX3" fmla="*/ 800410 w 1629088"/>
                <a:gd name="connsiteY3" fmla="*/ 1221948 h 1725407"/>
                <a:gd name="connsiteX4" fmla="*/ 749342 w 1629088"/>
                <a:gd name="connsiteY4" fmla="*/ 1200616 h 1725407"/>
                <a:gd name="connsiteX5" fmla="*/ 684051 w 1629088"/>
                <a:gd name="connsiteY5" fmla="*/ 1265906 h 1725407"/>
                <a:gd name="connsiteX6" fmla="*/ 669124 w 1629088"/>
                <a:gd name="connsiteY6" fmla="*/ 1272077 h 1725407"/>
                <a:gd name="connsiteX7" fmla="*/ 669124 w 1629088"/>
                <a:gd name="connsiteY7" fmla="*/ 1272077 h 1725407"/>
                <a:gd name="connsiteX8" fmla="*/ 654197 w 1629088"/>
                <a:gd name="connsiteY8" fmla="*/ 1265906 h 1725407"/>
                <a:gd name="connsiteX9" fmla="*/ 539484 w 1629088"/>
                <a:gd name="connsiteY9" fmla="*/ 1151192 h 1725407"/>
                <a:gd name="connsiteX10" fmla="*/ 539484 w 1629088"/>
                <a:gd name="connsiteY10" fmla="*/ 1121221 h 1725407"/>
                <a:gd name="connsiteX11" fmla="*/ 604598 w 1629088"/>
                <a:gd name="connsiteY11" fmla="*/ 1056166 h 1725407"/>
                <a:gd name="connsiteX12" fmla="*/ 583618 w 1629088"/>
                <a:gd name="connsiteY12" fmla="*/ 1004979 h 1725407"/>
                <a:gd name="connsiteX13" fmla="*/ 491294 w 1629088"/>
                <a:gd name="connsiteY13" fmla="*/ 1004979 h 1725407"/>
                <a:gd name="connsiteX14" fmla="*/ 470138 w 1629088"/>
                <a:gd name="connsiteY14" fmla="*/ 983823 h 1725407"/>
                <a:gd name="connsiteX15" fmla="*/ 470138 w 1629088"/>
                <a:gd name="connsiteY15" fmla="*/ 821625 h 1725407"/>
                <a:gd name="connsiteX16" fmla="*/ 491294 w 1629088"/>
                <a:gd name="connsiteY16" fmla="*/ 800469 h 1725407"/>
                <a:gd name="connsiteX17" fmla="*/ 583383 w 1629088"/>
                <a:gd name="connsiteY17" fmla="*/ 800469 h 1725407"/>
                <a:gd name="connsiteX18" fmla="*/ 604715 w 1629088"/>
                <a:gd name="connsiteY18" fmla="*/ 749400 h 1725407"/>
                <a:gd name="connsiteX19" fmla="*/ 539484 w 1629088"/>
                <a:gd name="connsiteY19" fmla="*/ 684051 h 1725407"/>
                <a:gd name="connsiteX20" fmla="*/ 539484 w 1629088"/>
                <a:gd name="connsiteY20" fmla="*/ 654139 h 1725407"/>
                <a:gd name="connsiteX21" fmla="*/ 654139 w 1629088"/>
                <a:gd name="connsiteY21" fmla="*/ 539425 h 1725407"/>
                <a:gd name="connsiteX22" fmla="*/ 684051 w 1629088"/>
                <a:gd name="connsiteY22" fmla="*/ 539425 h 1725407"/>
                <a:gd name="connsiteX23" fmla="*/ 749165 w 1629088"/>
                <a:gd name="connsiteY23" fmla="*/ 604598 h 1725407"/>
                <a:gd name="connsiteX24" fmla="*/ 800410 w 1629088"/>
                <a:gd name="connsiteY24" fmla="*/ 583618 h 1725407"/>
                <a:gd name="connsiteX25" fmla="*/ 800410 w 1629088"/>
                <a:gd name="connsiteY25" fmla="*/ 491294 h 1725407"/>
                <a:gd name="connsiteX26" fmla="*/ 821567 w 1629088"/>
                <a:gd name="connsiteY26" fmla="*/ 470138 h 1725407"/>
                <a:gd name="connsiteX27" fmla="*/ 983764 w 1629088"/>
                <a:gd name="connsiteY27" fmla="*/ 470138 h 1725407"/>
                <a:gd name="connsiteX28" fmla="*/ 1004921 w 1629088"/>
                <a:gd name="connsiteY28" fmla="*/ 491294 h 1725407"/>
                <a:gd name="connsiteX29" fmla="*/ 1004921 w 1629088"/>
                <a:gd name="connsiteY29" fmla="*/ 583383 h 1725407"/>
                <a:gd name="connsiteX30" fmla="*/ 1055931 w 1629088"/>
                <a:gd name="connsiteY30" fmla="*/ 604715 h 1725407"/>
                <a:gd name="connsiteX31" fmla="*/ 1121162 w 1629088"/>
                <a:gd name="connsiteY31" fmla="*/ 539425 h 1725407"/>
                <a:gd name="connsiteX32" fmla="*/ 1151134 w 1629088"/>
                <a:gd name="connsiteY32" fmla="*/ 539425 h 1725407"/>
                <a:gd name="connsiteX33" fmla="*/ 1265847 w 1629088"/>
                <a:gd name="connsiteY33" fmla="*/ 654139 h 1725407"/>
                <a:gd name="connsiteX34" fmla="*/ 1272018 w 1629088"/>
                <a:gd name="connsiteY34" fmla="*/ 669066 h 1725407"/>
                <a:gd name="connsiteX35" fmla="*/ 1265847 w 1629088"/>
                <a:gd name="connsiteY35" fmla="*/ 683992 h 1725407"/>
                <a:gd name="connsiteX36" fmla="*/ 1200674 w 1629088"/>
                <a:gd name="connsiteY36" fmla="*/ 749107 h 1725407"/>
                <a:gd name="connsiteX37" fmla="*/ 1221654 w 1629088"/>
                <a:gd name="connsiteY37" fmla="*/ 800352 h 1725407"/>
                <a:gd name="connsiteX38" fmla="*/ 1314036 w 1629088"/>
                <a:gd name="connsiteY38" fmla="*/ 800352 h 1725407"/>
                <a:gd name="connsiteX39" fmla="*/ 1335193 w 1629088"/>
                <a:gd name="connsiteY39" fmla="*/ 821508 h 1725407"/>
                <a:gd name="connsiteX40" fmla="*/ 1335193 w 1629088"/>
                <a:gd name="connsiteY40" fmla="*/ 983706 h 1725407"/>
                <a:gd name="connsiteX41" fmla="*/ 1314036 w 1629088"/>
                <a:gd name="connsiteY41" fmla="*/ 1004862 h 1725407"/>
                <a:gd name="connsiteX42" fmla="*/ 1221948 w 1629088"/>
                <a:gd name="connsiteY42" fmla="*/ 1004862 h 1725407"/>
                <a:gd name="connsiteX43" fmla="*/ 1200616 w 1629088"/>
                <a:gd name="connsiteY43" fmla="*/ 1055872 h 1725407"/>
                <a:gd name="connsiteX44" fmla="*/ 1265906 w 1629088"/>
                <a:gd name="connsiteY44" fmla="*/ 1121103 h 1725407"/>
                <a:gd name="connsiteX45" fmla="*/ 1272077 w 1629088"/>
                <a:gd name="connsiteY45" fmla="*/ 1136089 h 1725407"/>
                <a:gd name="connsiteX46" fmla="*/ 1265906 w 1629088"/>
                <a:gd name="connsiteY46" fmla="*/ 1151075 h 1725407"/>
                <a:gd name="connsiteX47" fmla="*/ 1151192 w 1629088"/>
                <a:gd name="connsiteY47" fmla="*/ 1265789 h 1725407"/>
                <a:gd name="connsiteX48" fmla="*/ 1136207 w 1629088"/>
                <a:gd name="connsiteY48" fmla="*/ 1271959 h 1725407"/>
                <a:gd name="connsiteX49" fmla="*/ 1136207 w 1629088"/>
                <a:gd name="connsiteY49" fmla="*/ 1271959 h 1725407"/>
                <a:gd name="connsiteX50" fmla="*/ 1121221 w 1629088"/>
                <a:gd name="connsiteY50" fmla="*/ 1265789 h 1725407"/>
                <a:gd name="connsiteX51" fmla="*/ 1056166 w 1629088"/>
                <a:gd name="connsiteY51" fmla="*/ 1200616 h 1725407"/>
                <a:gd name="connsiteX52" fmla="*/ 1004979 w 1629088"/>
                <a:gd name="connsiteY52" fmla="*/ 1221596 h 1725407"/>
                <a:gd name="connsiteX53" fmla="*/ 1004979 w 1629088"/>
                <a:gd name="connsiteY53" fmla="*/ 1314036 h 1725407"/>
                <a:gd name="connsiteX54" fmla="*/ 983764 w 1629088"/>
                <a:gd name="connsiteY54" fmla="*/ 1335193 h 1725407"/>
                <a:gd name="connsiteX55" fmla="*/ 842723 w 1629088"/>
                <a:gd name="connsiteY55" fmla="*/ 1292880 h 1725407"/>
                <a:gd name="connsiteX56" fmla="*/ 962608 w 1629088"/>
                <a:gd name="connsiteY56" fmla="*/ 1292880 h 1725407"/>
                <a:gd name="connsiteX57" fmla="*/ 962608 w 1629088"/>
                <a:gd name="connsiteY57" fmla="*/ 1207550 h 1725407"/>
                <a:gd name="connsiteX58" fmla="*/ 975772 w 1629088"/>
                <a:gd name="connsiteY58" fmla="*/ 1187981 h 1725407"/>
                <a:gd name="connsiteX59" fmla="*/ 1053110 w 1629088"/>
                <a:gd name="connsiteY59" fmla="*/ 1156246 h 1725407"/>
                <a:gd name="connsiteX60" fmla="*/ 1076146 w 1629088"/>
                <a:gd name="connsiteY60" fmla="*/ 1160830 h 1725407"/>
                <a:gd name="connsiteX61" fmla="*/ 1136207 w 1629088"/>
                <a:gd name="connsiteY61" fmla="*/ 1221008 h 1725407"/>
                <a:gd name="connsiteX62" fmla="*/ 1221008 w 1629088"/>
                <a:gd name="connsiteY62" fmla="*/ 1136207 h 1725407"/>
                <a:gd name="connsiteX63" fmla="*/ 1160595 w 1629088"/>
                <a:gd name="connsiteY63" fmla="*/ 1075911 h 1725407"/>
                <a:gd name="connsiteX64" fmla="*/ 1156070 w 1629088"/>
                <a:gd name="connsiteY64" fmla="*/ 1052757 h 1725407"/>
                <a:gd name="connsiteX65" fmla="*/ 1188392 w 1629088"/>
                <a:gd name="connsiteY65" fmla="*/ 975654 h 1725407"/>
                <a:gd name="connsiteX66" fmla="*/ 1207903 w 1629088"/>
                <a:gd name="connsiteY66" fmla="*/ 962608 h 1725407"/>
                <a:gd name="connsiteX67" fmla="*/ 1292880 w 1629088"/>
                <a:gd name="connsiteY67" fmla="*/ 962608 h 1725407"/>
                <a:gd name="connsiteX68" fmla="*/ 1292880 w 1629088"/>
                <a:gd name="connsiteY68" fmla="*/ 842723 h 1725407"/>
                <a:gd name="connsiteX69" fmla="*/ 1207550 w 1629088"/>
                <a:gd name="connsiteY69" fmla="*/ 842723 h 1725407"/>
                <a:gd name="connsiteX70" fmla="*/ 1187981 w 1629088"/>
                <a:gd name="connsiteY70" fmla="*/ 829618 h 1725407"/>
                <a:gd name="connsiteX71" fmla="*/ 1156246 w 1629088"/>
                <a:gd name="connsiteY71" fmla="*/ 752280 h 1725407"/>
                <a:gd name="connsiteX72" fmla="*/ 1160830 w 1629088"/>
                <a:gd name="connsiteY72" fmla="*/ 729302 h 1725407"/>
                <a:gd name="connsiteX73" fmla="*/ 1221008 w 1629088"/>
                <a:gd name="connsiteY73" fmla="*/ 669183 h 1725407"/>
                <a:gd name="connsiteX74" fmla="*/ 1136207 w 1629088"/>
                <a:gd name="connsiteY74" fmla="*/ 584382 h 1725407"/>
                <a:gd name="connsiteX75" fmla="*/ 1075911 w 1629088"/>
                <a:gd name="connsiteY75" fmla="*/ 644736 h 1725407"/>
                <a:gd name="connsiteX76" fmla="*/ 1052757 w 1629088"/>
                <a:gd name="connsiteY76" fmla="*/ 649320 h 1725407"/>
                <a:gd name="connsiteX77" fmla="*/ 975654 w 1629088"/>
                <a:gd name="connsiteY77" fmla="*/ 617057 h 1725407"/>
                <a:gd name="connsiteX78" fmla="*/ 962608 w 1629088"/>
                <a:gd name="connsiteY78" fmla="*/ 597546 h 1725407"/>
                <a:gd name="connsiteX79" fmla="*/ 962608 w 1629088"/>
                <a:gd name="connsiteY79" fmla="*/ 512451 h 1725407"/>
                <a:gd name="connsiteX80" fmla="*/ 842723 w 1629088"/>
                <a:gd name="connsiteY80" fmla="*/ 512451 h 1725407"/>
                <a:gd name="connsiteX81" fmla="*/ 842723 w 1629088"/>
                <a:gd name="connsiteY81" fmla="*/ 597781 h 1725407"/>
                <a:gd name="connsiteX82" fmla="*/ 829618 w 1629088"/>
                <a:gd name="connsiteY82" fmla="*/ 617350 h 1725407"/>
                <a:gd name="connsiteX83" fmla="*/ 752280 w 1629088"/>
                <a:gd name="connsiteY83" fmla="*/ 649085 h 1725407"/>
                <a:gd name="connsiteX84" fmla="*/ 729302 w 1629088"/>
                <a:gd name="connsiteY84" fmla="*/ 644442 h 1725407"/>
                <a:gd name="connsiteX85" fmla="*/ 669183 w 1629088"/>
                <a:gd name="connsiteY85" fmla="*/ 584323 h 1725407"/>
                <a:gd name="connsiteX86" fmla="*/ 584441 w 1629088"/>
                <a:gd name="connsiteY86" fmla="*/ 669124 h 1725407"/>
                <a:gd name="connsiteX87" fmla="*/ 644795 w 1629088"/>
                <a:gd name="connsiteY87" fmla="*/ 729537 h 1725407"/>
                <a:gd name="connsiteX88" fmla="*/ 649320 w 1629088"/>
                <a:gd name="connsiteY88" fmla="*/ 752691 h 1725407"/>
                <a:gd name="connsiteX89" fmla="*/ 617057 w 1629088"/>
                <a:gd name="connsiteY89" fmla="*/ 829794 h 1725407"/>
                <a:gd name="connsiteX90" fmla="*/ 597546 w 1629088"/>
                <a:gd name="connsiteY90" fmla="*/ 842782 h 1725407"/>
                <a:gd name="connsiteX91" fmla="*/ 512451 w 1629088"/>
                <a:gd name="connsiteY91" fmla="*/ 842782 h 1725407"/>
                <a:gd name="connsiteX92" fmla="*/ 512451 w 1629088"/>
                <a:gd name="connsiteY92" fmla="*/ 962667 h 1725407"/>
                <a:gd name="connsiteX93" fmla="*/ 597781 w 1629088"/>
                <a:gd name="connsiteY93" fmla="*/ 962667 h 1725407"/>
                <a:gd name="connsiteX94" fmla="*/ 617350 w 1629088"/>
                <a:gd name="connsiteY94" fmla="*/ 975831 h 1725407"/>
                <a:gd name="connsiteX95" fmla="*/ 649085 w 1629088"/>
                <a:gd name="connsiteY95" fmla="*/ 1053169 h 1725407"/>
                <a:gd name="connsiteX96" fmla="*/ 644442 w 1629088"/>
                <a:gd name="connsiteY96" fmla="*/ 1076205 h 1725407"/>
                <a:gd name="connsiteX97" fmla="*/ 584382 w 1629088"/>
                <a:gd name="connsiteY97" fmla="*/ 1136265 h 1725407"/>
                <a:gd name="connsiteX98" fmla="*/ 669124 w 1629088"/>
                <a:gd name="connsiteY98" fmla="*/ 1221067 h 1725407"/>
                <a:gd name="connsiteX99" fmla="*/ 729537 w 1629088"/>
                <a:gd name="connsiteY99" fmla="*/ 1160654 h 1725407"/>
                <a:gd name="connsiteX100" fmla="*/ 752691 w 1629088"/>
                <a:gd name="connsiteY100" fmla="*/ 1156129 h 1725407"/>
                <a:gd name="connsiteX101" fmla="*/ 829794 w 1629088"/>
                <a:gd name="connsiteY101" fmla="*/ 1188451 h 1725407"/>
                <a:gd name="connsiteX102" fmla="*/ 842782 w 1629088"/>
                <a:gd name="connsiteY102" fmla="*/ 1207962 h 1725407"/>
                <a:gd name="connsiteX103" fmla="*/ 842723 w 1629088"/>
                <a:gd name="connsiteY103" fmla="*/ 1292880 h 1725407"/>
                <a:gd name="connsiteX104" fmla="*/ 842723 w 1629088"/>
                <a:gd name="connsiteY104" fmla="*/ 1292880 h 1725407"/>
                <a:gd name="connsiteX105" fmla="*/ 902665 w 1629088"/>
                <a:gd name="connsiteY105" fmla="*/ 1100124 h 1725407"/>
                <a:gd name="connsiteX106" fmla="*/ 705207 w 1629088"/>
                <a:gd name="connsiteY106" fmla="*/ 902665 h 1725407"/>
                <a:gd name="connsiteX107" fmla="*/ 902665 w 1629088"/>
                <a:gd name="connsiteY107" fmla="*/ 705207 h 1725407"/>
                <a:gd name="connsiteX108" fmla="*/ 1100124 w 1629088"/>
                <a:gd name="connsiteY108" fmla="*/ 902665 h 1725407"/>
                <a:gd name="connsiteX109" fmla="*/ 902665 w 1629088"/>
                <a:gd name="connsiteY109" fmla="*/ 1100124 h 1725407"/>
                <a:gd name="connsiteX110" fmla="*/ 902665 w 1629088"/>
                <a:gd name="connsiteY110" fmla="*/ 747520 h 1725407"/>
                <a:gd name="connsiteX111" fmla="*/ 747520 w 1629088"/>
                <a:gd name="connsiteY111" fmla="*/ 902665 h 1725407"/>
                <a:gd name="connsiteX112" fmla="*/ 902665 w 1629088"/>
                <a:gd name="connsiteY112" fmla="*/ 1057811 h 1725407"/>
                <a:gd name="connsiteX113" fmla="*/ 1057811 w 1629088"/>
                <a:gd name="connsiteY113" fmla="*/ 902665 h 1725407"/>
                <a:gd name="connsiteX114" fmla="*/ 902665 w 1629088"/>
                <a:gd name="connsiteY114" fmla="*/ 747520 h 1725407"/>
                <a:gd name="connsiteX115" fmla="*/ 241122 w 1629088"/>
                <a:gd name="connsiteY115" fmla="*/ 1452786 h 1725407"/>
                <a:gd name="connsiteX116" fmla="*/ 218614 w 1629088"/>
                <a:gd name="connsiteY116" fmla="*/ 1491631 h 1725407"/>
                <a:gd name="connsiteX117" fmla="*/ 218614 w 1629088"/>
                <a:gd name="connsiteY117" fmla="*/ 1725407 h 1725407"/>
                <a:gd name="connsiteX118" fmla="*/ 176302 w 1629088"/>
                <a:gd name="connsiteY118" fmla="*/ 1725407 h 1725407"/>
                <a:gd name="connsiteX119" fmla="*/ 176302 w 1629088"/>
                <a:gd name="connsiteY119" fmla="*/ 1410415 h 1725407"/>
                <a:gd name="connsiteX120" fmla="*/ 491294 w 1629088"/>
                <a:gd name="connsiteY120" fmla="*/ 1410415 h 1725407"/>
                <a:gd name="connsiteX121" fmla="*/ 491294 w 1629088"/>
                <a:gd name="connsiteY121" fmla="*/ 1452786 h 1725407"/>
                <a:gd name="connsiteX122" fmla="*/ 241122 w 1629088"/>
                <a:gd name="connsiteY122" fmla="*/ 1452786 h 1725407"/>
                <a:gd name="connsiteX123" fmla="*/ 42312 w 1629088"/>
                <a:gd name="connsiteY123" fmla="*/ 902665 h 1725407"/>
                <a:gd name="connsiteX124" fmla="*/ 0 w 1629088"/>
                <a:gd name="connsiteY124" fmla="*/ 902665 h 1725407"/>
                <a:gd name="connsiteX125" fmla="*/ 902665 w 1629088"/>
                <a:gd name="connsiteY125" fmla="*/ 0 h 1725407"/>
                <a:gd name="connsiteX126" fmla="*/ 1586717 w 1629088"/>
                <a:gd name="connsiteY126" fmla="*/ 313641 h 1725407"/>
                <a:gd name="connsiteX127" fmla="*/ 1586717 w 1629088"/>
                <a:gd name="connsiteY127" fmla="*/ 79924 h 1725407"/>
                <a:gd name="connsiteX128" fmla="*/ 1629088 w 1629088"/>
                <a:gd name="connsiteY128" fmla="*/ 79924 h 1725407"/>
                <a:gd name="connsiteX129" fmla="*/ 1629088 w 1629088"/>
                <a:gd name="connsiteY129" fmla="*/ 394916 h 1725407"/>
                <a:gd name="connsiteX130" fmla="*/ 1314036 w 1629088"/>
                <a:gd name="connsiteY130" fmla="*/ 394916 h 1725407"/>
                <a:gd name="connsiteX131" fmla="*/ 1314036 w 1629088"/>
                <a:gd name="connsiteY131" fmla="*/ 352604 h 1725407"/>
                <a:gd name="connsiteX132" fmla="*/ 1564209 w 1629088"/>
                <a:gd name="connsiteY132" fmla="*/ 352604 h 1725407"/>
                <a:gd name="connsiteX133" fmla="*/ 902665 w 1629088"/>
                <a:gd name="connsiteY133" fmla="*/ 42312 h 1725407"/>
                <a:gd name="connsiteX134" fmla="*/ 42312 w 1629088"/>
                <a:gd name="connsiteY134" fmla="*/ 902665 h 1725407"/>
                <a:gd name="connsiteX0" fmla="*/ 983764 w 1629088"/>
                <a:gd name="connsiteY0" fmla="*/ 1335193 h 1725407"/>
                <a:gd name="connsiteX1" fmla="*/ 821567 w 1629088"/>
                <a:gd name="connsiteY1" fmla="*/ 1335193 h 1725407"/>
                <a:gd name="connsiteX2" fmla="*/ 800410 w 1629088"/>
                <a:gd name="connsiteY2" fmla="*/ 1314036 h 1725407"/>
                <a:gd name="connsiteX3" fmla="*/ 800410 w 1629088"/>
                <a:gd name="connsiteY3" fmla="*/ 1221948 h 1725407"/>
                <a:gd name="connsiteX4" fmla="*/ 749342 w 1629088"/>
                <a:gd name="connsiteY4" fmla="*/ 1200616 h 1725407"/>
                <a:gd name="connsiteX5" fmla="*/ 684051 w 1629088"/>
                <a:gd name="connsiteY5" fmla="*/ 1265906 h 1725407"/>
                <a:gd name="connsiteX6" fmla="*/ 669124 w 1629088"/>
                <a:gd name="connsiteY6" fmla="*/ 1272077 h 1725407"/>
                <a:gd name="connsiteX7" fmla="*/ 669124 w 1629088"/>
                <a:gd name="connsiteY7" fmla="*/ 1272077 h 1725407"/>
                <a:gd name="connsiteX8" fmla="*/ 654197 w 1629088"/>
                <a:gd name="connsiteY8" fmla="*/ 1265906 h 1725407"/>
                <a:gd name="connsiteX9" fmla="*/ 539484 w 1629088"/>
                <a:gd name="connsiteY9" fmla="*/ 1151192 h 1725407"/>
                <a:gd name="connsiteX10" fmla="*/ 539484 w 1629088"/>
                <a:gd name="connsiteY10" fmla="*/ 1121221 h 1725407"/>
                <a:gd name="connsiteX11" fmla="*/ 604598 w 1629088"/>
                <a:gd name="connsiteY11" fmla="*/ 1056166 h 1725407"/>
                <a:gd name="connsiteX12" fmla="*/ 583618 w 1629088"/>
                <a:gd name="connsiteY12" fmla="*/ 1004979 h 1725407"/>
                <a:gd name="connsiteX13" fmla="*/ 491294 w 1629088"/>
                <a:gd name="connsiteY13" fmla="*/ 1004979 h 1725407"/>
                <a:gd name="connsiteX14" fmla="*/ 470138 w 1629088"/>
                <a:gd name="connsiteY14" fmla="*/ 983823 h 1725407"/>
                <a:gd name="connsiteX15" fmla="*/ 470138 w 1629088"/>
                <a:gd name="connsiteY15" fmla="*/ 821625 h 1725407"/>
                <a:gd name="connsiteX16" fmla="*/ 491294 w 1629088"/>
                <a:gd name="connsiteY16" fmla="*/ 800469 h 1725407"/>
                <a:gd name="connsiteX17" fmla="*/ 583383 w 1629088"/>
                <a:gd name="connsiteY17" fmla="*/ 800469 h 1725407"/>
                <a:gd name="connsiteX18" fmla="*/ 604715 w 1629088"/>
                <a:gd name="connsiteY18" fmla="*/ 749400 h 1725407"/>
                <a:gd name="connsiteX19" fmla="*/ 539484 w 1629088"/>
                <a:gd name="connsiteY19" fmla="*/ 684051 h 1725407"/>
                <a:gd name="connsiteX20" fmla="*/ 539484 w 1629088"/>
                <a:gd name="connsiteY20" fmla="*/ 654139 h 1725407"/>
                <a:gd name="connsiteX21" fmla="*/ 654139 w 1629088"/>
                <a:gd name="connsiteY21" fmla="*/ 539425 h 1725407"/>
                <a:gd name="connsiteX22" fmla="*/ 684051 w 1629088"/>
                <a:gd name="connsiteY22" fmla="*/ 539425 h 1725407"/>
                <a:gd name="connsiteX23" fmla="*/ 749165 w 1629088"/>
                <a:gd name="connsiteY23" fmla="*/ 604598 h 1725407"/>
                <a:gd name="connsiteX24" fmla="*/ 800410 w 1629088"/>
                <a:gd name="connsiteY24" fmla="*/ 583618 h 1725407"/>
                <a:gd name="connsiteX25" fmla="*/ 800410 w 1629088"/>
                <a:gd name="connsiteY25" fmla="*/ 491294 h 1725407"/>
                <a:gd name="connsiteX26" fmla="*/ 821567 w 1629088"/>
                <a:gd name="connsiteY26" fmla="*/ 470138 h 1725407"/>
                <a:gd name="connsiteX27" fmla="*/ 983764 w 1629088"/>
                <a:gd name="connsiteY27" fmla="*/ 470138 h 1725407"/>
                <a:gd name="connsiteX28" fmla="*/ 1004921 w 1629088"/>
                <a:gd name="connsiteY28" fmla="*/ 491294 h 1725407"/>
                <a:gd name="connsiteX29" fmla="*/ 1004921 w 1629088"/>
                <a:gd name="connsiteY29" fmla="*/ 583383 h 1725407"/>
                <a:gd name="connsiteX30" fmla="*/ 1055931 w 1629088"/>
                <a:gd name="connsiteY30" fmla="*/ 604715 h 1725407"/>
                <a:gd name="connsiteX31" fmla="*/ 1121162 w 1629088"/>
                <a:gd name="connsiteY31" fmla="*/ 539425 h 1725407"/>
                <a:gd name="connsiteX32" fmla="*/ 1151134 w 1629088"/>
                <a:gd name="connsiteY32" fmla="*/ 539425 h 1725407"/>
                <a:gd name="connsiteX33" fmla="*/ 1265847 w 1629088"/>
                <a:gd name="connsiteY33" fmla="*/ 654139 h 1725407"/>
                <a:gd name="connsiteX34" fmla="*/ 1272018 w 1629088"/>
                <a:gd name="connsiteY34" fmla="*/ 669066 h 1725407"/>
                <a:gd name="connsiteX35" fmla="*/ 1265847 w 1629088"/>
                <a:gd name="connsiteY35" fmla="*/ 683992 h 1725407"/>
                <a:gd name="connsiteX36" fmla="*/ 1200674 w 1629088"/>
                <a:gd name="connsiteY36" fmla="*/ 749107 h 1725407"/>
                <a:gd name="connsiteX37" fmla="*/ 1221654 w 1629088"/>
                <a:gd name="connsiteY37" fmla="*/ 800352 h 1725407"/>
                <a:gd name="connsiteX38" fmla="*/ 1314036 w 1629088"/>
                <a:gd name="connsiteY38" fmla="*/ 800352 h 1725407"/>
                <a:gd name="connsiteX39" fmla="*/ 1335193 w 1629088"/>
                <a:gd name="connsiteY39" fmla="*/ 821508 h 1725407"/>
                <a:gd name="connsiteX40" fmla="*/ 1335193 w 1629088"/>
                <a:gd name="connsiteY40" fmla="*/ 983706 h 1725407"/>
                <a:gd name="connsiteX41" fmla="*/ 1314036 w 1629088"/>
                <a:gd name="connsiteY41" fmla="*/ 1004862 h 1725407"/>
                <a:gd name="connsiteX42" fmla="*/ 1221948 w 1629088"/>
                <a:gd name="connsiteY42" fmla="*/ 1004862 h 1725407"/>
                <a:gd name="connsiteX43" fmla="*/ 1200616 w 1629088"/>
                <a:gd name="connsiteY43" fmla="*/ 1055872 h 1725407"/>
                <a:gd name="connsiteX44" fmla="*/ 1265906 w 1629088"/>
                <a:gd name="connsiteY44" fmla="*/ 1121103 h 1725407"/>
                <a:gd name="connsiteX45" fmla="*/ 1272077 w 1629088"/>
                <a:gd name="connsiteY45" fmla="*/ 1136089 h 1725407"/>
                <a:gd name="connsiteX46" fmla="*/ 1265906 w 1629088"/>
                <a:gd name="connsiteY46" fmla="*/ 1151075 h 1725407"/>
                <a:gd name="connsiteX47" fmla="*/ 1151192 w 1629088"/>
                <a:gd name="connsiteY47" fmla="*/ 1265789 h 1725407"/>
                <a:gd name="connsiteX48" fmla="*/ 1136207 w 1629088"/>
                <a:gd name="connsiteY48" fmla="*/ 1271959 h 1725407"/>
                <a:gd name="connsiteX49" fmla="*/ 1136207 w 1629088"/>
                <a:gd name="connsiteY49" fmla="*/ 1271959 h 1725407"/>
                <a:gd name="connsiteX50" fmla="*/ 1121221 w 1629088"/>
                <a:gd name="connsiteY50" fmla="*/ 1265789 h 1725407"/>
                <a:gd name="connsiteX51" fmla="*/ 1056166 w 1629088"/>
                <a:gd name="connsiteY51" fmla="*/ 1200616 h 1725407"/>
                <a:gd name="connsiteX52" fmla="*/ 1004979 w 1629088"/>
                <a:gd name="connsiteY52" fmla="*/ 1221596 h 1725407"/>
                <a:gd name="connsiteX53" fmla="*/ 1004979 w 1629088"/>
                <a:gd name="connsiteY53" fmla="*/ 1314036 h 1725407"/>
                <a:gd name="connsiteX54" fmla="*/ 983764 w 1629088"/>
                <a:gd name="connsiteY54" fmla="*/ 1335193 h 1725407"/>
                <a:gd name="connsiteX55" fmla="*/ 842723 w 1629088"/>
                <a:gd name="connsiteY55" fmla="*/ 1292880 h 1725407"/>
                <a:gd name="connsiteX56" fmla="*/ 962608 w 1629088"/>
                <a:gd name="connsiteY56" fmla="*/ 1292880 h 1725407"/>
                <a:gd name="connsiteX57" fmla="*/ 962608 w 1629088"/>
                <a:gd name="connsiteY57" fmla="*/ 1207550 h 1725407"/>
                <a:gd name="connsiteX58" fmla="*/ 975772 w 1629088"/>
                <a:gd name="connsiteY58" fmla="*/ 1187981 h 1725407"/>
                <a:gd name="connsiteX59" fmla="*/ 1053110 w 1629088"/>
                <a:gd name="connsiteY59" fmla="*/ 1156246 h 1725407"/>
                <a:gd name="connsiteX60" fmla="*/ 1076146 w 1629088"/>
                <a:gd name="connsiteY60" fmla="*/ 1160830 h 1725407"/>
                <a:gd name="connsiteX61" fmla="*/ 1136207 w 1629088"/>
                <a:gd name="connsiteY61" fmla="*/ 1221008 h 1725407"/>
                <a:gd name="connsiteX62" fmla="*/ 1221008 w 1629088"/>
                <a:gd name="connsiteY62" fmla="*/ 1136207 h 1725407"/>
                <a:gd name="connsiteX63" fmla="*/ 1160595 w 1629088"/>
                <a:gd name="connsiteY63" fmla="*/ 1075911 h 1725407"/>
                <a:gd name="connsiteX64" fmla="*/ 1156070 w 1629088"/>
                <a:gd name="connsiteY64" fmla="*/ 1052757 h 1725407"/>
                <a:gd name="connsiteX65" fmla="*/ 1188392 w 1629088"/>
                <a:gd name="connsiteY65" fmla="*/ 975654 h 1725407"/>
                <a:gd name="connsiteX66" fmla="*/ 1207903 w 1629088"/>
                <a:gd name="connsiteY66" fmla="*/ 962608 h 1725407"/>
                <a:gd name="connsiteX67" fmla="*/ 1292880 w 1629088"/>
                <a:gd name="connsiteY67" fmla="*/ 962608 h 1725407"/>
                <a:gd name="connsiteX68" fmla="*/ 1292880 w 1629088"/>
                <a:gd name="connsiteY68" fmla="*/ 842723 h 1725407"/>
                <a:gd name="connsiteX69" fmla="*/ 1207550 w 1629088"/>
                <a:gd name="connsiteY69" fmla="*/ 842723 h 1725407"/>
                <a:gd name="connsiteX70" fmla="*/ 1187981 w 1629088"/>
                <a:gd name="connsiteY70" fmla="*/ 829618 h 1725407"/>
                <a:gd name="connsiteX71" fmla="*/ 1156246 w 1629088"/>
                <a:gd name="connsiteY71" fmla="*/ 752280 h 1725407"/>
                <a:gd name="connsiteX72" fmla="*/ 1160830 w 1629088"/>
                <a:gd name="connsiteY72" fmla="*/ 729302 h 1725407"/>
                <a:gd name="connsiteX73" fmla="*/ 1221008 w 1629088"/>
                <a:gd name="connsiteY73" fmla="*/ 669183 h 1725407"/>
                <a:gd name="connsiteX74" fmla="*/ 1136207 w 1629088"/>
                <a:gd name="connsiteY74" fmla="*/ 584382 h 1725407"/>
                <a:gd name="connsiteX75" fmla="*/ 1075911 w 1629088"/>
                <a:gd name="connsiteY75" fmla="*/ 644736 h 1725407"/>
                <a:gd name="connsiteX76" fmla="*/ 1052757 w 1629088"/>
                <a:gd name="connsiteY76" fmla="*/ 649320 h 1725407"/>
                <a:gd name="connsiteX77" fmla="*/ 975654 w 1629088"/>
                <a:gd name="connsiteY77" fmla="*/ 617057 h 1725407"/>
                <a:gd name="connsiteX78" fmla="*/ 962608 w 1629088"/>
                <a:gd name="connsiteY78" fmla="*/ 597546 h 1725407"/>
                <a:gd name="connsiteX79" fmla="*/ 962608 w 1629088"/>
                <a:gd name="connsiteY79" fmla="*/ 512451 h 1725407"/>
                <a:gd name="connsiteX80" fmla="*/ 842723 w 1629088"/>
                <a:gd name="connsiteY80" fmla="*/ 512451 h 1725407"/>
                <a:gd name="connsiteX81" fmla="*/ 842723 w 1629088"/>
                <a:gd name="connsiteY81" fmla="*/ 597781 h 1725407"/>
                <a:gd name="connsiteX82" fmla="*/ 829618 w 1629088"/>
                <a:gd name="connsiteY82" fmla="*/ 617350 h 1725407"/>
                <a:gd name="connsiteX83" fmla="*/ 752280 w 1629088"/>
                <a:gd name="connsiteY83" fmla="*/ 649085 h 1725407"/>
                <a:gd name="connsiteX84" fmla="*/ 729302 w 1629088"/>
                <a:gd name="connsiteY84" fmla="*/ 644442 h 1725407"/>
                <a:gd name="connsiteX85" fmla="*/ 669183 w 1629088"/>
                <a:gd name="connsiteY85" fmla="*/ 584323 h 1725407"/>
                <a:gd name="connsiteX86" fmla="*/ 584441 w 1629088"/>
                <a:gd name="connsiteY86" fmla="*/ 669124 h 1725407"/>
                <a:gd name="connsiteX87" fmla="*/ 644795 w 1629088"/>
                <a:gd name="connsiteY87" fmla="*/ 729537 h 1725407"/>
                <a:gd name="connsiteX88" fmla="*/ 649320 w 1629088"/>
                <a:gd name="connsiteY88" fmla="*/ 752691 h 1725407"/>
                <a:gd name="connsiteX89" fmla="*/ 617057 w 1629088"/>
                <a:gd name="connsiteY89" fmla="*/ 829794 h 1725407"/>
                <a:gd name="connsiteX90" fmla="*/ 597546 w 1629088"/>
                <a:gd name="connsiteY90" fmla="*/ 842782 h 1725407"/>
                <a:gd name="connsiteX91" fmla="*/ 512451 w 1629088"/>
                <a:gd name="connsiteY91" fmla="*/ 842782 h 1725407"/>
                <a:gd name="connsiteX92" fmla="*/ 512451 w 1629088"/>
                <a:gd name="connsiteY92" fmla="*/ 962667 h 1725407"/>
                <a:gd name="connsiteX93" fmla="*/ 597781 w 1629088"/>
                <a:gd name="connsiteY93" fmla="*/ 962667 h 1725407"/>
                <a:gd name="connsiteX94" fmla="*/ 617350 w 1629088"/>
                <a:gd name="connsiteY94" fmla="*/ 975831 h 1725407"/>
                <a:gd name="connsiteX95" fmla="*/ 649085 w 1629088"/>
                <a:gd name="connsiteY95" fmla="*/ 1053169 h 1725407"/>
                <a:gd name="connsiteX96" fmla="*/ 644442 w 1629088"/>
                <a:gd name="connsiteY96" fmla="*/ 1076205 h 1725407"/>
                <a:gd name="connsiteX97" fmla="*/ 584382 w 1629088"/>
                <a:gd name="connsiteY97" fmla="*/ 1136265 h 1725407"/>
                <a:gd name="connsiteX98" fmla="*/ 669124 w 1629088"/>
                <a:gd name="connsiteY98" fmla="*/ 1221067 h 1725407"/>
                <a:gd name="connsiteX99" fmla="*/ 729537 w 1629088"/>
                <a:gd name="connsiteY99" fmla="*/ 1160654 h 1725407"/>
                <a:gd name="connsiteX100" fmla="*/ 752691 w 1629088"/>
                <a:gd name="connsiteY100" fmla="*/ 1156129 h 1725407"/>
                <a:gd name="connsiteX101" fmla="*/ 829794 w 1629088"/>
                <a:gd name="connsiteY101" fmla="*/ 1188451 h 1725407"/>
                <a:gd name="connsiteX102" fmla="*/ 842782 w 1629088"/>
                <a:gd name="connsiteY102" fmla="*/ 1207962 h 1725407"/>
                <a:gd name="connsiteX103" fmla="*/ 842723 w 1629088"/>
                <a:gd name="connsiteY103" fmla="*/ 1292880 h 1725407"/>
                <a:gd name="connsiteX104" fmla="*/ 842723 w 1629088"/>
                <a:gd name="connsiteY104" fmla="*/ 1292880 h 1725407"/>
                <a:gd name="connsiteX105" fmla="*/ 902665 w 1629088"/>
                <a:gd name="connsiteY105" fmla="*/ 1100124 h 1725407"/>
                <a:gd name="connsiteX106" fmla="*/ 705207 w 1629088"/>
                <a:gd name="connsiteY106" fmla="*/ 902665 h 1725407"/>
                <a:gd name="connsiteX107" fmla="*/ 902665 w 1629088"/>
                <a:gd name="connsiteY107" fmla="*/ 705207 h 1725407"/>
                <a:gd name="connsiteX108" fmla="*/ 1100124 w 1629088"/>
                <a:gd name="connsiteY108" fmla="*/ 902665 h 1725407"/>
                <a:gd name="connsiteX109" fmla="*/ 902665 w 1629088"/>
                <a:gd name="connsiteY109" fmla="*/ 1100124 h 1725407"/>
                <a:gd name="connsiteX110" fmla="*/ 902665 w 1629088"/>
                <a:gd name="connsiteY110" fmla="*/ 747520 h 1725407"/>
                <a:gd name="connsiteX111" fmla="*/ 747520 w 1629088"/>
                <a:gd name="connsiteY111" fmla="*/ 902665 h 1725407"/>
                <a:gd name="connsiteX112" fmla="*/ 902665 w 1629088"/>
                <a:gd name="connsiteY112" fmla="*/ 1057811 h 1725407"/>
                <a:gd name="connsiteX113" fmla="*/ 1057811 w 1629088"/>
                <a:gd name="connsiteY113" fmla="*/ 902665 h 1725407"/>
                <a:gd name="connsiteX114" fmla="*/ 902665 w 1629088"/>
                <a:gd name="connsiteY114" fmla="*/ 747520 h 1725407"/>
                <a:gd name="connsiteX115" fmla="*/ 241122 w 1629088"/>
                <a:gd name="connsiteY115" fmla="*/ 1452786 h 1725407"/>
                <a:gd name="connsiteX116" fmla="*/ 218614 w 1629088"/>
                <a:gd name="connsiteY116" fmla="*/ 1725407 h 1725407"/>
                <a:gd name="connsiteX117" fmla="*/ 176302 w 1629088"/>
                <a:gd name="connsiteY117" fmla="*/ 1725407 h 1725407"/>
                <a:gd name="connsiteX118" fmla="*/ 176302 w 1629088"/>
                <a:gd name="connsiteY118" fmla="*/ 1410415 h 1725407"/>
                <a:gd name="connsiteX119" fmla="*/ 491294 w 1629088"/>
                <a:gd name="connsiteY119" fmla="*/ 1410415 h 1725407"/>
                <a:gd name="connsiteX120" fmla="*/ 491294 w 1629088"/>
                <a:gd name="connsiteY120" fmla="*/ 1452786 h 1725407"/>
                <a:gd name="connsiteX121" fmla="*/ 241122 w 1629088"/>
                <a:gd name="connsiteY121" fmla="*/ 1452786 h 1725407"/>
                <a:gd name="connsiteX122" fmla="*/ 42312 w 1629088"/>
                <a:gd name="connsiteY122" fmla="*/ 902665 h 1725407"/>
                <a:gd name="connsiteX123" fmla="*/ 0 w 1629088"/>
                <a:gd name="connsiteY123" fmla="*/ 902665 h 1725407"/>
                <a:gd name="connsiteX124" fmla="*/ 902665 w 1629088"/>
                <a:gd name="connsiteY124" fmla="*/ 0 h 1725407"/>
                <a:gd name="connsiteX125" fmla="*/ 1586717 w 1629088"/>
                <a:gd name="connsiteY125" fmla="*/ 313641 h 1725407"/>
                <a:gd name="connsiteX126" fmla="*/ 1586717 w 1629088"/>
                <a:gd name="connsiteY126" fmla="*/ 79924 h 1725407"/>
                <a:gd name="connsiteX127" fmla="*/ 1629088 w 1629088"/>
                <a:gd name="connsiteY127" fmla="*/ 79924 h 1725407"/>
                <a:gd name="connsiteX128" fmla="*/ 1629088 w 1629088"/>
                <a:gd name="connsiteY128" fmla="*/ 394916 h 1725407"/>
                <a:gd name="connsiteX129" fmla="*/ 1314036 w 1629088"/>
                <a:gd name="connsiteY129" fmla="*/ 394916 h 1725407"/>
                <a:gd name="connsiteX130" fmla="*/ 1314036 w 1629088"/>
                <a:gd name="connsiteY130" fmla="*/ 352604 h 1725407"/>
                <a:gd name="connsiteX131" fmla="*/ 1564209 w 1629088"/>
                <a:gd name="connsiteY131" fmla="*/ 352604 h 1725407"/>
                <a:gd name="connsiteX132" fmla="*/ 902665 w 1629088"/>
                <a:gd name="connsiteY132" fmla="*/ 42312 h 1725407"/>
                <a:gd name="connsiteX133" fmla="*/ 42312 w 1629088"/>
                <a:gd name="connsiteY133" fmla="*/ 902665 h 1725407"/>
                <a:gd name="connsiteX0" fmla="*/ 983764 w 1629088"/>
                <a:gd name="connsiteY0" fmla="*/ 1335193 h 1725407"/>
                <a:gd name="connsiteX1" fmla="*/ 821567 w 1629088"/>
                <a:gd name="connsiteY1" fmla="*/ 1335193 h 1725407"/>
                <a:gd name="connsiteX2" fmla="*/ 800410 w 1629088"/>
                <a:gd name="connsiteY2" fmla="*/ 1314036 h 1725407"/>
                <a:gd name="connsiteX3" fmla="*/ 800410 w 1629088"/>
                <a:gd name="connsiteY3" fmla="*/ 1221948 h 1725407"/>
                <a:gd name="connsiteX4" fmla="*/ 749342 w 1629088"/>
                <a:gd name="connsiteY4" fmla="*/ 1200616 h 1725407"/>
                <a:gd name="connsiteX5" fmla="*/ 684051 w 1629088"/>
                <a:gd name="connsiteY5" fmla="*/ 1265906 h 1725407"/>
                <a:gd name="connsiteX6" fmla="*/ 669124 w 1629088"/>
                <a:gd name="connsiteY6" fmla="*/ 1272077 h 1725407"/>
                <a:gd name="connsiteX7" fmla="*/ 669124 w 1629088"/>
                <a:gd name="connsiteY7" fmla="*/ 1272077 h 1725407"/>
                <a:gd name="connsiteX8" fmla="*/ 654197 w 1629088"/>
                <a:gd name="connsiteY8" fmla="*/ 1265906 h 1725407"/>
                <a:gd name="connsiteX9" fmla="*/ 539484 w 1629088"/>
                <a:gd name="connsiteY9" fmla="*/ 1151192 h 1725407"/>
                <a:gd name="connsiteX10" fmla="*/ 539484 w 1629088"/>
                <a:gd name="connsiteY10" fmla="*/ 1121221 h 1725407"/>
                <a:gd name="connsiteX11" fmla="*/ 604598 w 1629088"/>
                <a:gd name="connsiteY11" fmla="*/ 1056166 h 1725407"/>
                <a:gd name="connsiteX12" fmla="*/ 583618 w 1629088"/>
                <a:gd name="connsiteY12" fmla="*/ 1004979 h 1725407"/>
                <a:gd name="connsiteX13" fmla="*/ 491294 w 1629088"/>
                <a:gd name="connsiteY13" fmla="*/ 1004979 h 1725407"/>
                <a:gd name="connsiteX14" fmla="*/ 470138 w 1629088"/>
                <a:gd name="connsiteY14" fmla="*/ 983823 h 1725407"/>
                <a:gd name="connsiteX15" fmla="*/ 470138 w 1629088"/>
                <a:gd name="connsiteY15" fmla="*/ 821625 h 1725407"/>
                <a:gd name="connsiteX16" fmla="*/ 491294 w 1629088"/>
                <a:gd name="connsiteY16" fmla="*/ 800469 h 1725407"/>
                <a:gd name="connsiteX17" fmla="*/ 583383 w 1629088"/>
                <a:gd name="connsiteY17" fmla="*/ 800469 h 1725407"/>
                <a:gd name="connsiteX18" fmla="*/ 604715 w 1629088"/>
                <a:gd name="connsiteY18" fmla="*/ 749400 h 1725407"/>
                <a:gd name="connsiteX19" fmla="*/ 539484 w 1629088"/>
                <a:gd name="connsiteY19" fmla="*/ 684051 h 1725407"/>
                <a:gd name="connsiteX20" fmla="*/ 539484 w 1629088"/>
                <a:gd name="connsiteY20" fmla="*/ 654139 h 1725407"/>
                <a:gd name="connsiteX21" fmla="*/ 654139 w 1629088"/>
                <a:gd name="connsiteY21" fmla="*/ 539425 h 1725407"/>
                <a:gd name="connsiteX22" fmla="*/ 684051 w 1629088"/>
                <a:gd name="connsiteY22" fmla="*/ 539425 h 1725407"/>
                <a:gd name="connsiteX23" fmla="*/ 749165 w 1629088"/>
                <a:gd name="connsiteY23" fmla="*/ 604598 h 1725407"/>
                <a:gd name="connsiteX24" fmla="*/ 800410 w 1629088"/>
                <a:gd name="connsiteY24" fmla="*/ 583618 h 1725407"/>
                <a:gd name="connsiteX25" fmla="*/ 800410 w 1629088"/>
                <a:gd name="connsiteY25" fmla="*/ 491294 h 1725407"/>
                <a:gd name="connsiteX26" fmla="*/ 821567 w 1629088"/>
                <a:gd name="connsiteY26" fmla="*/ 470138 h 1725407"/>
                <a:gd name="connsiteX27" fmla="*/ 983764 w 1629088"/>
                <a:gd name="connsiteY27" fmla="*/ 470138 h 1725407"/>
                <a:gd name="connsiteX28" fmla="*/ 1004921 w 1629088"/>
                <a:gd name="connsiteY28" fmla="*/ 491294 h 1725407"/>
                <a:gd name="connsiteX29" fmla="*/ 1004921 w 1629088"/>
                <a:gd name="connsiteY29" fmla="*/ 583383 h 1725407"/>
                <a:gd name="connsiteX30" fmla="*/ 1055931 w 1629088"/>
                <a:gd name="connsiteY30" fmla="*/ 604715 h 1725407"/>
                <a:gd name="connsiteX31" fmla="*/ 1121162 w 1629088"/>
                <a:gd name="connsiteY31" fmla="*/ 539425 h 1725407"/>
                <a:gd name="connsiteX32" fmla="*/ 1151134 w 1629088"/>
                <a:gd name="connsiteY32" fmla="*/ 539425 h 1725407"/>
                <a:gd name="connsiteX33" fmla="*/ 1265847 w 1629088"/>
                <a:gd name="connsiteY33" fmla="*/ 654139 h 1725407"/>
                <a:gd name="connsiteX34" fmla="*/ 1272018 w 1629088"/>
                <a:gd name="connsiteY34" fmla="*/ 669066 h 1725407"/>
                <a:gd name="connsiteX35" fmla="*/ 1265847 w 1629088"/>
                <a:gd name="connsiteY35" fmla="*/ 683992 h 1725407"/>
                <a:gd name="connsiteX36" fmla="*/ 1200674 w 1629088"/>
                <a:gd name="connsiteY36" fmla="*/ 749107 h 1725407"/>
                <a:gd name="connsiteX37" fmla="*/ 1221654 w 1629088"/>
                <a:gd name="connsiteY37" fmla="*/ 800352 h 1725407"/>
                <a:gd name="connsiteX38" fmla="*/ 1314036 w 1629088"/>
                <a:gd name="connsiteY38" fmla="*/ 800352 h 1725407"/>
                <a:gd name="connsiteX39" fmla="*/ 1335193 w 1629088"/>
                <a:gd name="connsiteY39" fmla="*/ 821508 h 1725407"/>
                <a:gd name="connsiteX40" fmla="*/ 1335193 w 1629088"/>
                <a:gd name="connsiteY40" fmla="*/ 983706 h 1725407"/>
                <a:gd name="connsiteX41" fmla="*/ 1314036 w 1629088"/>
                <a:gd name="connsiteY41" fmla="*/ 1004862 h 1725407"/>
                <a:gd name="connsiteX42" fmla="*/ 1221948 w 1629088"/>
                <a:gd name="connsiteY42" fmla="*/ 1004862 h 1725407"/>
                <a:gd name="connsiteX43" fmla="*/ 1200616 w 1629088"/>
                <a:gd name="connsiteY43" fmla="*/ 1055872 h 1725407"/>
                <a:gd name="connsiteX44" fmla="*/ 1265906 w 1629088"/>
                <a:gd name="connsiteY44" fmla="*/ 1121103 h 1725407"/>
                <a:gd name="connsiteX45" fmla="*/ 1272077 w 1629088"/>
                <a:gd name="connsiteY45" fmla="*/ 1136089 h 1725407"/>
                <a:gd name="connsiteX46" fmla="*/ 1265906 w 1629088"/>
                <a:gd name="connsiteY46" fmla="*/ 1151075 h 1725407"/>
                <a:gd name="connsiteX47" fmla="*/ 1151192 w 1629088"/>
                <a:gd name="connsiteY47" fmla="*/ 1265789 h 1725407"/>
                <a:gd name="connsiteX48" fmla="*/ 1136207 w 1629088"/>
                <a:gd name="connsiteY48" fmla="*/ 1271959 h 1725407"/>
                <a:gd name="connsiteX49" fmla="*/ 1136207 w 1629088"/>
                <a:gd name="connsiteY49" fmla="*/ 1271959 h 1725407"/>
                <a:gd name="connsiteX50" fmla="*/ 1121221 w 1629088"/>
                <a:gd name="connsiteY50" fmla="*/ 1265789 h 1725407"/>
                <a:gd name="connsiteX51" fmla="*/ 1056166 w 1629088"/>
                <a:gd name="connsiteY51" fmla="*/ 1200616 h 1725407"/>
                <a:gd name="connsiteX52" fmla="*/ 1004979 w 1629088"/>
                <a:gd name="connsiteY52" fmla="*/ 1221596 h 1725407"/>
                <a:gd name="connsiteX53" fmla="*/ 1004979 w 1629088"/>
                <a:gd name="connsiteY53" fmla="*/ 1314036 h 1725407"/>
                <a:gd name="connsiteX54" fmla="*/ 983764 w 1629088"/>
                <a:gd name="connsiteY54" fmla="*/ 1335193 h 1725407"/>
                <a:gd name="connsiteX55" fmla="*/ 842723 w 1629088"/>
                <a:gd name="connsiteY55" fmla="*/ 1292880 h 1725407"/>
                <a:gd name="connsiteX56" fmla="*/ 962608 w 1629088"/>
                <a:gd name="connsiteY56" fmla="*/ 1292880 h 1725407"/>
                <a:gd name="connsiteX57" fmla="*/ 962608 w 1629088"/>
                <a:gd name="connsiteY57" fmla="*/ 1207550 h 1725407"/>
                <a:gd name="connsiteX58" fmla="*/ 975772 w 1629088"/>
                <a:gd name="connsiteY58" fmla="*/ 1187981 h 1725407"/>
                <a:gd name="connsiteX59" fmla="*/ 1053110 w 1629088"/>
                <a:gd name="connsiteY59" fmla="*/ 1156246 h 1725407"/>
                <a:gd name="connsiteX60" fmla="*/ 1076146 w 1629088"/>
                <a:gd name="connsiteY60" fmla="*/ 1160830 h 1725407"/>
                <a:gd name="connsiteX61" fmla="*/ 1136207 w 1629088"/>
                <a:gd name="connsiteY61" fmla="*/ 1221008 h 1725407"/>
                <a:gd name="connsiteX62" fmla="*/ 1221008 w 1629088"/>
                <a:gd name="connsiteY62" fmla="*/ 1136207 h 1725407"/>
                <a:gd name="connsiteX63" fmla="*/ 1160595 w 1629088"/>
                <a:gd name="connsiteY63" fmla="*/ 1075911 h 1725407"/>
                <a:gd name="connsiteX64" fmla="*/ 1156070 w 1629088"/>
                <a:gd name="connsiteY64" fmla="*/ 1052757 h 1725407"/>
                <a:gd name="connsiteX65" fmla="*/ 1188392 w 1629088"/>
                <a:gd name="connsiteY65" fmla="*/ 975654 h 1725407"/>
                <a:gd name="connsiteX66" fmla="*/ 1207903 w 1629088"/>
                <a:gd name="connsiteY66" fmla="*/ 962608 h 1725407"/>
                <a:gd name="connsiteX67" fmla="*/ 1292880 w 1629088"/>
                <a:gd name="connsiteY67" fmla="*/ 962608 h 1725407"/>
                <a:gd name="connsiteX68" fmla="*/ 1292880 w 1629088"/>
                <a:gd name="connsiteY68" fmla="*/ 842723 h 1725407"/>
                <a:gd name="connsiteX69" fmla="*/ 1207550 w 1629088"/>
                <a:gd name="connsiteY69" fmla="*/ 842723 h 1725407"/>
                <a:gd name="connsiteX70" fmla="*/ 1187981 w 1629088"/>
                <a:gd name="connsiteY70" fmla="*/ 829618 h 1725407"/>
                <a:gd name="connsiteX71" fmla="*/ 1156246 w 1629088"/>
                <a:gd name="connsiteY71" fmla="*/ 752280 h 1725407"/>
                <a:gd name="connsiteX72" fmla="*/ 1160830 w 1629088"/>
                <a:gd name="connsiteY72" fmla="*/ 729302 h 1725407"/>
                <a:gd name="connsiteX73" fmla="*/ 1221008 w 1629088"/>
                <a:gd name="connsiteY73" fmla="*/ 669183 h 1725407"/>
                <a:gd name="connsiteX74" fmla="*/ 1136207 w 1629088"/>
                <a:gd name="connsiteY74" fmla="*/ 584382 h 1725407"/>
                <a:gd name="connsiteX75" fmla="*/ 1075911 w 1629088"/>
                <a:gd name="connsiteY75" fmla="*/ 644736 h 1725407"/>
                <a:gd name="connsiteX76" fmla="*/ 1052757 w 1629088"/>
                <a:gd name="connsiteY76" fmla="*/ 649320 h 1725407"/>
                <a:gd name="connsiteX77" fmla="*/ 975654 w 1629088"/>
                <a:gd name="connsiteY77" fmla="*/ 617057 h 1725407"/>
                <a:gd name="connsiteX78" fmla="*/ 962608 w 1629088"/>
                <a:gd name="connsiteY78" fmla="*/ 597546 h 1725407"/>
                <a:gd name="connsiteX79" fmla="*/ 962608 w 1629088"/>
                <a:gd name="connsiteY79" fmla="*/ 512451 h 1725407"/>
                <a:gd name="connsiteX80" fmla="*/ 842723 w 1629088"/>
                <a:gd name="connsiteY80" fmla="*/ 512451 h 1725407"/>
                <a:gd name="connsiteX81" fmla="*/ 842723 w 1629088"/>
                <a:gd name="connsiteY81" fmla="*/ 597781 h 1725407"/>
                <a:gd name="connsiteX82" fmla="*/ 829618 w 1629088"/>
                <a:gd name="connsiteY82" fmla="*/ 617350 h 1725407"/>
                <a:gd name="connsiteX83" fmla="*/ 752280 w 1629088"/>
                <a:gd name="connsiteY83" fmla="*/ 649085 h 1725407"/>
                <a:gd name="connsiteX84" fmla="*/ 729302 w 1629088"/>
                <a:gd name="connsiteY84" fmla="*/ 644442 h 1725407"/>
                <a:gd name="connsiteX85" fmla="*/ 669183 w 1629088"/>
                <a:gd name="connsiteY85" fmla="*/ 584323 h 1725407"/>
                <a:gd name="connsiteX86" fmla="*/ 584441 w 1629088"/>
                <a:gd name="connsiteY86" fmla="*/ 669124 h 1725407"/>
                <a:gd name="connsiteX87" fmla="*/ 644795 w 1629088"/>
                <a:gd name="connsiteY87" fmla="*/ 729537 h 1725407"/>
                <a:gd name="connsiteX88" fmla="*/ 649320 w 1629088"/>
                <a:gd name="connsiteY88" fmla="*/ 752691 h 1725407"/>
                <a:gd name="connsiteX89" fmla="*/ 617057 w 1629088"/>
                <a:gd name="connsiteY89" fmla="*/ 829794 h 1725407"/>
                <a:gd name="connsiteX90" fmla="*/ 597546 w 1629088"/>
                <a:gd name="connsiteY90" fmla="*/ 842782 h 1725407"/>
                <a:gd name="connsiteX91" fmla="*/ 512451 w 1629088"/>
                <a:gd name="connsiteY91" fmla="*/ 842782 h 1725407"/>
                <a:gd name="connsiteX92" fmla="*/ 512451 w 1629088"/>
                <a:gd name="connsiteY92" fmla="*/ 962667 h 1725407"/>
                <a:gd name="connsiteX93" fmla="*/ 597781 w 1629088"/>
                <a:gd name="connsiteY93" fmla="*/ 962667 h 1725407"/>
                <a:gd name="connsiteX94" fmla="*/ 617350 w 1629088"/>
                <a:gd name="connsiteY94" fmla="*/ 975831 h 1725407"/>
                <a:gd name="connsiteX95" fmla="*/ 649085 w 1629088"/>
                <a:gd name="connsiteY95" fmla="*/ 1053169 h 1725407"/>
                <a:gd name="connsiteX96" fmla="*/ 644442 w 1629088"/>
                <a:gd name="connsiteY96" fmla="*/ 1076205 h 1725407"/>
                <a:gd name="connsiteX97" fmla="*/ 584382 w 1629088"/>
                <a:gd name="connsiteY97" fmla="*/ 1136265 h 1725407"/>
                <a:gd name="connsiteX98" fmla="*/ 669124 w 1629088"/>
                <a:gd name="connsiteY98" fmla="*/ 1221067 h 1725407"/>
                <a:gd name="connsiteX99" fmla="*/ 729537 w 1629088"/>
                <a:gd name="connsiteY99" fmla="*/ 1160654 h 1725407"/>
                <a:gd name="connsiteX100" fmla="*/ 752691 w 1629088"/>
                <a:gd name="connsiteY100" fmla="*/ 1156129 h 1725407"/>
                <a:gd name="connsiteX101" fmla="*/ 829794 w 1629088"/>
                <a:gd name="connsiteY101" fmla="*/ 1188451 h 1725407"/>
                <a:gd name="connsiteX102" fmla="*/ 842782 w 1629088"/>
                <a:gd name="connsiteY102" fmla="*/ 1207962 h 1725407"/>
                <a:gd name="connsiteX103" fmla="*/ 842723 w 1629088"/>
                <a:gd name="connsiteY103" fmla="*/ 1292880 h 1725407"/>
                <a:gd name="connsiteX104" fmla="*/ 842723 w 1629088"/>
                <a:gd name="connsiteY104" fmla="*/ 1292880 h 1725407"/>
                <a:gd name="connsiteX105" fmla="*/ 902665 w 1629088"/>
                <a:gd name="connsiteY105" fmla="*/ 1100124 h 1725407"/>
                <a:gd name="connsiteX106" fmla="*/ 705207 w 1629088"/>
                <a:gd name="connsiteY106" fmla="*/ 902665 h 1725407"/>
                <a:gd name="connsiteX107" fmla="*/ 902665 w 1629088"/>
                <a:gd name="connsiteY107" fmla="*/ 705207 h 1725407"/>
                <a:gd name="connsiteX108" fmla="*/ 1100124 w 1629088"/>
                <a:gd name="connsiteY108" fmla="*/ 902665 h 1725407"/>
                <a:gd name="connsiteX109" fmla="*/ 902665 w 1629088"/>
                <a:gd name="connsiteY109" fmla="*/ 1100124 h 1725407"/>
                <a:gd name="connsiteX110" fmla="*/ 902665 w 1629088"/>
                <a:gd name="connsiteY110" fmla="*/ 747520 h 1725407"/>
                <a:gd name="connsiteX111" fmla="*/ 747520 w 1629088"/>
                <a:gd name="connsiteY111" fmla="*/ 902665 h 1725407"/>
                <a:gd name="connsiteX112" fmla="*/ 902665 w 1629088"/>
                <a:gd name="connsiteY112" fmla="*/ 1057811 h 1725407"/>
                <a:gd name="connsiteX113" fmla="*/ 1057811 w 1629088"/>
                <a:gd name="connsiteY113" fmla="*/ 902665 h 1725407"/>
                <a:gd name="connsiteX114" fmla="*/ 902665 w 1629088"/>
                <a:gd name="connsiteY114" fmla="*/ 747520 h 1725407"/>
                <a:gd name="connsiteX115" fmla="*/ 491294 w 1629088"/>
                <a:gd name="connsiteY115" fmla="*/ 1452786 h 1725407"/>
                <a:gd name="connsiteX116" fmla="*/ 218614 w 1629088"/>
                <a:gd name="connsiteY116" fmla="*/ 1725407 h 1725407"/>
                <a:gd name="connsiteX117" fmla="*/ 176302 w 1629088"/>
                <a:gd name="connsiteY117" fmla="*/ 1725407 h 1725407"/>
                <a:gd name="connsiteX118" fmla="*/ 176302 w 1629088"/>
                <a:gd name="connsiteY118" fmla="*/ 1410415 h 1725407"/>
                <a:gd name="connsiteX119" fmla="*/ 491294 w 1629088"/>
                <a:gd name="connsiteY119" fmla="*/ 1410415 h 1725407"/>
                <a:gd name="connsiteX120" fmla="*/ 491294 w 1629088"/>
                <a:gd name="connsiteY120" fmla="*/ 1452786 h 1725407"/>
                <a:gd name="connsiteX121" fmla="*/ 42312 w 1629088"/>
                <a:gd name="connsiteY121" fmla="*/ 902665 h 1725407"/>
                <a:gd name="connsiteX122" fmla="*/ 0 w 1629088"/>
                <a:gd name="connsiteY122" fmla="*/ 902665 h 1725407"/>
                <a:gd name="connsiteX123" fmla="*/ 902665 w 1629088"/>
                <a:gd name="connsiteY123" fmla="*/ 0 h 1725407"/>
                <a:gd name="connsiteX124" fmla="*/ 1586717 w 1629088"/>
                <a:gd name="connsiteY124" fmla="*/ 313641 h 1725407"/>
                <a:gd name="connsiteX125" fmla="*/ 1586717 w 1629088"/>
                <a:gd name="connsiteY125" fmla="*/ 79924 h 1725407"/>
                <a:gd name="connsiteX126" fmla="*/ 1629088 w 1629088"/>
                <a:gd name="connsiteY126" fmla="*/ 79924 h 1725407"/>
                <a:gd name="connsiteX127" fmla="*/ 1629088 w 1629088"/>
                <a:gd name="connsiteY127" fmla="*/ 394916 h 1725407"/>
                <a:gd name="connsiteX128" fmla="*/ 1314036 w 1629088"/>
                <a:gd name="connsiteY128" fmla="*/ 394916 h 1725407"/>
                <a:gd name="connsiteX129" fmla="*/ 1314036 w 1629088"/>
                <a:gd name="connsiteY129" fmla="*/ 352604 h 1725407"/>
                <a:gd name="connsiteX130" fmla="*/ 1564209 w 1629088"/>
                <a:gd name="connsiteY130" fmla="*/ 352604 h 1725407"/>
                <a:gd name="connsiteX131" fmla="*/ 902665 w 1629088"/>
                <a:gd name="connsiteY131" fmla="*/ 42312 h 1725407"/>
                <a:gd name="connsiteX132" fmla="*/ 42312 w 1629088"/>
                <a:gd name="connsiteY132" fmla="*/ 902665 h 1725407"/>
                <a:gd name="connsiteX0" fmla="*/ 983764 w 1629088"/>
                <a:gd name="connsiteY0" fmla="*/ 1335193 h 1725407"/>
                <a:gd name="connsiteX1" fmla="*/ 821567 w 1629088"/>
                <a:gd name="connsiteY1" fmla="*/ 1335193 h 1725407"/>
                <a:gd name="connsiteX2" fmla="*/ 800410 w 1629088"/>
                <a:gd name="connsiteY2" fmla="*/ 1314036 h 1725407"/>
                <a:gd name="connsiteX3" fmla="*/ 800410 w 1629088"/>
                <a:gd name="connsiteY3" fmla="*/ 1221948 h 1725407"/>
                <a:gd name="connsiteX4" fmla="*/ 749342 w 1629088"/>
                <a:gd name="connsiteY4" fmla="*/ 1200616 h 1725407"/>
                <a:gd name="connsiteX5" fmla="*/ 684051 w 1629088"/>
                <a:gd name="connsiteY5" fmla="*/ 1265906 h 1725407"/>
                <a:gd name="connsiteX6" fmla="*/ 669124 w 1629088"/>
                <a:gd name="connsiteY6" fmla="*/ 1272077 h 1725407"/>
                <a:gd name="connsiteX7" fmla="*/ 669124 w 1629088"/>
                <a:gd name="connsiteY7" fmla="*/ 1272077 h 1725407"/>
                <a:gd name="connsiteX8" fmla="*/ 654197 w 1629088"/>
                <a:gd name="connsiteY8" fmla="*/ 1265906 h 1725407"/>
                <a:gd name="connsiteX9" fmla="*/ 539484 w 1629088"/>
                <a:gd name="connsiteY9" fmla="*/ 1151192 h 1725407"/>
                <a:gd name="connsiteX10" fmla="*/ 539484 w 1629088"/>
                <a:gd name="connsiteY10" fmla="*/ 1121221 h 1725407"/>
                <a:gd name="connsiteX11" fmla="*/ 604598 w 1629088"/>
                <a:gd name="connsiteY11" fmla="*/ 1056166 h 1725407"/>
                <a:gd name="connsiteX12" fmla="*/ 583618 w 1629088"/>
                <a:gd name="connsiteY12" fmla="*/ 1004979 h 1725407"/>
                <a:gd name="connsiteX13" fmla="*/ 491294 w 1629088"/>
                <a:gd name="connsiteY13" fmla="*/ 1004979 h 1725407"/>
                <a:gd name="connsiteX14" fmla="*/ 470138 w 1629088"/>
                <a:gd name="connsiteY14" fmla="*/ 983823 h 1725407"/>
                <a:gd name="connsiteX15" fmla="*/ 470138 w 1629088"/>
                <a:gd name="connsiteY15" fmla="*/ 821625 h 1725407"/>
                <a:gd name="connsiteX16" fmla="*/ 491294 w 1629088"/>
                <a:gd name="connsiteY16" fmla="*/ 800469 h 1725407"/>
                <a:gd name="connsiteX17" fmla="*/ 583383 w 1629088"/>
                <a:gd name="connsiteY17" fmla="*/ 800469 h 1725407"/>
                <a:gd name="connsiteX18" fmla="*/ 604715 w 1629088"/>
                <a:gd name="connsiteY18" fmla="*/ 749400 h 1725407"/>
                <a:gd name="connsiteX19" fmla="*/ 539484 w 1629088"/>
                <a:gd name="connsiteY19" fmla="*/ 684051 h 1725407"/>
                <a:gd name="connsiteX20" fmla="*/ 539484 w 1629088"/>
                <a:gd name="connsiteY20" fmla="*/ 654139 h 1725407"/>
                <a:gd name="connsiteX21" fmla="*/ 654139 w 1629088"/>
                <a:gd name="connsiteY21" fmla="*/ 539425 h 1725407"/>
                <a:gd name="connsiteX22" fmla="*/ 684051 w 1629088"/>
                <a:gd name="connsiteY22" fmla="*/ 539425 h 1725407"/>
                <a:gd name="connsiteX23" fmla="*/ 749165 w 1629088"/>
                <a:gd name="connsiteY23" fmla="*/ 604598 h 1725407"/>
                <a:gd name="connsiteX24" fmla="*/ 800410 w 1629088"/>
                <a:gd name="connsiteY24" fmla="*/ 583618 h 1725407"/>
                <a:gd name="connsiteX25" fmla="*/ 800410 w 1629088"/>
                <a:gd name="connsiteY25" fmla="*/ 491294 h 1725407"/>
                <a:gd name="connsiteX26" fmla="*/ 821567 w 1629088"/>
                <a:gd name="connsiteY26" fmla="*/ 470138 h 1725407"/>
                <a:gd name="connsiteX27" fmla="*/ 983764 w 1629088"/>
                <a:gd name="connsiteY27" fmla="*/ 470138 h 1725407"/>
                <a:gd name="connsiteX28" fmla="*/ 1004921 w 1629088"/>
                <a:gd name="connsiteY28" fmla="*/ 491294 h 1725407"/>
                <a:gd name="connsiteX29" fmla="*/ 1004921 w 1629088"/>
                <a:gd name="connsiteY29" fmla="*/ 583383 h 1725407"/>
                <a:gd name="connsiteX30" fmla="*/ 1055931 w 1629088"/>
                <a:gd name="connsiteY30" fmla="*/ 604715 h 1725407"/>
                <a:gd name="connsiteX31" fmla="*/ 1121162 w 1629088"/>
                <a:gd name="connsiteY31" fmla="*/ 539425 h 1725407"/>
                <a:gd name="connsiteX32" fmla="*/ 1151134 w 1629088"/>
                <a:gd name="connsiteY32" fmla="*/ 539425 h 1725407"/>
                <a:gd name="connsiteX33" fmla="*/ 1265847 w 1629088"/>
                <a:gd name="connsiteY33" fmla="*/ 654139 h 1725407"/>
                <a:gd name="connsiteX34" fmla="*/ 1272018 w 1629088"/>
                <a:gd name="connsiteY34" fmla="*/ 669066 h 1725407"/>
                <a:gd name="connsiteX35" fmla="*/ 1265847 w 1629088"/>
                <a:gd name="connsiteY35" fmla="*/ 683992 h 1725407"/>
                <a:gd name="connsiteX36" fmla="*/ 1200674 w 1629088"/>
                <a:gd name="connsiteY36" fmla="*/ 749107 h 1725407"/>
                <a:gd name="connsiteX37" fmla="*/ 1221654 w 1629088"/>
                <a:gd name="connsiteY37" fmla="*/ 800352 h 1725407"/>
                <a:gd name="connsiteX38" fmla="*/ 1314036 w 1629088"/>
                <a:gd name="connsiteY38" fmla="*/ 800352 h 1725407"/>
                <a:gd name="connsiteX39" fmla="*/ 1335193 w 1629088"/>
                <a:gd name="connsiteY39" fmla="*/ 821508 h 1725407"/>
                <a:gd name="connsiteX40" fmla="*/ 1335193 w 1629088"/>
                <a:gd name="connsiteY40" fmla="*/ 983706 h 1725407"/>
                <a:gd name="connsiteX41" fmla="*/ 1314036 w 1629088"/>
                <a:gd name="connsiteY41" fmla="*/ 1004862 h 1725407"/>
                <a:gd name="connsiteX42" fmla="*/ 1221948 w 1629088"/>
                <a:gd name="connsiteY42" fmla="*/ 1004862 h 1725407"/>
                <a:gd name="connsiteX43" fmla="*/ 1200616 w 1629088"/>
                <a:gd name="connsiteY43" fmla="*/ 1055872 h 1725407"/>
                <a:gd name="connsiteX44" fmla="*/ 1265906 w 1629088"/>
                <a:gd name="connsiteY44" fmla="*/ 1121103 h 1725407"/>
                <a:gd name="connsiteX45" fmla="*/ 1272077 w 1629088"/>
                <a:gd name="connsiteY45" fmla="*/ 1136089 h 1725407"/>
                <a:gd name="connsiteX46" fmla="*/ 1265906 w 1629088"/>
                <a:gd name="connsiteY46" fmla="*/ 1151075 h 1725407"/>
                <a:gd name="connsiteX47" fmla="*/ 1151192 w 1629088"/>
                <a:gd name="connsiteY47" fmla="*/ 1265789 h 1725407"/>
                <a:gd name="connsiteX48" fmla="*/ 1136207 w 1629088"/>
                <a:gd name="connsiteY48" fmla="*/ 1271959 h 1725407"/>
                <a:gd name="connsiteX49" fmla="*/ 1136207 w 1629088"/>
                <a:gd name="connsiteY49" fmla="*/ 1271959 h 1725407"/>
                <a:gd name="connsiteX50" fmla="*/ 1121221 w 1629088"/>
                <a:gd name="connsiteY50" fmla="*/ 1265789 h 1725407"/>
                <a:gd name="connsiteX51" fmla="*/ 1056166 w 1629088"/>
                <a:gd name="connsiteY51" fmla="*/ 1200616 h 1725407"/>
                <a:gd name="connsiteX52" fmla="*/ 1004979 w 1629088"/>
                <a:gd name="connsiteY52" fmla="*/ 1221596 h 1725407"/>
                <a:gd name="connsiteX53" fmla="*/ 1004979 w 1629088"/>
                <a:gd name="connsiteY53" fmla="*/ 1314036 h 1725407"/>
                <a:gd name="connsiteX54" fmla="*/ 983764 w 1629088"/>
                <a:gd name="connsiteY54" fmla="*/ 1335193 h 1725407"/>
                <a:gd name="connsiteX55" fmla="*/ 842723 w 1629088"/>
                <a:gd name="connsiteY55" fmla="*/ 1292880 h 1725407"/>
                <a:gd name="connsiteX56" fmla="*/ 962608 w 1629088"/>
                <a:gd name="connsiteY56" fmla="*/ 1292880 h 1725407"/>
                <a:gd name="connsiteX57" fmla="*/ 962608 w 1629088"/>
                <a:gd name="connsiteY57" fmla="*/ 1207550 h 1725407"/>
                <a:gd name="connsiteX58" fmla="*/ 975772 w 1629088"/>
                <a:gd name="connsiteY58" fmla="*/ 1187981 h 1725407"/>
                <a:gd name="connsiteX59" fmla="*/ 1053110 w 1629088"/>
                <a:gd name="connsiteY59" fmla="*/ 1156246 h 1725407"/>
                <a:gd name="connsiteX60" fmla="*/ 1076146 w 1629088"/>
                <a:gd name="connsiteY60" fmla="*/ 1160830 h 1725407"/>
                <a:gd name="connsiteX61" fmla="*/ 1136207 w 1629088"/>
                <a:gd name="connsiteY61" fmla="*/ 1221008 h 1725407"/>
                <a:gd name="connsiteX62" fmla="*/ 1221008 w 1629088"/>
                <a:gd name="connsiteY62" fmla="*/ 1136207 h 1725407"/>
                <a:gd name="connsiteX63" fmla="*/ 1160595 w 1629088"/>
                <a:gd name="connsiteY63" fmla="*/ 1075911 h 1725407"/>
                <a:gd name="connsiteX64" fmla="*/ 1156070 w 1629088"/>
                <a:gd name="connsiteY64" fmla="*/ 1052757 h 1725407"/>
                <a:gd name="connsiteX65" fmla="*/ 1188392 w 1629088"/>
                <a:gd name="connsiteY65" fmla="*/ 975654 h 1725407"/>
                <a:gd name="connsiteX66" fmla="*/ 1207903 w 1629088"/>
                <a:gd name="connsiteY66" fmla="*/ 962608 h 1725407"/>
                <a:gd name="connsiteX67" fmla="*/ 1292880 w 1629088"/>
                <a:gd name="connsiteY67" fmla="*/ 962608 h 1725407"/>
                <a:gd name="connsiteX68" fmla="*/ 1292880 w 1629088"/>
                <a:gd name="connsiteY68" fmla="*/ 842723 h 1725407"/>
                <a:gd name="connsiteX69" fmla="*/ 1207550 w 1629088"/>
                <a:gd name="connsiteY69" fmla="*/ 842723 h 1725407"/>
                <a:gd name="connsiteX70" fmla="*/ 1187981 w 1629088"/>
                <a:gd name="connsiteY70" fmla="*/ 829618 h 1725407"/>
                <a:gd name="connsiteX71" fmla="*/ 1156246 w 1629088"/>
                <a:gd name="connsiteY71" fmla="*/ 752280 h 1725407"/>
                <a:gd name="connsiteX72" fmla="*/ 1160830 w 1629088"/>
                <a:gd name="connsiteY72" fmla="*/ 729302 h 1725407"/>
                <a:gd name="connsiteX73" fmla="*/ 1221008 w 1629088"/>
                <a:gd name="connsiteY73" fmla="*/ 669183 h 1725407"/>
                <a:gd name="connsiteX74" fmla="*/ 1136207 w 1629088"/>
                <a:gd name="connsiteY74" fmla="*/ 584382 h 1725407"/>
                <a:gd name="connsiteX75" fmla="*/ 1075911 w 1629088"/>
                <a:gd name="connsiteY75" fmla="*/ 644736 h 1725407"/>
                <a:gd name="connsiteX76" fmla="*/ 1052757 w 1629088"/>
                <a:gd name="connsiteY76" fmla="*/ 649320 h 1725407"/>
                <a:gd name="connsiteX77" fmla="*/ 975654 w 1629088"/>
                <a:gd name="connsiteY77" fmla="*/ 617057 h 1725407"/>
                <a:gd name="connsiteX78" fmla="*/ 962608 w 1629088"/>
                <a:gd name="connsiteY78" fmla="*/ 597546 h 1725407"/>
                <a:gd name="connsiteX79" fmla="*/ 962608 w 1629088"/>
                <a:gd name="connsiteY79" fmla="*/ 512451 h 1725407"/>
                <a:gd name="connsiteX80" fmla="*/ 842723 w 1629088"/>
                <a:gd name="connsiteY80" fmla="*/ 512451 h 1725407"/>
                <a:gd name="connsiteX81" fmla="*/ 842723 w 1629088"/>
                <a:gd name="connsiteY81" fmla="*/ 597781 h 1725407"/>
                <a:gd name="connsiteX82" fmla="*/ 829618 w 1629088"/>
                <a:gd name="connsiteY82" fmla="*/ 617350 h 1725407"/>
                <a:gd name="connsiteX83" fmla="*/ 752280 w 1629088"/>
                <a:gd name="connsiteY83" fmla="*/ 649085 h 1725407"/>
                <a:gd name="connsiteX84" fmla="*/ 729302 w 1629088"/>
                <a:gd name="connsiteY84" fmla="*/ 644442 h 1725407"/>
                <a:gd name="connsiteX85" fmla="*/ 669183 w 1629088"/>
                <a:gd name="connsiteY85" fmla="*/ 584323 h 1725407"/>
                <a:gd name="connsiteX86" fmla="*/ 584441 w 1629088"/>
                <a:gd name="connsiteY86" fmla="*/ 669124 h 1725407"/>
                <a:gd name="connsiteX87" fmla="*/ 644795 w 1629088"/>
                <a:gd name="connsiteY87" fmla="*/ 729537 h 1725407"/>
                <a:gd name="connsiteX88" fmla="*/ 649320 w 1629088"/>
                <a:gd name="connsiteY88" fmla="*/ 752691 h 1725407"/>
                <a:gd name="connsiteX89" fmla="*/ 617057 w 1629088"/>
                <a:gd name="connsiteY89" fmla="*/ 829794 h 1725407"/>
                <a:gd name="connsiteX90" fmla="*/ 597546 w 1629088"/>
                <a:gd name="connsiteY90" fmla="*/ 842782 h 1725407"/>
                <a:gd name="connsiteX91" fmla="*/ 512451 w 1629088"/>
                <a:gd name="connsiteY91" fmla="*/ 842782 h 1725407"/>
                <a:gd name="connsiteX92" fmla="*/ 512451 w 1629088"/>
                <a:gd name="connsiteY92" fmla="*/ 962667 h 1725407"/>
                <a:gd name="connsiteX93" fmla="*/ 597781 w 1629088"/>
                <a:gd name="connsiteY93" fmla="*/ 962667 h 1725407"/>
                <a:gd name="connsiteX94" fmla="*/ 617350 w 1629088"/>
                <a:gd name="connsiteY94" fmla="*/ 975831 h 1725407"/>
                <a:gd name="connsiteX95" fmla="*/ 649085 w 1629088"/>
                <a:gd name="connsiteY95" fmla="*/ 1053169 h 1725407"/>
                <a:gd name="connsiteX96" fmla="*/ 644442 w 1629088"/>
                <a:gd name="connsiteY96" fmla="*/ 1076205 h 1725407"/>
                <a:gd name="connsiteX97" fmla="*/ 584382 w 1629088"/>
                <a:gd name="connsiteY97" fmla="*/ 1136265 h 1725407"/>
                <a:gd name="connsiteX98" fmla="*/ 669124 w 1629088"/>
                <a:gd name="connsiteY98" fmla="*/ 1221067 h 1725407"/>
                <a:gd name="connsiteX99" fmla="*/ 729537 w 1629088"/>
                <a:gd name="connsiteY99" fmla="*/ 1160654 h 1725407"/>
                <a:gd name="connsiteX100" fmla="*/ 752691 w 1629088"/>
                <a:gd name="connsiteY100" fmla="*/ 1156129 h 1725407"/>
                <a:gd name="connsiteX101" fmla="*/ 829794 w 1629088"/>
                <a:gd name="connsiteY101" fmla="*/ 1188451 h 1725407"/>
                <a:gd name="connsiteX102" fmla="*/ 842782 w 1629088"/>
                <a:gd name="connsiteY102" fmla="*/ 1207962 h 1725407"/>
                <a:gd name="connsiteX103" fmla="*/ 842723 w 1629088"/>
                <a:gd name="connsiteY103" fmla="*/ 1292880 h 1725407"/>
                <a:gd name="connsiteX104" fmla="*/ 842723 w 1629088"/>
                <a:gd name="connsiteY104" fmla="*/ 1292880 h 1725407"/>
                <a:gd name="connsiteX105" fmla="*/ 902665 w 1629088"/>
                <a:gd name="connsiteY105" fmla="*/ 1100124 h 1725407"/>
                <a:gd name="connsiteX106" fmla="*/ 705207 w 1629088"/>
                <a:gd name="connsiteY106" fmla="*/ 902665 h 1725407"/>
                <a:gd name="connsiteX107" fmla="*/ 902665 w 1629088"/>
                <a:gd name="connsiteY107" fmla="*/ 705207 h 1725407"/>
                <a:gd name="connsiteX108" fmla="*/ 1100124 w 1629088"/>
                <a:gd name="connsiteY108" fmla="*/ 902665 h 1725407"/>
                <a:gd name="connsiteX109" fmla="*/ 902665 w 1629088"/>
                <a:gd name="connsiteY109" fmla="*/ 1100124 h 1725407"/>
                <a:gd name="connsiteX110" fmla="*/ 902665 w 1629088"/>
                <a:gd name="connsiteY110" fmla="*/ 747520 h 1725407"/>
                <a:gd name="connsiteX111" fmla="*/ 747520 w 1629088"/>
                <a:gd name="connsiteY111" fmla="*/ 902665 h 1725407"/>
                <a:gd name="connsiteX112" fmla="*/ 902665 w 1629088"/>
                <a:gd name="connsiteY112" fmla="*/ 1057811 h 1725407"/>
                <a:gd name="connsiteX113" fmla="*/ 1057811 w 1629088"/>
                <a:gd name="connsiteY113" fmla="*/ 902665 h 1725407"/>
                <a:gd name="connsiteX114" fmla="*/ 902665 w 1629088"/>
                <a:gd name="connsiteY114" fmla="*/ 747520 h 1725407"/>
                <a:gd name="connsiteX115" fmla="*/ 491294 w 1629088"/>
                <a:gd name="connsiteY115" fmla="*/ 1410415 h 1725407"/>
                <a:gd name="connsiteX116" fmla="*/ 218614 w 1629088"/>
                <a:gd name="connsiteY116" fmla="*/ 1725407 h 1725407"/>
                <a:gd name="connsiteX117" fmla="*/ 176302 w 1629088"/>
                <a:gd name="connsiteY117" fmla="*/ 1725407 h 1725407"/>
                <a:gd name="connsiteX118" fmla="*/ 176302 w 1629088"/>
                <a:gd name="connsiteY118" fmla="*/ 1410415 h 1725407"/>
                <a:gd name="connsiteX119" fmla="*/ 491294 w 1629088"/>
                <a:gd name="connsiteY119" fmla="*/ 1410415 h 1725407"/>
                <a:gd name="connsiteX120" fmla="*/ 42312 w 1629088"/>
                <a:gd name="connsiteY120" fmla="*/ 902665 h 1725407"/>
                <a:gd name="connsiteX121" fmla="*/ 0 w 1629088"/>
                <a:gd name="connsiteY121" fmla="*/ 902665 h 1725407"/>
                <a:gd name="connsiteX122" fmla="*/ 902665 w 1629088"/>
                <a:gd name="connsiteY122" fmla="*/ 0 h 1725407"/>
                <a:gd name="connsiteX123" fmla="*/ 1586717 w 1629088"/>
                <a:gd name="connsiteY123" fmla="*/ 313641 h 1725407"/>
                <a:gd name="connsiteX124" fmla="*/ 1586717 w 1629088"/>
                <a:gd name="connsiteY124" fmla="*/ 79924 h 1725407"/>
                <a:gd name="connsiteX125" fmla="*/ 1629088 w 1629088"/>
                <a:gd name="connsiteY125" fmla="*/ 79924 h 1725407"/>
                <a:gd name="connsiteX126" fmla="*/ 1629088 w 1629088"/>
                <a:gd name="connsiteY126" fmla="*/ 394916 h 1725407"/>
                <a:gd name="connsiteX127" fmla="*/ 1314036 w 1629088"/>
                <a:gd name="connsiteY127" fmla="*/ 394916 h 1725407"/>
                <a:gd name="connsiteX128" fmla="*/ 1314036 w 1629088"/>
                <a:gd name="connsiteY128" fmla="*/ 352604 h 1725407"/>
                <a:gd name="connsiteX129" fmla="*/ 1564209 w 1629088"/>
                <a:gd name="connsiteY129" fmla="*/ 352604 h 1725407"/>
                <a:gd name="connsiteX130" fmla="*/ 902665 w 1629088"/>
                <a:gd name="connsiteY130" fmla="*/ 42312 h 1725407"/>
                <a:gd name="connsiteX131" fmla="*/ 42312 w 1629088"/>
                <a:gd name="connsiteY131" fmla="*/ 902665 h 1725407"/>
                <a:gd name="connsiteX0" fmla="*/ 983764 w 1629088"/>
                <a:gd name="connsiteY0" fmla="*/ 1335193 h 1725407"/>
                <a:gd name="connsiteX1" fmla="*/ 821567 w 1629088"/>
                <a:gd name="connsiteY1" fmla="*/ 1335193 h 1725407"/>
                <a:gd name="connsiteX2" fmla="*/ 800410 w 1629088"/>
                <a:gd name="connsiteY2" fmla="*/ 1314036 h 1725407"/>
                <a:gd name="connsiteX3" fmla="*/ 800410 w 1629088"/>
                <a:gd name="connsiteY3" fmla="*/ 1221948 h 1725407"/>
                <a:gd name="connsiteX4" fmla="*/ 749342 w 1629088"/>
                <a:gd name="connsiteY4" fmla="*/ 1200616 h 1725407"/>
                <a:gd name="connsiteX5" fmla="*/ 684051 w 1629088"/>
                <a:gd name="connsiteY5" fmla="*/ 1265906 h 1725407"/>
                <a:gd name="connsiteX6" fmla="*/ 669124 w 1629088"/>
                <a:gd name="connsiteY6" fmla="*/ 1272077 h 1725407"/>
                <a:gd name="connsiteX7" fmla="*/ 669124 w 1629088"/>
                <a:gd name="connsiteY7" fmla="*/ 1272077 h 1725407"/>
                <a:gd name="connsiteX8" fmla="*/ 654197 w 1629088"/>
                <a:gd name="connsiteY8" fmla="*/ 1265906 h 1725407"/>
                <a:gd name="connsiteX9" fmla="*/ 539484 w 1629088"/>
                <a:gd name="connsiteY9" fmla="*/ 1151192 h 1725407"/>
                <a:gd name="connsiteX10" fmla="*/ 539484 w 1629088"/>
                <a:gd name="connsiteY10" fmla="*/ 1121221 h 1725407"/>
                <a:gd name="connsiteX11" fmla="*/ 604598 w 1629088"/>
                <a:gd name="connsiteY11" fmla="*/ 1056166 h 1725407"/>
                <a:gd name="connsiteX12" fmla="*/ 583618 w 1629088"/>
                <a:gd name="connsiteY12" fmla="*/ 1004979 h 1725407"/>
                <a:gd name="connsiteX13" fmla="*/ 491294 w 1629088"/>
                <a:gd name="connsiteY13" fmla="*/ 1004979 h 1725407"/>
                <a:gd name="connsiteX14" fmla="*/ 470138 w 1629088"/>
                <a:gd name="connsiteY14" fmla="*/ 983823 h 1725407"/>
                <a:gd name="connsiteX15" fmla="*/ 470138 w 1629088"/>
                <a:gd name="connsiteY15" fmla="*/ 821625 h 1725407"/>
                <a:gd name="connsiteX16" fmla="*/ 491294 w 1629088"/>
                <a:gd name="connsiteY16" fmla="*/ 800469 h 1725407"/>
                <a:gd name="connsiteX17" fmla="*/ 583383 w 1629088"/>
                <a:gd name="connsiteY17" fmla="*/ 800469 h 1725407"/>
                <a:gd name="connsiteX18" fmla="*/ 604715 w 1629088"/>
                <a:gd name="connsiteY18" fmla="*/ 749400 h 1725407"/>
                <a:gd name="connsiteX19" fmla="*/ 539484 w 1629088"/>
                <a:gd name="connsiteY19" fmla="*/ 684051 h 1725407"/>
                <a:gd name="connsiteX20" fmla="*/ 539484 w 1629088"/>
                <a:gd name="connsiteY20" fmla="*/ 654139 h 1725407"/>
                <a:gd name="connsiteX21" fmla="*/ 654139 w 1629088"/>
                <a:gd name="connsiteY21" fmla="*/ 539425 h 1725407"/>
                <a:gd name="connsiteX22" fmla="*/ 684051 w 1629088"/>
                <a:gd name="connsiteY22" fmla="*/ 539425 h 1725407"/>
                <a:gd name="connsiteX23" fmla="*/ 749165 w 1629088"/>
                <a:gd name="connsiteY23" fmla="*/ 604598 h 1725407"/>
                <a:gd name="connsiteX24" fmla="*/ 800410 w 1629088"/>
                <a:gd name="connsiteY24" fmla="*/ 583618 h 1725407"/>
                <a:gd name="connsiteX25" fmla="*/ 800410 w 1629088"/>
                <a:gd name="connsiteY25" fmla="*/ 491294 h 1725407"/>
                <a:gd name="connsiteX26" fmla="*/ 821567 w 1629088"/>
                <a:gd name="connsiteY26" fmla="*/ 470138 h 1725407"/>
                <a:gd name="connsiteX27" fmla="*/ 983764 w 1629088"/>
                <a:gd name="connsiteY27" fmla="*/ 470138 h 1725407"/>
                <a:gd name="connsiteX28" fmla="*/ 1004921 w 1629088"/>
                <a:gd name="connsiteY28" fmla="*/ 491294 h 1725407"/>
                <a:gd name="connsiteX29" fmla="*/ 1004921 w 1629088"/>
                <a:gd name="connsiteY29" fmla="*/ 583383 h 1725407"/>
                <a:gd name="connsiteX30" fmla="*/ 1055931 w 1629088"/>
                <a:gd name="connsiteY30" fmla="*/ 604715 h 1725407"/>
                <a:gd name="connsiteX31" fmla="*/ 1121162 w 1629088"/>
                <a:gd name="connsiteY31" fmla="*/ 539425 h 1725407"/>
                <a:gd name="connsiteX32" fmla="*/ 1151134 w 1629088"/>
                <a:gd name="connsiteY32" fmla="*/ 539425 h 1725407"/>
                <a:gd name="connsiteX33" fmla="*/ 1265847 w 1629088"/>
                <a:gd name="connsiteY33" fmla="*/ 654139 h 1725407"/>
                <a:gd name="connsiteX34" fmla="*/ 1272018 w 1629088"/>
                <a:gd name="connsiteY34" fmla="*/ 669066 h 1725407"/>
                <a:gd name="connsiteX35" fmla="*/ 1265847 w 1629088"/>
                <a:gd name="connsiteY35" fmla="*/ 683992 h 1725407"/>
                <a:gd name="connsiteX36" fmla="*/ 1200674 w 1629088"/>
                <a:gd name="connsiteY36" fmla="*/ 749107 h 1725407"/>
                <a:gd name="connsiteX37" fmla="*/ 1221654 w 1629088"/>
                <a:gd name="connsiteY37" fmla="*/ 800352 h 1725407"/>
                <a:gd name="connsiteX38" fmla="*/ 1314036 w 1629088"/>
                <a:gd name="connsiteY38" fmla="*/ 800352 h 1725407"/>
                <a:gd name="connsiteX39" fmla="*/ 1335193 w 1629088"/>
                <a:gd name="connsiteY39" fmla="*/ 821508 h 1725407"/>
                <a:gd name="connsiteX40" fmla="*/ 1335193 w 1629088"/>
                <a:gd name="connsiteY40" fmla="*/ 983706 h 1725407"/>
                <a:gd name="connsiteX41" fmla="*/ 1314036 w 1629088"/>
                <a:gd name="connsiteY41" fmla="*/ 1004862 h 1725407"/>
                <a:gd name="connsiteX42" fmla="*/ 1221948 w 1629088"/>
                <a:gd name="connsiteY42" fmla="*/ 1004862 h 1725407"/>
                <a:gd name="connsiteX43" fmla="*/ 1200616 w 1629088"/>
                <a:gd name="connsiteY43" fmla="*/ 1055872 h 1725407"/>
                <a:gd name="connsiteX44" fmla="*/ 1265906 w 1629088"/>
                <a:gd name="connsiteY44" fmla="*/ 1121103 h 1725407"/>
                <a:gd name="connsiteX45" fmla="*/ 1272077 w 1629088"/>
                <a:gd name="connsiteY45" fmla="*/ 1136089 h 1725407"/>
                <a:gd name="connsiteX46" fmla="*/ 1265906 w 1629088"/>
                <a:gd name="connsiteY46" fmla="*/ 1151075 h 1725407"/>
                <a:gd name="connsiteX47" fmla="*/ 1151192 w 1629088"/>
                <a:gd name="connsiteY47" fmla="*/ 1265789 h 1725407"/>
                <a:gd name="connsiteX48" fmla="*/ 1136207 w 1629088"/>
                <a:gd name="connsiteY48" fmla="*/ 1271959 h 1725407"/>
                <a:gd name="connsiteX49" fmla="*/ 1136207 w 1629088"/>
                <a:gd name="connsiteY49" fmla="*/ 1271959 h 1725407"/>
                <a:gd name="connsiteX50" fmla="*/ 1121221 w 1629088"/>
                <a:gd name="connsiteY50" fmla="*/ 1265789 h 1725407"/>
                <a:gd name="connsiteX51" fmla="*/ 1056166 w 1629088"/>
                <a:gd name="connsiteY51" fmla="*/ 1200616 h 1725407"/>
                <a:gd name="connsiteX52" fmla="*/ 1004979 w 1629088"/>
                <a:gd name="connsiteY52" fmla="*/ 1221596 h 1725407"/>
                <a:gd name="connsiteX53" fmla="*/ 1004979 w 1629088"/>
                <a:gd name="connsiteY53" fmla="*/ 1314036 h 1725407"/>
                <a:gd name="connsiteX54" fmla="*/ 983764 w 1629088"/>
                <a:gd name="connsiteY54" fmla="*/ 1335193 h 1725407"/>
                <a:gd name="connsiteX55" fmla="*/ 842723 w 1629088"/>
                <a:gd name="connsiteY55" fmla="*/ 1292880 h 1725407"/>
                <a:gd name="connsiteX56" fmla="*/ 962608 w 1629088"/>
                <a:gd name="connsiteY56" fmla="*/ 1292880 h 1725407"/>
                <a:gd name="connsiteX57" fmla="*/ 962608 w 1629088"/>
                <a:gd name="connsiteY57" fmla="*/ 1207550 h 1725407"/>
                <a:gd name="connsiteX58" fmla="*/ 975772 w 1629088"/>
                <a:gd name="connsiteY58" fmla="*/ 1187981 h 1725407"/>
                <a:gd name="connsiteX59" fmla="*/ 1053110 w 1629088"/>
                <a:gd name="connsiteY59" fmla="*/ 1156246 h 1725407"/>
                <a:gd name="connsiteX60" fmla="*/ 1076146 w 1629088"/>
                <a:gd name="connsiteY60" fmla="*/ 1160830 h 1725407"/>
                <a:gd name="connsiteX61" fmla="*/ 1136207 w 1629088"/>
                <a:gd name="connsiteY61" fmla="*/ 1221008 h 1725407"/>
                <a:gd name="connsiteX62" fmla="*/ 1221008 w 1629088"/>
                <a:gd name="connsiteY62" fmla="*/ 1136207 h 1725407"/>
                <a:gd name="connsiteX63" fmla="*/ 1160595 w 1629088"/>
                <a:gd name="connsiteY63" fmla="*/ 1075911 h 1725407"/>
                <a:gd name="connsiteX64" fmla="*/ 1156070 w 1629088"/>
                <a:gd name="connsiteY64" fmla="*/ 1052757 h 1725407"/>
                <a:gd name="connsiteX65" fmla="*/ 1188392 w 1629088"/>
                <a:gd name="connsiteY65" fmla="*/ 975654 h 1725407"/>
                <a:gd name="connsiteX66" fmla="*/ 1207903 w 1629088"/>
                <a:gd name="connsiteY66" fmla="*/ 962608 h 1725407"/>
                <a:gd name="connsiteX67" fmla="*/ 1292880 w 1629088"/>
                <a:gd name="connsiteY67" fmla="*/ 962608 h 1725407"/>
                <a:gd name="connsiteX68" fmla="*/ 1292880 w 1629088"/>
                <a:gd name="connsiteY68" fmla="*/ 842723 h 1725407"/>
                <a:gd name="connsiteX69" fmla="*/ 1207550 w 1629088"/>
                <a:gd name="connsiteY69" fmla="*/ 842723 h 1725407"/>
                <a:gd name="connsiteX70" fmla="*/ 1187981 w 1629088"/>
                <a:gd name="connsiteY70" fmla="*/ 829618 h 1725407"/>
                <a:gd name="connsiteX71" fmla="*/ 1156246 w 1629088"/>
                <a:gd name="connsiteY71" fmla="*/ 752280 h 1725407"/>
                <a:gd name="connsiteX72" fmla="*/ 1160830 w 1629088"/>
                <a:gd name="connsiteY72" fmla="*/ 729302 h 1725407"/>
                <a:gd name="connsiteX73" fmla="*/ 1221008 w 1629088"/>
                <a:gd name="connsiteY73" fmla="*/ 669183 h 1725407"/>
                <a:gd name="connsiteX74" fmla="*/ 1136207 w 1629088"/>
                <a:gd name="connsiteY74" fmla="*/ 584382 h 1725407"/>
                <a:gd name="connsiteX75" fmla="*/ 1075911 w 1629088"/>
                <a:gd name="connsiteY75" fmla="*/ 644736 h 1725407"/>
                <a:gd name="connsiteX76" fmla="*/ 1052757 w 1629088"/>
                <a:gd name="connsiteY76" fmla="*/ 649320 h 1725407"/>
                <a:gd name="connsiteX77" fmla="*/ 975654 w 1629088"/>
                <a:gd name="connsiteY77" fmla="*/ 617057 h 1725407"/>
                <a:gd name="connsiteX78" fmla="*/ 962608 w 1629088"/>
                <a:gd name="connsiteY78" fmla="*/ 597546 h 1725407"/>
                <a:gd name="connsiteX79" fmla="*/ 962608 w 1629088"/>
                <a:gd name="connsiteY79" fmla="*/ 512451 h 1725407"/>
                <a:gd name="connsiteX80" fmla="*/ 842723 w 1629088"/>
                <a:gd name="connsiteY80" fmla="*/ 512451 h 1725407"/>
                <a:gd name="connsiteX81" fmla="*/ 842723 w 1629088"/>
                <a:gd name="connsiteY81" fmla="*/ 597781 h 1725407"/>
                <a:gd name="connsiteX82" fmla="*/ 829618 w 1629088"/>
                <a:gd name="connsiteY82" fmla="*/ 617350 h 1725407"/>
                <a:gd name="connsiteX83" fmla="*/ 752280 w 1629088"/>
                <a:gd name="connsiteY83" fmla="*/ 649085 h 1725407"/>
                <a:gd name="connsiteX84" fmla="*/ 729302 w 1629088"/>
                <a:gd name="connsiteY84" fmla="*/ 644442 h 1725407"/>
                <a:gd name="connsiteX85" fmla="*/ 669183 w 1629088"/>
                <a:gd name="connsiteY85" fmla="*/ 584323 h 1725407"/>
                <a:gd name="connsiteX86" fmla="*/ 584441 w 1629088"/>
                <a:gd name="connsiteY86" fmla="*/ 669124 h 1725407"/>
                <a:gd name="connsiteX87" fmla="*/ 644795 w 1629088"/>
                <a:gd name="connsiteY87" fmla="*/ 729537 h 1725407"/>
                <a:gd name="connsiteX88" fmla="*/ 649320 w 1629088"/>
                <a:gd name="connsiteY88" fmla="*/ 752691 h 1725407"/>
                <a:gd name="connsiteX89" fmla="*/ 617057 w 1629088"/>
                <a:gd name="connsiteY89" fmla="*/ 829794 h 1725407"/>
                <a:gd name="connsiteX90" fmla="*/ 597546 w 1629088"/>
                <a:gd name="connsiteY90" fmla="*/ 842782 h 1725407"/>
                <a:gd name="connsiteX91" fmla="*/ 512451 w 1629088"/>
                <a:gd name="connsiteY91" fmla="*/ 842782 h 1725407"/>
                <a:gd name="connsiteX92" fmla="*/ 512451 w 1629088"/>
                <a:gd name="connsiteY92" fmla="*/ 962667 h 1725407"/>
                <a:gd name="connsiteX93" fmla="*/ 597781 w 1629088"/>
                <a:gd name="connsiteY93" fmla="*/ 962667 h 1725407"/>
                <a:gd name="connsiteX94" fmla="*/ 617350 w 1629088"/>
                <a:gd name="connsiteY94" fmla="*/ 975831 h 1725407"/>
                <a:gd name="connsiteX95" fmla="*/ 649085 w 1629088"/>
                <a:gd name="connsiteY95" fmla="*/ 1053169 h 1725407"/>
                <a:gd name="connsiteX96" fmla="*/ 644442 w 1629088"/>
                <a:gd name="connsiteY96" fmla="*/ 1076205 h 1725407"/>
                <a:gd name="connsiteX97" fmla="*/ 584382 w 1629088"/>
                <a:gd name="connsiteY97" fmla="*/ 1136265 h 1725407"/>
                <a:gd name="connsiteX98" fmla="*/ 669124 w 1629088"/>
                <a:gd name="connsiteY98" fmla="*/ 1221067 h 1725407"/>
                <a:gd name="connsiteX99" fmla="*/ 729537 w 1629088"/>
                <a:gd name="connsiteY99" fmla="*/ 1160654 h 1725407"/>
                <a:gd name="connsiteX100" fmla="*/ 752691 w 1629088"/>
                <a:gd name="connsiteY100" fmla="*/ 1156129 h 1725407"/>
                <a:gd name="connsiteX101" fmla="*/ 829794 w 1629088"/>
                <a:gd name="connsiteY101" fmla="*/ 1188451 h 1725407"/>
                <a:gd name="connsiteX102" fmla="*/ 842782 w 1629088"/>
                <a:gd name="connsiteY102" fmla="*/ 1207962 h 1725407"/>
                <a:gd name="connsiteX103" fmla="*/ 842723 w 1629088"/>
                <a:gd name="connsiteY103" fmla="*/ 1292880 h 1725407"/>
                <a:gd name="connsiteX104" fmla="*/ 842723 w 1629088"/>
                <a:gd name="connsiteY104" fmla="*/ 1292880 h 1725407"/>
                <a:gd name="connsiteX105" fmla="*/ 902665 w 1629088"/>
                <a:gd name="connsiteY105" fmla="*/ 1100124 h 1725407"/>
                <a:gd name="connsiteX106" fmla="*/ 705207 w 1629088"/>
                <a:gd name="connsiteY106" fmla="*/ 902665 h 1725407"/>
                <a:gd name="connsiteX107" fmla="*/ 902665 w 1629088"/>
                <a:gd name="connsiteY107" fmla="*/ 705207 h 1725407"/>
                <a:gd name="connsiteX108" fmla="*/ 1100124 w 1629088"/>
                <a:gd name="connsiteY108" fmla="*/ 902665 h 1725407"/>
                <a:gd name="connsiteX109" fmla="*/ 902665 w 1629088"/>
                <a:gd name="connsiteY109" fmla="*/ 1100124 h 1725407"/>
                <a:gd name="connsiteX110" fmla="*/ 902665 w 1629088"/>
                <a:gd name="connsiteY110" fmla="*/ 747520 h 1725407"/>
                <a:gd name="connsiteX111" fmla="*/ 747520 w 1629088"/>
                <a:gd name="connsiteY111" fmla="*/ 902665 h 1725407"/>
                <a:gd name="connsiteX112" fmla="*/ 902665 w 1629088"/>
                <a:gd name="connsiteY112" fmla="*/ 1057811 h 1725407"/>
                <a:gd name="connsiteX113" fmla="*/ 1057811 w 1629088"/>
                <a:gd name="connsiteY113" fmla="*/ 902665 h 1725407"/>
                <a:gd name="connsiteX114" fmla="*/ 902665 w 1629088"/>
                <a:gd name="connsiteY114" fmla="*/ 747520 h 1725407"/>
                <a:gd name="connsiteX115" fmla="*/ 176302 w 1629088"/>
                <a:gd name="connsiteY115" fmla="*/ 1410415 h 1725407"/>
                <a:gd name="connsiteX116" fmla="*/ 218614 w 1629088"/>
                <a:gd name="connsiteY116" fmla="*/ 1725407 h 1725407"/>
                <a:gd name="connsiteX117" fmla="*/ 176302 w 1629088"/>
                <a:gd name="connsiteY117" fmla="*/ 1725407 h 1725407"/>
                <a:gd name="connsiteX118" fmla="*/ 176302 w 1629088"/>
                <a:gd name="connsiteY118" fmla="*/ 1410415 h 1725407"/>
                <a:gd name="connsiteX119" fmla="*/ 42312 w 1629088"/>
                <a:gd name="connsiteY119" fmla="*/ 902665 h 1725407"/>
                <a:gd name="connsiteX120" fmla="*/ 0 w 1629088"/>
                <a:gd name="connsiteY120" fmla="*/ 902665 h 1725407"/>
                <a:gd name="connsiteX121" fmla="*/ 902665 w 1629088"/>
                <a:gd name="connsiteY121" fmla="*/ 0 h 1725407"/>
                <a:gd name="connsiteX122" fmla="*/ 1586717 w 1629088"/>
                <a:gd name="connsiteY122" fmla="*/ 313641 h 1725407"/>
                <a:gd name="connsiteX123" fmla="*/ 1586717 w 1629088"/>
                <a:gd name="connsiteY123" fmla="*/ 79924 h 1725407"/>
                <a:gd name="connsiteX124" fmla="*/ 1629088 w 1629088"/>
                <a:gd name="connsiteY124" fmla="*/ 79924 h 1725407"/>
                <a:gd name="connsiteX125" fmla="*/ 1629088 w 1629088"/>
                <a:gd name="connsiteY125" fmla="*/ 394916 h 1725407"/>
                <a:gd name="connsiteX126" fmla="*/ 1314036 w 1629088"/>
                <a:gd name="connsiteY126" fmla="*/ 394916 h 1725407"/>
                <a:gd name="connsiteX127" fmla="*/ 1314036 w 1629088"/>
                <a:gd name="connsiteY127" fmla="*/ 352604 h 1725407"/>
                <a:gd name="connsiteX128" fmla="*/ 1564209 w 1629088"/>
                <a:gd name="connsiteY128" fmla="*/ 352604 h 1725407"/>
                <a:gd name="connsiteX129" fmla="*/ 902665 w 1629088"/>
                <a:gd name="connsiteY129" fmla="*/ 42312 h 1725407"/>
                <a:gd name="connsiteX130" fmla="*/ 42312 w 1629088"/>
                <a:gd name="connsiteY130" fmla="*/ 902665 h 1725407"/>
                <a:gd name="connsiteX0" fmla="*/ 983764 w 1629088"/>
                <a:gd name="connsiteY0" fmla="*/ 1335193 h 1725407"/>
                <a:gd name="connsiteX1" fmla="*/ 821567 w 1629088"/>
                <a:gd name="connsiteY1" fmla="*/ 1335193 h 1725407"/>
                <a:gd name="connsiteX2" fmla="*/ 800410 w 1629088"/>
                <a:gd name="connsiteY2" fmla="*/ 1314036 h 1725407"/>
                <a:gd name="connsiteX3" fmla="*/ 800410 w 1629088"/>
                <a:gd name="connsiteY3" fmla="*/ 1221948 h 1725407"/>
                <a:gd name="connsiteX4" fmla="*/ 749342 w 1629088"/>
                <a:gd name="connsiteY4" fmla="*/ 1200616 h 1725407"/>
                <a:gd name="connsiteX5" fmla="*/ 684051 w 1629088"/>
                <a:gd name="connsiteY5" fmla="*/ 1265906 h 1725407"/>
                <a:gd name="connsiteX6" fmla="*/ 669124 w 1629088"/>
                <a:gd name="connsiteY6" fmla="*/ 1272077 h 1725407"/>
                <a:gd name="connsiteX7" fmla="*/ 669124 w 1629088"/>
                <a:gd name="connsiteY7" fmla="*/ 1272077 h 1725407"/>
                <a:gd name="connsiteX8" fmla="*/ 654197 w 1629088"/>
                <a:gd name="connsiteY8" fmla="*/ 1265906 h 1725407"/>
                <a:gd name="connsiteX9" fmla="*/ 539484 w 1629088"/>
                <a:gd name="connsiteY9" fmla="*/ 1151192 h 1725407"/>
                <a:gd name="connsiteX10" fmla="*/ 539484 w 1629088"/>
                <a:gd name="connsiteY10" fmla="*/ 1121221 h 1725407"/>
                <a:gd name="connsiteX11" fmla="*/ 604598 w 1629088"/>
                <a:gd name="connsiteY11" fmla="*/ 1056166 h 1725407"/>
                <a:gd name="connsiteX12" fmla="*/ 583618 w 1629088"/>
                <a:gd name="connsiteY12" fmla="*/ 1004979 h 1725407"/>
                <a:gd name="connsiteX13" fmla="*/ 491294 w 1629088"/>
                <a:gd name="connsiteY13" fmla="*/ 1004979 h 1725407"/>
                <a:gd name="connsiteX14" fmla="*/ 470138 w 1629088"/>
                <a:gd name="connsiteY14" fmla="*/ 983823 h 1725407"/>
                <a:gd name="connsiteX15" fmla="*/ 470138 w 1629088"/>
                <a:gd name="connsiteY15" fmla="*/ 821625 h 1725407"/>
                <a:gd name="connsiteX16" fmla="*/ 491294 w 1629088"/>
                <a:gd name="connsiteY16" fmla="*/ 800469 h 1725407"/>
                <a:gd name="connsiteX17" fmla="*/ 583383 w 1629088"/>
                <a:gd name="connsiteY17" fmla="*/ 800469 h 1725407"/>
                <a:gd name="connsiteX18" fmla="*/ 604715 w 1629088"/>
                <a:gd name="connsiteY18" fmla="*/ 749400 h 1725407"/>
                <a:gd name="connsiteX19" fmla="*/ 539484 w 1629088"/>
                <a:gd name="connsiteY19" fmla="*/ 684051 h 1725407"/>
                <a:gd name="connsiteX20" fmla="*/ 539484 w 1629088"/>
                <a:gd name="connsiteY20" fmla="*/ 654139 h 1725407"/>
                <a:gd name="connsiteX21" fmla="*/ 654139 w 1629088"/>
                <a:gd name="connsiteY21" fmla="*/ 539425 h 1725407"/>
                <a:gd name="connsiteX22" fmla="*/ 684051 w 1629088"/>
                <a:gd name="connsiteY22" fmla="*/ 539425 h 1725407"/>
                <a:gd name="connsiteX23" fmla="*/ 749165 w 1629088"/>
                <a:gd name="connsiteY23" fmla="*/ 604598 h 1725407"/>
                <a:gd name="connsiteX24" fmla="*/ 800410 w 1629088"/>
                <a:gd name="connsiteY24" fmla="*/ 583618 h 1725407"/>
                <a:gd name="connsiteX25" fmla="*/ 800410 w 1629088"/>
                <a:gd name="connsiteY25" fmla="*/ 491294 h 1725407"/>
                <a:gd name="connsiteX26" fmla="*/ 821567 w 1629088"/>
                <a:gd name="connsiteY26" fmla="*/ 470138 h 1725407"/>
                <a:gd name="connsiteX27" fmla="*/ 983764 w 1629088"/>
                <a:gd name="connsiteY27" fmla="*/ 470138 h 1725407"/>
                <a:gd name="connsiteX28" fmla="*/ 1004921 w 1629088"/>
                <a:gd name="connsiteY28" fmla="*/ 491294 h 1725407"/>
                <a:gd name="connsiteX29" fmla="*/ 1004921 w 1629088"/>
                <a:gd name="connsiteY29" fmla="*/ 583383 h 1725407"/>
                <a:gd name="connsiteX30" fmla="*/ 1055931 w 1629088"/>
                <a:gd name="connsiteY30" fmla="*/ 604715 h 1725407"/>
                <a:gd name="connsiteX31" fmla="*/ 1121162 w 1629088"/>
                <a:gd name="connsiteY31" fmla="*/ 539425 h 1725407"/>
                <a:gd name="connsiteX32" fmla="*/ 1151134 w 1629088"/>
                <a:gd name="connsiteY32" fmla="*/ 539425 h 1725407"/>
                <a:gd name="connsiteX33" fmla="*/ 1265847 w 1629088"/>
                <a:gd name="connsiteY33" fmla="*/ 654139 h 1725407"/>
                <a:gd name="connsiteX34" fmla="*/ 1272018 w 1629088"/>
                <a:gd name="connsiteY34" fmla="*/ 669066 h 1725407"/>
                <a:gd name="connsiteX35" fmla="*/ 1265847 w 1629088"/>
                <a:gd name="connsiteY35" fmla="*/ 683992 h 1725407"/>
                <a:gd name="connsiteX36" fmla="*/ 1200674 w 1629088"/>
                <a:gd name="connsiteY36" fmla="*/ 749107 h 1725407"/>
                <a:gd name="connsiteX37" fmla="*/ 1221654 w 1629088"/>
                <a:gd name="connsiteY37" fmla="*/ 800352 h 1725407"/>
                <a:gd name="connsiteX38" fmla="*/ 1314036 w 1629088"/>
                <a:gd name="connsiteY38" fmla="*/ 800352 h 1725407"/>
                <a:gd name="connsiteX39" fmla="*/ 1335193 w 1629088"/>
                <a:gd name="connsiteY39" fmla="*/ 821508 h 1725407"/>
                <a:gd name="connsiteX40" fmla="*/ 1335193 w 1629088"/>
                <a:gd name="connsiteY40" fmla="*/ 983706 h 1725407"/>
                <a:gd name="connsiteX41" fmla="*/ 1314036 w 1629088"/>
                <a:gd name="connsiteY41" fmla="*/ 1004862 h 1725407"/>
                <a:gd name="connsiteX42" fmla="*/ 1221948 w 1629088"/>
                <a:gd name="connsiteY42" fmla="*/ 1004862 h 1725407"/>
                <a:gd name="connsiteX43" fmla="*/ 1200616 w 1629088"/>
                <a:gd name="connsiteY43" fmla="*/ 1055872 h 1725407"/>
                <a:gd name="connsiteX44" fmla="*/ 1265906 w 1629088"/>
                <a:gd name="connsiteY44" fmla="*/ 1121103 h 1725407"/>
                <a:gd name="connsiteX45" fmla="*/ 1272077 w 1629088"/>
                <a:gd name="connsiteY45" fmla="*/ 1136089 h 1725407"/>
                <a:gd name="connsiteX46" fmla="*/ 1265906 w 1629088"/>
                <a:gd name="connsiteY46" fmla="*/ 1151075 h 1725407"/>
                <a:gd name="connsiteX47" fmla="*/ 1151192 w 1629088"/>
                <a:gd name="connsiteY47" fmla="*/ 1265789 h 1725407"/>
                <a:gd name="connsiteX48" fmla="*/ 1136207 w 1629088"/>
                <a:gd name="connsiteY48" fmla="*/ 1271959 h 1725407"/>
                <a:gd name="connsiteX49" fmla="*/ 1136207 w 1629088"/>
                <a:gd name="connsiteY49" fmla="*/ 1271959 h 1725407"/>
                <a:gd name="connsiteX50" fmla="*/ 1121221 w 1629088"/>
                <a:gd name="connsiteY50" fmla="*/ 1265789 h 1725407"/>
                <a:gd name="connsiteX51" fmla="*/ 1056166 w 1629088"/>
                <a:gd name="connsiteY51" fmla="*/ 1200616 h 1725407"/>
                <a:gd name="connsiteX52" fmla="*/ 1004979 w 1629088"/>
                <a:gd name="connsiteY52" fmla="*/ 1221596 h 1725407"/>
                <a:gd name="connsiteX53" fmla="*/ 1004979 w 1629088"/>
                <a:gd name="connsiteY53" fmla="*/ 1314036 h 1725407"/>
                <a:gd name="connsiteX54" fmla="*/ 983764 w 1629088"/>
                <a:gd name="connsiteY54" fmla="*/ 1335193 h 1725407"/>
                <a:gd name="connsiteX55" fmla="*/ 842723 w 1629088"/>
                <a:gd name="connsiteY55" fmla="*/ 1292880 h 1725407"/>
                <a:gd name="connsiteX56" fmla="*/ 962608 w 1629088"/>
                <a:gd name="connsiteY56" fmla="*/ 1292880 h 1725407"/>
                <a:gd name="connsiteX57" fmla="*/ 962608 w 1629088"/>
                <a:gd name="connsiteY57" fmla="*/ 1207550 h 1725407"/>
                <a:gd name="connsiteX58" fmla="*/ 975772 w 1629088"/>
                <a:gd name="connsiteY58" fmla="*/ 1187981 h 1725407"/>
                <a:gd name="connsiteX59" fmla="*/ 1053110 w 1629088"/>
                <a:gd name="connsiteY59" fmla="*/ 1156246 h 1725407"/>
                <a:gd name="connsiteX60" fmla="*/ 1076146 w 1629088"/>
                <a:gd name="connsiteY60" fmla="*/ 1160830 h 1725407"/>
                <a:gd name="connsiteX61" fmla="*/ 1136207 w 1629088"/>
                <a:gd name="connsiteY61" fmla="*/ 1221008 h 1725407"/>
                <a:gd name="connsiteX62" fmla="*/ 1221008 w 1629088"/>
                <a:gd name="connsiteY62" fmla="*/ 1136207 h 1725407"/>
                <a:gd name="connsiteX63" fmla="*/ 1160595 w 1629088"/>
                <a:gd name="connsiteY63" fmla="*/ 1075911 h 1725407"/>
                <a:gd name="connsiteX64" fmla="*/ 1156070 w 1629088"/>
                <a:gd name="connsiteY64" fmla="*/ 1052757 h 1725407"/>
                <a:gd name="connsiteX65" fmla="*/ 1188392 w 1629088"/>
                <a:gd name="connsiteY65" fmla="*/ 975654 h 1725407"/>
                <a:gd name="connsiteX66" fmla="*/ 1207903 w 1629088"/>
                <a:gd name="connsiteY66" fmla="*/ 962608 h 1725407"/>
                <a:gd name="connsiteX67" fmla="*/ 1292880 w 1629088"/>
                <a:gd name="connsiteY67" fmla="*/ 962608 h 1725407"/>
                <a:gd name="connsiteX68" fmla="*/ 1292880 w 1629088"/>
                <a:gd name="connsiteY68" fmla="*/ 842723 h 1725407"/>
                <a:gd name="connsiteX69" fmla="*/ 1207550 w 1629088"/>
                <a:gd name="connsiteY69" fmla="*/ 842723 h 1725407"/>
                <a:gd name="connsiteX70" fmla="*/ 1187981 w 1629088"/>
                <a:gd name="connsiteY70" fmla="*/ 829618 h 1725407"/>
                <a:gd name="connsiteX71" fmla="*/ 1156246 w 1629088"/>
                <a:gd name="connsiteY71" fmla="*/ 752280 h 1725407"/>
                <a:gd name="connsiteX72" fmla="*/ 1160830 w 1629088"/>
                <a:gd name="connsiteY72" fmla="*/ 729302 h 1725407"/>
                <a:gd name="connsiteX73" fmla="*/ 1221008 w 1629088"/>
                <a:gd name="connsiteY73" fmla="*/ 669183 h 1725407"/>
                <a:gd name="connsiteX74" fmla="*/ 1136207 w 1629088"/>
                <a:gd name="connsiteY74" fmla="*/ 584382 h 1725407"/>
                <a:gd name="connsiteX75" fmla="*/ 1075911 w 1629088"/>
                <a:gd name="connsiteY75" fmla="*/ 644736 h 1725407"/>
                <a:gd name="connsiteX76" fmla="*/ 1052757 w 1629088"/>
                <a:gd name="connsiteY76" fmla="*/ 649320 h 1725407"/>
                <a:gd name="connsiteX77" fmla="*/ 975654 w 1629088"/>
                <a:gd name="connsiteY77" fmla="*/ 617057 h 1725407"/>
                <a:gd name="connsiteX78" fmla="*/ 962608 w 1629088"/>
                <a:gd name="connsiteY78" fmla="*/ 597546 h 1725407"/>
                <a:gd name="connsiteX79" fmla="*/ 962608 w 1629088"/>
                <a:gd name="connsiteY79" fmla="*/ 512451 h 1725407"/>
                <a:gd name="connsiteX80" fmla="*/ 842723 w 1629088"/>
                <a:gd name="connsiteY80" fmla="*/ 512451 h 1725407"/>
                <a:gd name="connsiteX81" fmla="*/ 842723 w 1629088"/>
                <a:gd name="connsiteY81" fmla="*/ 597781 h 1725407"/>
                <a:gd name="connsiteX82" fmla="*/ 829618 w 1629088"/>
                <a:gd name="connsiteY82" fmla="*/ 617350 h 1725407"/>
                <a:gd name="connsiteX83" fmla="*/ 752280 w 1629088"/>
                <a:gd name="connsiteY83" fmla="*/ 649085 h 1725407"/>
                <a:gd name="connsiteX84" fmla="*/ 729302 w 1629088"/>
                <a:gd name="connsiteY84" fmla="*/ 644442 h 1725407"/>
                <a:gd name="connsiteX85" fmla="*/ 669183 w 1629088"/>
                <a:gd name="connsiteY85" fmla="*/ 584323 h 1725407"/>
                <a:gd name="connsiteX86" fmla="*/ 584441 w 1629088"/>
                <a:gd name="connsiteY86" fmla="*/ 669124 h 1725407"/>
                <a:gd name="connsiteX87" fmla="*/ 644795 w 1629088"/>
                <a:gd name="connsiteY87" fmla="*/ 729537 h 1725407"/>
                <a:gd name="connsiteX88" fmla="*/ 649320 w 1629088"/>
                <a:gd name="connsiteY88" fmla="*/ 752691 h 1725407"/>
                <a:gd name="connsiteX89" fmla="*/ 617057 w 1629088"/>
                <a:gd name="connsiteY89" fmla="*/ 829794 h 1725407"/>
                <a:gd name="connsiteX90" fmla="*/ 597546 w 1629088"/>
                <a:gd name="connsiteY90" fmla="*/ 842782 h 1725407"/>
                <a:gd name="connsiteX91" fmla="*/ 512451 w 1629088"/>
                <a:gd name="connsiteY91" fmla="*/ 842782 h 1725407"/>
                <a:gd name="connsiteX92" fmla="*/ 512451 w 1629088"/>
                <a:gd name="connsiteY92" fmla="*/ 962667 h 1725407"/>
                <a:gd name="connsiteX93" fmla="*/ 597781 w 1629088"/>
                <a:gd name="connsiteY93" fmla="*/ 962667 h 1725407"/>
                <a:gd name="connsiteX94" fmla="*/ 617350 w 1629088"/>
                <a:gd name="connsiteY94" fmla="*/ 975831 h 1725407"/>
                <a:gd name="connsiteX95" fmla="*/ 649085 w 1629088"/>
                <a:gd name="connsiteY95" fmla="*/ 1053169 h 1725407"/>
                <a:gd name="connsiteX96" fmla="*/ 644442 w 1629088"/>
                <a:gd name="connsiteY96" fmla="*/ 1076205 h 1725407"/>
                <a:gd name="connsiteX97" fmla="*/ 584382 w 1629088"/>
                <a:gd name="connsiteY97" fmla="*/ 1136265 h 1725407"/>
                <a:gd name="connsiteX98" fmla="*/ 669124 w 1629088"/>
                <a:gd name="connsiteY98" fmla="*/ 1221067 h 1725407"/>
                <a:gd name="connsiteX99" fmla="*/ 729537 w 1629088"/>
                <a:gd name="connsiteY99" fmla="*/ 1160654 h 1725407"/>
                <a:gd name="connsiteX100" fmla="*/ 752691 w 1629088"/>
                <a:gd name="connsiteY100" fmla="*/ 1156129 h 1725407"/>
                <a:gd name="connsiteX101" fmla="*/ 829794 w 1629088"/>
                <a:gd name="connsiteY101" fmla="*/ 1188451 h 1725407"/>
                <a:gd name="connsiteX102" fmla="*/ 842782 w 1629088"/>
                <a:gd name="connsiteY102" fmla="*/ 1207962 h 1725407"/>
                <a:gd name="connsiteX103" fmla="*/ 842723 w 1629088"/>
                <a:gd name="connsiteY103" fmla="*/ 1292880 h 1725407"/>
                <a:gd name="connsiteX104" fmla="*/ 842723 w 1629088"/>
                <a:gd name="connsiteY104" fmla="*/ 1292880 h 1725407"/>
                <a:gd name="connsiteX105" fmla="*/ 902665 w 1629088"/>
                <a:gd name="connsiteY105" fmla="*/ 1100124 h 1725407"/>
                <a:gd name="connsiteX106" fmla="*/ 705207 w 1629088"/>
                <a:gd name="connsiteY106" fmla="*/ 902665 h 1725407"/>
                <a:gd name="connsiteX107" fmla="*/ 902665 w 1629088"/>
                <a:gd name="connsiteY107" fmla="*/ 705207 h 1725407"/>
                <a:gd name="connsiteX108" fmla="*/ 1100124 w 1629088"/>
                <a:gd name="connsiteY108" fmla="*/ 902665 h 1725407"/>
                <a:gd name="connsiteX109" fmla="*/ 902665 w 1629088"/>
                <a:gd name="connsiteY109" fmla="*/ 1100124 h 1725407"/>
                <a:gd name="connsiteX110" fmla="*/ 902665 w 1629088"/>
                <a:gd name="connsiteY110" fmla="*/ 747520 h 1725407"/>
                <a:gd name="connsiteX111" fmla="*/ 747520 w 1629088"/>
                <a:gd name="connsiteY111" fmla="*/ 902665 h 1725407"/>
                <a:gd name="connsiteX112" fmla="*/ 902665 w 1629088"/>
                <a:gd name="connsiteY112" fmla="*/ 1057811 h 1725407"/>
                <a:gd name="connsiteX113" fmla="*/ 1057811 w 1629088"/>
                <a:gd name="connsiteY113" fmla="*/ 902665 h 1725407"/>
                <a:gd name="connsiteX114" fmla="*/ 902665 w 1629088"/>
                <a:gd name="connsiteY114" fmla="*/ 747520 h 1725407"/>
                <a:gd name="connsiteX115" fmla="*/ 176302 w 1629088"/>
                <a:gd name="connsiteY115" fmla="*/ 1725407 h 1725407"/>
                <a:gd name="connsiteX116" fmla="*/ 218614 w 1629088"/>
                <a:gd name="connsiteY116" fmla="*/ 1725407 h 1725407"/>
                <a:gd name="connsiteX117" fmla="*/ 176302 w 1629088"/>
                <a:gd name="connsiteY117" fmla="*/ 1725407 h 1725407"/>
                <a:gd name="connsiteX118" fmla="*/ 42312 w 1629088"/>
                <a:gd name="connsiteY118" fmla="*/ 902665 h 1725407"/>
                <a:gd name="connsiteX119" fmla="*/ 0 w 1629088"/>
                <a:gd name="connsiteY119" fmla="*/ 902665 h 1725407"/>
                <a:gd name="connsiteX120" fmla="*/ 902665 w 1629088"/>
                <a:gd name="connsiteY120" fmla="*/ 0 h 1725407"/>
                <a:gd name="connsiteX121" fmla="*/ 1586717 w 1629088"/>
                <a:gd name="connsiteY121" fmla="*/ 313641 h 1725407"/>
                <a:gd name="connsiteX122" fmla="*/ 1586717 w 1629088"/>
                <a:gd name="connsiteY122" fmla="*/ 79924 h 1725407"/>
                <a:gd name="connsiteX123" fmla="*/ 1629088 w 1629088"/>
                <a:gd name="connsiteY123" fmla="*/ 79924 h 1725407"/>
                <a:gd name="connsiteX124" fmla="*/ 1629088 w 1629088"/>
                <a:gd name="connsiteY124" fmla="*/ 394916 h 1725407"/>
                <a:gd name="connsiteX125" fmla="*/ 1314036 w 1629088"/>
                <a:gd name="connsiteY125" fmla="*/ 394916 h 1725407"/>
                <a:gd name="connsiteX126" fmla="*/ 1314036 w 1629088"/>
                <a:gd name="connsiteY126" fmla="*/ 352604 h 1725407"/>
                <a:gd name="connsiteX127" fmla="*/ 1564209 w 1629088"/>
                <a:gd name="connsiteY127" fmla="*/ 352604 h 1725407"/>
                <a:gd name="connsiteX128" fmla="*/ 902665 w 1629088"/>
                <a:gd name="connsiteY128" fmla="*/ 42312 h 1725407"/>
                <a:gd name="connsiteX129" fmla="*/ 42312 w 1629088"/>
                <a:gd name="connsiteY129" fmla="*/ 902665 h 1725407"/>
                <a:gd name="connsiteX0" fmla="*/ 983764 w 1629088"/>
                <a:gd name="connsiteY0" fmla="*/ 1335193 h 1335193"/>
                <a:gd name="connsiteX1" fmla="*/ 821567 w 1629088"/>
                <a:gd name="connsiteY1" fmla="*/ 1335193 h 1335193"/>
                <a:gd name="connsiteX2" fmla="*/ 800410 w 1629088"/>
                <a:gd name="connsiteY2" fmla="*/ 1314036 h 1335193"/>
                <a:gd name="connsiteX3" fmla="*/ 800410 w 1629088"/>
                <a:gd name="connsiteY3" fmla="*/ 1221948 h 1335193"/>
                <a:gd name="connsiteX4" fmla="*/ 749342 w 1629088"/>
                <a:gd name="connsiteY4" fmla="*/ 1200616 h 1335193"/>
                <a:gd name="connsiteX5" fmla="*/ 684051 w 1629088"/>
                <a:gd name="connsiteY5" fmla="*/ 1265906 h 1335193"/>
                <a:gd name="connsiteX6" fmla="*/ 669124 w 1629088"/>
                <a:gd name="connsiteY6" fmla="*/ 1272077 h 1335193"/>
                <a:gd name="connsiteX7" fmla="*/ 669124 w 1629088"/>
                <a:gd name="connsiteY7" fmla="*/ 1272077 h 1335193"/>
                <a:gd name="connsiteX8" fmla="*/ 654197 w 1629088"/>
                <a:gd name="connsiteY8" fmla="*/ 1265906 h 1335193"/>
                <a:gd name="connsiteX9" fmla="*/ 539484 w 1629088"/>
                <a:gd name="connsiteY9" fmla="*/ 1151192 h 1335193"/>
                <a:gd name="connsiteX10" fmla="*/ 539484 w 1629088"/>
                <a:gd name="connsiteY10" fmla="*/ 1121221 h 1335193"/>
                <a:gd name="connsiteX11" fmla="*/ 604598 w 1629088"/>
                <a:gd name="connsiteY11" fmla="*/ 1056166 h 1335193"/>
                <a:gd name="connsiteX12" fmla="*/ 583618 w 1629088"/>
                <a:gd name="connsiteY12" fmla="*/ 1004979 h 1335193"/>
                <a:gd name="connsiteX13" fmla="*/ 491294 w 1629088"/>
                <a:gd name="connsiteY13" fmla="*/ 1004979 h 1335193"/>
                <a:gd name="connsiteX14" fmla="*/ 470138 w 1629088"/>
                <a:gd name="connsiteY14" fmla="*/ 983823 h 1335193"/>
                <a:gd name="connsiteX15" fmla="*/ 470138 w 1629088"/>
                <a:gd name="connsiteY15" fmla="*/ 821625 h 1335193"/>
                <a:gd name="connsiteX16" fmla="*/ 491294 w 1629088"/>
                <a:gd name="connsiteY16" fmla="*/ 800469 h 1335193"/>
                <a:gd name="connsiteX17" fmla="*/ 583383 w 1629088"/>
                <a:gd name="connsiteY17" fmla="*/ 800469 h 1335193"/>
                <a:gd name="connsiteX18" fmla="*/ 604715 w 1629088"/>
                <a:gd name="connsiteY18" fmla="*/ 749400 h 1335193"/>
                <a:gd name="connsiteX19" fmla="*/ 539484 w 1629088"/>
                <a:gd name="connsiteY19" fmla="*/ 684051 h 1335193"/>
                <a:gd name="connsiteX20" fmla="*/ 539484 w 1629088"/>
                <a:gd name="connsiteY20" fmla="*/ 654139 h 1335193"/>
                <a:gd name="connsiteX21" fmla="*/ 654139 w 1629088"/>
                <a:gd name="connsiteY21" fmla="*/ 539425 h 1335193"/>
                <a:gd name="connsiteX22" fmla="*/ 684051 w 1629088"/>
                <a:gd name="connsiteY22" fmla="*/ 539425 h 1335193"/>
                <a:gd name="connsiteX23" fmla="*/ 749165 w 1629088"/>
                <a:gd name="connsiteY23" fmla="*/ 604598 h 1335193"/>
                <a:gd name="connsiteX24" fmla="*/ 800410 w 1629088"/>
                <a:gd name="connsiteY24" fmla="*/ 583618 h 1335193"/>
                <a:gd name="connsiteX25" fmla="*/ 800410 w 1629088"/>
                <a:gd name="connsiteY25" fmla="*/ 491294 h 1335193"/>
                <a:gd name="connsiteX26" fmla="*/ 821567 w 1629088"/>
                <a:gd name="connsiteY26" fmla="*/ 470138 h 1335193"/>
                <a:gd name="connsiteX27" fmla="*/ 983764 w 1629088"/>
                <a:gd name="connsiteY27" fmla="*/ 470138 h 1335193"/>
                <a:gd name="connsiteX28" fmla="*/ 1004921 w 1629088"/>
                <a:gd name="connsiteY28" fmla="*/ 491294 h 1335193"/>
                <a:gd name="connsiteX29" fmla="*/ 1004921 w 1629088"/>
                <a:gd name="connsiteY29" fmla="*/ 583383 h 1335193"/>
                <a:gd name="connsiteX30" fmla="*/ 1055931 w 1629088"/>
                <a:gd name="connsiteY30" fmla="*/ 604715 h 1335193"/>
                <a:gd name="connsiteX31" fmla="*/ 1121162 w 1629088"/>
                <a:gd name="connsiteY31" fmla="*/ 539425 h 1335193"/>
                <a:gd name="connsiteX32" fmla="*/ 1151134 w 1629088"/>
                <a:gd name="connsiteY32" fmla="*/ 539425 h 1335193"/>
                <a:gd name="connsiteX33" fmla="*/ 1265847 w 1629088"/>
                <a:gd name="connsiteY33" fmla="*/ 654139 h 1335193"/>
                <a:gd name="connsiteX34" fmla="*/ 1272018 w 1629088"/>
                <a:gd name="connsiteY34" fmla="*/ 669066 h 1335193"/>
                <a:gd name="connsiteX35" fmla="*/ 1265847 w 1629088"/>
                <a:gd name="connsiteY35" fmla="*/ 683992 h 1335193"/>
                <a:gd name="connsiteX36" fmla="*/ 1200674 w 1629088"/>
                <a:gd name="connsiteY36" fmla="*/ 749107 h 1335193"/>
                <a:gd name="connsiteX37" fmla="*/ 1221654 w 1629088"/>
                <a:gd name="connsiteY37" fmla="*/ 800352 h 1335193"/>
                <a:gd name="connsiteX38" fmla="*/ 1314036 w 1629088"/>
                <a:gd name="connsiteY38" fmla="*/ 800352 h 1335193"/>
                <a:gd name="connsiteX39" fmla="*/ 1335193 w 1629088"/>
                <a:gd name="connsiteY39" fmla="*/ 821508 h 1335193"/>
                <a:gd name="connsiteX40" fmla="*/ 1335193 w 1629088"/>
                <a:gd name="connsiteY40" fmla="*/ 983706 h 1335193"/>
                <a:gd name="connsiteX41" fmla="*/ 1314036 w 1629088"/>
                <a:gd name="connsiteY41" fmla="*/ 1004862 h 1335193"/>
                <a:gd name="connsiteX42" fmla="*/ 1221948 w 1629088"/>
                <a:gd name="connsiteY42" fmla="*/ 1004862 h 1335193"/>
                <a:gd name="connsiteX43" fmla="*/ 1200616 w 1629088"/>
                <a:gd name="connsiteY43" fmla="*/ 1055872 h 1335193"/>
                <a:gd name="connsiteX44" fmla="*/ 1265906 w 1629088"/>
                <a:gd name="connsiteY44" fmla="*/ 1121103 h 1335193"/>
                <a:gd name="connsiteX45" fmla="*/ 1272077 w 1629088"/>
                <a:gd name="connsiteY45" fmla="*/ 1136089 h 1335193"/>
                <a:gd name="connsiteX46" fmla="*/ 1265906 w 1629088"/>
                <a:gd name="connsiteY46" fmla="*/ 1151075 h 1335193"/>
                <a:gd name="connsiteX47" fmla="*/ 1151192 w 1629088"/>
                <a:gd name="connsiteY47" fmla="*/ 1265789 h 1335193"/>
                <a:gd name="connsiteX48" fmla="*/ 1136207 w 1629088"/>
                <a:gd name="connsiteY48" fmla="*/ 1271959 h 1335193"/>
                <a:gd name="connsiteX49" fmla="*/ 1136207 w 1629088"/>
                <a:gd name="connsiteY49" fmla="*/ 1271959 h 1335193"/>
                <a:gd name="connsiteX50" fmla="*/ 1121221 w 1629088"/>
                <a:gd name="connsiteY50" fmla="*/ 1265789 h 1335193"/>
                <a:gd name="connsiteX51" fmla="*/ 1056166 w 1629088"/>
                <a:gd name="connsiteY51" fmla="*/ 1200616 h 1335193"/>
                <a:gd name="connsiteX52" fmla="*/ 1004979 w 1629088"/>
                <a:gd name="connsiteY52" fmla="*/ 1221596 h 1335193"/>
                <a:gd name="connsiteX53" fmla="*/ 1004979 w 1629088"/>
                <a:gd name="connsiteY53" fmla="*/ 1314036 h 1335193"/>
                <a:gd name="connsiteX54" fmla="*/ 983764 w 1629088"/>
                <a:gd name="connsiteY54" fmla="*/ 1335193 h 1335193"/>
                <a:gd name="connsiteX55" fmla="*/ 842723 w 1629088"/>
                <a:gd name="connsiteY55" fmla="*/ 1292880 h 1335193"/>
                <a:gd name="connsiteX56" fmla="*/ 962608 w 1629088"/>
                <a:gd name="connsiteY56" fmla="*/ 1292880 h 1335193"/>
                <a:gd name="connsiteX57" fmla="*/ 962608 w 1629088"/>
                <a:gd name="connsiteY57" fmla="*/ 1207550 h 1335193"/>
                <a:gd name="connsiteX58" fmla="*/ 975772 w 1629088"/>
                <a:gd name="connsiteY58" fmla="*/ 1187981 h 1335193"/>
                <a:gd name="connsiteX59" fmla="*/ 1053110 w 1629088"/>
                <a:gd name="connsiteY59" fmla="*/ 1156246 h 1335193"/>
                <a:gd name="connsiteX60" fmla="*/ 1076146 w 1629088"/>
                <a:gd name="connsiteY60" fmla="*/ 1160830 h 1335193"/>
                <a:gd name="connsiteX61" fmla="*/ 1136207 w 1629088"/>
                <a:gd name="connsiteY61" fmla="*/ 1221008 h 1335193"/>
                <a:gd name="connsiteX62" fmla="*/ 1221008 w 1629088"/>
                <a:gd name="connsiteY62" fmla="*/ 1136207 h 1335193"/>
                <a:gd name="connsiteX63" fmla="*/ 1160595 w 1629088"/>
                <a:gd name="connsiteY63" fmla="*/ 1075911 h 1335193"/>
                <a:gd name="connsiteX64" fmla="*/ 1156070 w 1629088"/>
                <a:gd name="connsiteY64" fmla="*/ 1052757 h 1335193"/>
                <a:gd name="connsiteX65" fmla="*/ 1188392 w 1629088"/>
                <a:gd name="connsiteY65" fmla="*/ 975654 h 1335193"/>
                <a:gd name="connsiteX66" fmla="*/ 1207903 w 1629088"/>
                <a:gd name="connsiteY66" fmla="*/ 962608 h 1335193"/>
                <a:gd name="connsiteX67" fmla="*/ 1292880 w 1629088"/>
                <a:gd name="connsiteY67" fmla="*/ 962608 h 1335193"/>
                <a:gd name="connsiteX68" fmla="*/ 1292880 w 1629088"/>
                <a:gd name="connsiteY68" fmla="*/ 842723 h 1335193"/>
                <a:gd name="connsiteX69" fmla="*/ 1207550 w 1629088"/>
                <a:gd name="connsiteY69" fmla="*/ 842723 h 1335193"/>
                <a:gd name="connsiteX70" fmla="*/ 1187981 w 1629088"/>
                <a:gd name="connsiteY70" fmla="*/ 829618 h 1335193"/>
                <a:gd name="connsiteX71" fmla="*/ 1156246 w 1629088"/>
                <a:gd name="connsiteY71" fmla="*/ 752280 h 1335193"/>
                <a:gd name="connsiteX72" fmla="*/ 1160830 w 1629088"/>
                <a:gd name="connsiteY72" fmla="*/ 729302 h 1335193"/>
                <a:gd name="connsiteX73" fmla="*/ 1221008 w 1629088"/>
                <a:gd name="connsiteY73" fmla="*/ 669183 h 1335193"/>
                <a:gd name="connsiteX74" fmla="*/ 1136207 w 1629088"/>
                <a:gd name="connsiteY74" fmla="*/ 584382 h 1335193"/>
                <a:gd name="connsiteX75" fmla="*/ 1075911 w 1629088"/>
                <a:gd name="connsiteY75" fmla="*/ 644736 h 1335193"/>
                <a:gd name="connsiteX76" fmla="*/ 1052757 w 1629088"/>
                <a:gd name="connsiteY76" fmla="*/ 649320 h 1335193"/>
                <a:gd name="connsiteX77" fmla="*/ 975654 w 1629088"/>
                <a:gd name="connsiteY77" fmla="*/ 617057 h 1335193"/>
                <a:gd name="connsiteX78" fmla="*/ 962608 w 1629088"/>
                <a:gd name="connsiteY78" fmla="*/ 597546 h 1335193"/>
                <a:gd name="connsiteX79" fmla="*/ 962608 w 1629088"/>
                <a:gd name="connsiteY79" fmla="*/ 512451 h 1335193"/>
                <a:gd name="connsiteX80" fmla="*/ 842723 w 1629088"/>
                <a:gd name="connsiteY80" fmla="*/ 512451 h 1335193"/>
                <a:gd name="connsiteX81" fmla="*/ 842723 w 1629088"/>
                <a:gd name="connsiteY81" fmla="*/ 597781 h 1335193"/>
                <a:gd name="connsiteX82" fmla="*/ 829618 w 1629088"/>
                <a:gd name="connsiteY82" fmla="*/ 617350 h 1335193"/>
                <a:gd name="connsiteX83" fmla="*/ 752280 w 1629088"/>
                <a:gd name="connsiteY83" fmla="*/ 649085 h 1335193"/>
                <a:gd name="connsiteX84" fmla="*/ 729302 w 1629088"/>
                <a:gd name="connsiteY84" fmla="*/ 644442 h 1335193"/>
                <a:gd name="connsiteX85" fmla="*/ 669183 w 1629088"/>
                <a:gd name="connsiteY85" fmla="*/ 584323 h 1335193"/>
                <a:gd name="connsiteX86" fmla="*/ 584441 w 1629088"/>
                <a:gd name="connsiteY86" fmla="*/ 669124 h 1335193"/>
                <a:gd name="connsiteX87" fmla="*/ 644795 w 1629088"/>
                <a:gd name="connsiteY87" fmla="*/ 729537 h 1335193"/>
                <a:gd name="connsiteX88" fmla="*/ 649320 w 1629088"/>
                <a:gd name="connsiteY88" fmla="*/ 752691 h 1335193"/>
                <a:gd name="connsiteX89" fmla="*/ 617057 w 1629088"/>
                <a:gd name="connsiteY89" fmla="*/ 829794 h 1335193"/>
                <a:gd name="connsiteX90" fmla="*/ 597546 w 1629088"/>
                <a:gd name="connsiteY90" fmla="*/ 842782 h 1335193"/>
                <a:gd name="connsiteX91" fmla="*/ 512451 w 1629088"/>
                <a:gd name="connsiteY91" fmla="*/ 842782 h 1335193"/>
                <a:gd name="connsiteX92" fmla="*/ 512451 w 1629088"/>
                <a:gd name="connsiteY92" fmla="*/ 962667 h 1335193"/>
                <a:gd name="connsiteX93" fmla="*/ 597781 w 1629088"/>
                <a:gd name="connsiteY93" fmla="*/ 962667 h 1335193"/>
                <a:gd name="connsiteX94" fmla="*/ 617350 w 1629088"/>
                <a:gd name="connsiteY94" fmla="*/ 975831 h 1335193"/>
                <a:gd name="connsiteX95" fmla="*/ 649085 w 1629088"/>
                <a:gd name="connsiteY95" fmla="*/ 1053169 h 1335193"/>
                <a:gd name="connsiteX96" fmla="*/ 644442 w 1629088"/>
                <a:gd name="connsiteY96" fmla="*/ 1076205 h 1335193"/>
                <a:gd name="connsiteX97" fmla="*/ 584382 w 1629088"/>
                <a:gd name="connsiteY97" fmla="*/ 1136265 h 1335193"/>
                <a:gd name="connsiteX98" fmla="*/ 669124 w 1629088"/>
                <a:gd name="connsiteY98" fmla="*/ 1221067 h 1335193"/>
                <a:gd name="connsiteX99" fmla="*/ 729537 w 1629088"/>
                <a:gd name="connsiteY99" fmla="*/ 1160654 h 1335193"/>
                <a:gd name="connsiteX100" fmla="*/ 752691 w 1629088"/>
                <a:gd name="connsiteY100" fmla="*/ 1156129 h 1335193"/>
                <a:gd name="connsiteX101" fmla="*/ 829794 w 1629088"/>
                <a:gd name="connsiteY101" fmla="*/ 1188451 h 1335193"/>
                <a:gd name="connsiteX102" fmla="*/ 842782 w 1629088"/>
                <a:gd name="connsiteY102" fmla="*/ 1207962 h 1335193"/>
                <a:gd name="connsiteX103" fmla="*/ 842723 w 1629088"/>
                <a:gd name="connsiteY103" fmla="*/ 1292880 h 1335193"/>
                <a:gd name="connsiteX104" fmla="*/ 842723 w 1629088"/>
                <a:gd name="connsiteY104" fmla="*/ 1292880 h 1335193"/>
                <a:gd name="connsiteX105" fmla="*/ 902665 w 1629088"/>
                <a:gd name="connsiteY105" fmla="*/ 1100124 h 1335193"/>
                <a:gd name="connsiteX106" fmla="*/ 705207 w 1629088"/>
                <a:gd name="connsiteY106" fmla="*/ 902665 h 1335193"/>
                <a:gd name="connsiteX107" fmla="*/ 902665 w 1629088"/>
                <a:gd name="connsiteY107" fmla="*/ 705207 h 1335193"/>
                <a:gd name="connsiteX108" fmla="*/ 1100124 w 1629088"/>
                <a:gd name="connsiteY108" fmla="*/ 902665 h 1335193"/>
                <a:gd name="connsiteX109" fmla="*/ 902665 w 1629088"/>
                <a:gd name="connsiteY109" fmla="*/ 1100124 h 1335193"/>
                <a:gd name="connsiteX110" fmla="*/ 902665 w 1629088"/>
                <a:gd name="connsiteY110" fmla="*/ 747520 h 1335193"/>
                <a:gd name="connsiteX111" fmla="*/ 747520 w 1629088"/>
                <a:gd name="connsiteY111" fmla="*/ 902665 h 1335193"/>
                <a:gd name="connsiteX112" fmla="*/ 902665 w 1629088"/>
                <a:gd name="connsiteY112" fmla="*/ 1057811 h 1335193"/>
                <a:gd name="connsiteX113" fmla="*/ 1057811 w 1629088"/>
                <a:gd name="connsiteY113" fmla="*/ 902665 h 1335193"/>
                <a:gd name="connsiteX114" fmla="*/ 902665 w 1629088"/>
                <a:gd name="connsiteY114" fmla="*/ 747520 h 1335193"/>
                <a:gd name="connsiteX115" fmla="*/ 42312 w 1629088"/>
                <a:gd name="connsiteY115" fmla="*/ 902665 h 1335193"/>
                <a:gd name="connsiteX116" fmla="*/ 0 w 1629088"/>
                <a:gd name="connsiteY116" fmla="*/ 902665 h 1335193"/>
                <a:gd name="connsiteX117" fmla="*/ 902665 w 1629088"/>
                <a:gd name="connsiteY117" fmla="*/ 0 h 1335193"/>
                <a:gd name="connsiteX118" fmla="*/ 1586717 w 1629088"/>
                <a:gd name="connsiteY118" fmla="*/ 313641 h 1335193"/>
                <a:gd name="connsiteX119" fmla="*/ 1586717 w 1629088"/>
                <a:gd name="connsiteY119" fmla="*/ 79924 h 1335193"/>
                <a:gd name="connsiteX120" fmla="*/ 1629088 w 1629088"/>
                <a:gd name="connsiteY120" fmla="*/ 79924 h 1335193"/>
                <a:gd name="connsiteX121" fmla="*/ 1629088 w 1629088"/>
                <a:gd name="connsiteY121" fmla="*/ 394916 h 1335193"/>
                <a:gd name="connsiteX122" fmla="*/ 1314036 w 1629088"/>
                <a:gd name="connsiteY122" fmla="*/ 394916 h 1335193"/>
                <a:gd name="connsiteX123" fmla="*/ 1314036 w 1629088"/>
                <a:gd name="connsiteY123" fmla="*/ 352604 h 1335193"/>
                <a:gd name="connsiteX124" fmla="*/ 1564209 w 1629088"/>
                <a:gd name="connsiteY124" fmla="*/ 352604 h 1335193"/>
                <a:gd name="connsiteX125" fmla="*/ 902665 w 1629088"/>
                <a:gd name="connsiteY125" fmla="*/ 42312 h 1335193"/>
                <a:gd name="connsiteX126" fmla="*/ 42312 w 1629088"/>
                <a:gd name="connsiteY126" fmla="*/ 902665 h 1335193"/>
                <a:gd name="connsiteX0" fmla="*/ 983764 w 1629088"/>
                <a:gd name="connsiteY0" fmla="*/ 1335193 h 1335193"/>
                <a:gd name="connsiteX1" fmla="*/ 821567 w 1629088"/>
                <a:gd name="connsiteY1" fmla="*/ 1335193 h 1335193"/>
                <a:gd name="connsiteX2" fmla="*/ 800410 w 1629088"/>
                <a:gd name="connsiteY2" fmla="*/ 1314036 h 1335193"/>
                <a:gd name="connsiteX3" fmla="*/ 800410 w 1629088"/>
                <a:gd name="connsiteY3" fmla="*/ 1221948 h 1335193"/>
                <a:gd name="connsiteX4" fmla="*/ 749342 w 1629088"/>
                <a:gd name="connsiteY4" fmla="*/ 1200616 h 1335193"/>
                <a:gd name="connsiteX5" fmla="*/ 684051 w 1629088"/>
                <a:gd name="connsiteY5" fmla="*/ 1265906 h 1335193"/>
                <a:gd name="connsiteX6" fmla="*/ 669124 w 1629088"/>
                <a:gd name="connsiteY6" fmla="*/ 1272077 h 1335193"/>
                <a:gd name="connsiteX7" fmla="*/ 669124 w 1629088"/>
                <a:gd name="connsiteY7" fmla="*/ 1272077 h 1335193"/>
                <a:gd name="connsiteX8" fmla="*/ 654197 w 1629088"/>
                <a:gd name="connsiteY8" fmla="*/ 1265906 h 1335193"/>
                <a:gd name="connsiteX9" fmla="*/ 539484 w 1629088"/>
                <a:gd name="connsiteY9" fmla="*/ 1151192 h 1335193"/>
                <a:gd name="connsiteX10" fmla="*/ 539484 w 1629088"/>
                <a:gd name="connsiteY10" fmla="*/ 1121221 h 1335193"/>
                <a:gd name="connsiteX11" fmla="*/ 604598 w 1629088"/>
                <a:gd name="connsiteY11" fmla="*/ 1056166 h 1335193"/>
                <a:gd name="connsiteX12" fmla="*/ 583618 w 1629088"/>
                <a:gd name="connsiteY12" fmla="*/ 1004979 h 1335193"/>
                <a:gd name="connsiteX13" fmla="*/ 491294 w 1629088"/>
                <a:gd name="connsiteY13" fmla="*/ 1004979 h 1335193"/>
                <a:gd name="connsiteX14" fmla="*/ 470138 w 1629088"/>
                <a:gd name="connsiteY14" fmla="*/ 983823 h 1335193"/>
                <a:gd name="connsiteX15" fmla="*/ 470138 w 1629088"/>
                <a:gd name="connsiteY15" fmla="*/ 821625 h 1335193"/>
                <a:gd name="connsiteX16" fmla="*/ 491294 w 1629088"/>
                <a:gd name="connsiteY16" fmla="*/ 800469 h 1335193"/>
                <a:gd name="connsiteX17" fmla="*/ 583383 w 1629088"/>
                <a:gd name="connsiteY17" fmla="*/ 800469 h 1335193"/>
                <a:gd name="connsiteX18" fmla="*/ 604715 w 1629088"/>
                <a:gd name="connsiteY18" fmla="*/ 749400 h 1335193"/>
                <a:gd name="connsiteX19" fmla="*/ 539484 w 1629088"/>
                <a:gd name="connsiteY19" fmla="*/ 684051 h 1335193"/>
                <a:gd name="connsiteX20" fmla="*/ 539484 w 1629088"/>
                <a:gd name="connsiteY20" fmla="*/ 654139 h 1335193"/>
                <a:gd name="connsiteX21" fmla="*/ 654139 w 1629088"/>
                <a:gd name="connsiteY21" fmla="*/ 539425 h 1335193"/>
                <a:gd name="connsiteX22" fmla="*/ 684051 w 1629088"/>
                <a:gd name="connsiteY22" fmla="*/ 539425 h 1335193"/>
                <a:gd name="connsiteX23" fmla="*/ 749165 w 1629088"/>
                <a:gd name="connsiteY23" fmla="*/ 604598 h 1335193"/>
                <a:gd name="connsiteX24" fmla="*/ 800410 w 1629088"/>
                <a:gd name="connsiteY24" fmla="*/ 583618 h 1335193"/>
                <a:gd name="connsiteX25" fmla="*/ 800410 w 1629088"/>
                <a:gd name="connsiteY25" fmla="*/ 491294 h 1335193"/>
                <a:gd name="connsiteX26" fmla="*/ 821567 w 1629088"/>
                <a:gd name="connsiteY26" fmla="*/ 470138 h 1335193"/>
                <a:gd name="connsiteX27" fmla="*/ 983764 w 1629088"/>
                <a:gd name="connsiteY27" fmla="*/ 470138 h 1335193"/>
                <a:gd name="connsiteX28" fmla="*/ 1004921 w 1629088"/>
                <a:gd name="connsiteY28" fmla="*/ 491294 h 1335193"/>
                <a:gd name="connsiteX29" fmla="*/ 1004921 w 1629088"/>
                <a:gd name="connsiteY29" fmla="*/ 583383 h 1335193"/>
                <a:gd name="connsiteX30" fmla="*/ 1055931 w 1629088"/>
                <a:gd name="connsiteY30" fmla="*/ 604715 h 1335193"/>
                <a:gd name="connsiteX31" fmla="*/ 1121162 w 1629088"/>
                <a:gd name="connsiteY31" fmla="*/ 539425 h 1335193"/>
                <a:gd name="connsiteX32" fmla="*/ 1151134 w 1629088"/>
                <a:gd name="connsiteY32" fmla="*/ 539425 h 1335193"/>
                <a:gd name="connsiteX33" fmla="*/ 1265847 w 1629088"/>
                <a:gd name="connsiteY33" fmla="*/ 654139 h 1335193"/>
                <a:gd name="connsiteX34" fmla="*/ 1272018 w 1629088"/>
                <a:gd name="connsiteY34" fmla="*/ 669066 h 1335193"/>
                <a:gd name="connsiteX35" fmla="*/ 1265847 w 1629088"/>
                <a:gd name="connsiteY35" fmla="*/ 683992 h 1335193"/>
                <a:gd name="connsiteX36" fmla="*/ 1200674 w 1629088"/>
                <a:gd name="connsiteY36" fmla="*/ 749107 h 1335193"/>
                <a:gd name="connsiteX37" fmla="*/ 1221654 w 1629088"/>
                <a:gd name="connsiteY37" fmla="*/ 800352 h 1335193"/>
                <a:gd name="connsiteX38" fmla="*/ 1314036 w 1629088"/>
                <a:gd name="connsiteY38" fmla="*/ 800352 h 1335193"/>
                <a:gd name="connsiteX39" fmla="*/ 1335193 w 1629088"/>
                <a:gd name="connsiteY39" fmla="*/ 821508 h 1335193"/>
                <a:gd name="connsiteX40" fmla="*/ 1335193 w 1629088"/>
                <a:gd name="connsiteY40" fmla="*/ 983706 h 1335193"/>
                <a:gd name="connsiteX41" fmla="*/ 1314036 w 1629088"/>
                <a:gd name="connsiteY41" fmla="*/ 1004862 h 1335193"/>
                <a:gd name="connsiteX42" fmla="*/ 1221948 w 1629088"/>
                <a:gd name="connsiteY42" fmla="*/ 1004862 h 1335193"/>
                <a:gd name="connsiteX43" fmla="*/ 1200616 w 1629088"/>
                <a:gd name="connsiteY43" fmla="*/ 1055872 h 1335193"/>
                <a:gd name="connsiteX44" fmla="*/ 1265906 w 1629088"/>
                <a:gd name="connsiteY44" fmla="*/ 1121103 h 1335193"/>
                <a:gd name="connsiteX45" fmla="*/ 1272077 w 1629088"/>
                <a:gd name="connsiteY45" fmla="*/ 1136089 h 1335193"/>
                <a:gd name="connsiteX46" fmla="*/ 1265906 w 1629088"/>
                <a:gd name="connsiteY46" fmla="*/ 1151075 h 1335193"/>
                <a:gd name="connsiteX47" fmla="*/ 1151192 w 1629088"/>
                <a:gd name="connsiteY47" fmla="*/ 1265789 h 1335193"/>
                <a:gd name="connsiteX48" fmla="*/ 1136207 w 1629088"/>
                <a:gd name="connsiteY48" fmla="*/ 1271959 h 1335193"/>
                <a:gd name="connsiteX49" fmla="*/ 1136207 w 1629088"/>
                <a:gd name="connsiteY49" fmla="*/ 1271959 h 1335193"/>
                <a:gd name="connsiteX50" fmla="*/ 1121221 w 1629088"/>
                <a:gd name="connsiteY50" fmla="*/ 1265789 h 1335193"/>
                <a:gd name="connsiteX51" fmla="*/ 1056166 w 1629088"/>
                <a:gd name="connsiteY51" fmla="*/ 1200616 h 1335193"/>
                <a:gd name="connsiteX52" fmla="*/ 1004979 w 1629088"/>
                <a:gd name="connsiteY52" fmla="*/ 1221596 h 1335193"/>
                <a:gd name="connsiteX53" fmla="*/ 1004979 w 1629088"/>
                <a:gd name="connsiteY53" fmla="*/ 1314036 h 1335193"/>
                <a:gd name="connsiteX54" fmla="*/ 983764 w 1629088"/>
                <a:gd name="connsiteY54" fmla="*/ 1335193 h 1335193"/>
                <a:gd name="connsiteX55" fmla="*/ 842723 w 1629088"/>
                <a:gd name="connsiteY55" fmla="*/ 1292880 h 1335193"/>
                <a:gd name="connsiteX56" fmla="*/ 962608 w 1629088"/>
                <a:gd name="connsiteY56" fmla="*/ 1292880 h 1335193"/>
                <a:gd name="connsiteX57" fmla="*/ 962608 w 1629088"/>
                <a:gd name="connsiteY57" fmla="*/ 1207550 h 1335193"/>
                <a:gd name="connsiteX58" fmla="*/ 975772 w 1629088"/>
                <a:gd name="connsiteY58" fmla="*/ 1187981 h 1335193"/>
                <a:gd name="connsiteX59" fmla="*/ 1053110 w 1629088"/>
                <a:gd name="connsiteY59" fmla="*/ 1156246 h 1335193"/>
                <a:gd name="connsiteX60" fmla="*/ 1076146 w 1629088"/>
                <a:gd name="connsiteY60" fmla="*/ 1160830 h 1335193"/>
                <a:gd name="connsiteX61" fmla="*/ 1136207 w 1629088"/>
                <a:gd name="connsiteY61" fmla="*/ 1221008 h 1335193"/>
                <a:gd name="connsiteX62" fmla="*/ 1221008 w 1629088"/>
                <a:gd name="connsiteY62" fmla="*/ 1136207 h 1335193"/>
                <a:gd name="connsiteX63" fmla="*/ 1160595 w 1629088"/>
                <a:gd name="connsiteY63" fmla="*/ 1075911 h 1335193"/>
                <a:gd name="connsiteX64" fmla="*/ 1156070 w 1629088"/>
                <a:gd name="connsiteY64" fmla="*/ 1052757 h 1335193"/>
                <a:gd name="connsiteX65" fmla="*/ 1188392 w 1629088"/>
                <a:gd name="connsiteY65" fmla="*/ 975654 h 1335193"/>
                <a:gd name="connsiteX66" fmla="*/ 1207903 w 1629088"/>
                <a:gd name="connsiteY66" fmla="*/ 962608 h 1335193"/>
                <a:gd name="connsiteX67" fmla="*/ 1292880 w 1629088"/>
                <a:gd name="connsiteY67" fmla="*/ 962608 h 1335193"/>
                <a:gd name="connsiteX68" fmla="*/ 1292880 w 1629088"/>
                <a:gd name="connsiteY68" fmla="*/ 842723 h 1335193"/>
                <a:gd name="connsiteX69" fmla="*/ 1207550 w 1629088"/>
                <a:gd name="connsiteY69" fmla="*/ 842723 h 1335193"/>
                <a:gd name="connsiteX70" fmla="*/ 1187981 w 1629088"/>
                <a:gd name="connsiteY70" fmla="*/ 829618 h 1335193"/>
                <a:gd name="connsiteX71" fmla="*/ 1156246 w 1629088"/>
                <a:gd name="connsiteY71" fmla="*/ 752280 h 1335193"/>
                <a:gd name="connsiteX72" fmla="*/ 1160830 w 1629088"/>
                <a:gd name="connsiteY72" fmla="*/ 729302 h 1335193"/>
                <a:gd name="connsiteX73" fmla="*/ 1221008 w 1629088"/>
                <a:gd name="connsiteY73" fmla="*/ 669183 h 1335193"/>
                <a:gd name="connsiteX74" fmla="*/ 1136207 w 1629088"/>
                <a:gd name="connsiteY74" fmla="*/ 584382 h 1335193"/>
                <a:gd name="connsiteX75" fmla="*/ 1075911 w 1629088"/>
                <a:gd name="connsiteY75" fmla="*/ 644736 h 1335193"/>
                <a:gd name="connsiteX76" fmla="*/ 1052757 w 1629088"/>
                <a:gd name="connsiteY76" fmla="*/ 649320 h 1335193"/>
                <a:gd name="connsiteX77" fmla="*/ 975654 w 1629088"/>
                <a:gd name="connsiteY77" fmla="*/ 617057 h 1335193"/>
                <a:gd name="connsiteX78" fmla="*/ 962608 w 1629088"/>
                <a:gd name="connsiteY78" fmla="*/ 597546 h 1335193"/>
                <a:gd name="connsiteX79" fmla="*/ 962608 w 1629088"/>
                <a:gd name="connsiteY79" fmla="*/ 512451 h 1335193"/>
                <a:gd name="connsiteX80" fmla="*/ 842723 w 1629088"/>
                <a:gd name="connsiteY80" fmla="*/ 512451 h 1335193"/>
                <a:gd name="connsiteX81" fmla="*/ 842723 w 1629088"/>
                <a:gd name="connsiteY81" fmla="*/ 597781 h 1335193"/>
                <a:gd name="connsiteX82" fmla="*/ 829618 w 1629088"/>
                <a:gd name="connsiteY82" fmla="*/ 617350 h 1335193"/>
                <a:gd name="connsiteX83" fmla="*/ 752280 w 1629088"/>
                <a:gd name="connsiteY83" fmla="*/ 649085 h 1335193"/>
                <a:gd name="connsiteX84" fmla="*/ 729302 w 1629088"/>
                <a:gd name="connsiteY84" fmla="*/ 644442 h 1335193"/>
                <a:gd name="connsiteX85" fmla="*/ 669183 w 1629088"/>
                <a:gd name="connsiteY85" fmla="*/ 584323 h 1335193"/>
                <a:gd name="connsiteX86" fmla="*/ 584441 w 1629088"/>
                <a:gd name="connsiteY86" fmla="*/ 669124 h 1335193"/>
                <a:gd name="connsiteX87" fmla="*/ 644795 w 1629088"/>
                <a:gd name="connsiteY87" fmla="*/ 729537 h 1335193"/>
                <a:gd name="connsiteX88" fmla="*/ 649320 w 1629088"/>
                <a:gd name="connsiteY88" fmla="*/ 752691 h 1335193"/>
                <a:gd name="connsiteX89" fmla="*/ 617057 w 1629088"/>
                <a:gd name="connsiteY89" fmla="*/ 829794 h 1335193"/>
                <a:gd name="connsiteX90" fmla="*/ 597546 w 1629088"/>
                <a:gd name="connsiteY90" fmla="*/ 842782 h 1335193"/>
                <a:gd name="connsiteX91" fmla="*/ 512451 w 1629088"/>
                <a:gd name="connsiteY91" fmla="*/ 842782 h 1335193"/>
                <a:gd name="connsiteX92" fmla="*/ 512451 w 1629088"/>
                <a:gd name="connsiteY92" fmla="*/ 962667 h 1335193"/>
                <a:gd name="connsiteX93" fmla="*/ 597781 w 1629088"/>
                <a:gd name="connsiteY93" fmla="*/ 962667 h 1335193"/>
                <a:gd name="connsiteX94" fmla="*/ 617350 w 1629088"/>
                <a:gd name="connsiteY94" fmla="*/ 975831 h 1335193"/>
                <a:gd name="connsiteX95" fmla="*/ 649085 w 1629088"/>
                <a:gd name="connsiteY95" fmla="*/ 1053169 h 1335193"/>
                <a:gd name="connsiteX96" fmla="*/ 644442 w 1629088"/>
                <a:gd name="connsiteY96" fmla="*/ 1076205 h 1335193"/>
                <a:gd name="connsiteX97" fmla="*/ 584382 w 1629088"/>
                <a:gd name="connsiteY97" fmla="*/ 1136265 h 1335193"/>
                <a:gd name="connsiteX98" fmla="*/ 669124 w 1629088"/>
                <a:gd name="connsiteY98" fmla="*/ 1221067 h 1335193"/>
                <a:gd name="connsiteX99" fmla="*/ 729537 w 1629088"/>
                <a:gd name="connsiteY99" fmla="*/ 1160654 h 1335193"/>
                <a:gd name="connsiteX100" fmla="*/ 752691 w 1629088"/>
                <a:gd name="connsiteY100" fmla="*/ 1156129 h 1335193"/>
                <a:gd name="connsiteX101" fmla="*/ 829794 w 1629088"/>
                <a:gd name="connsiteY101" fmla="*/ 1188451 h 1335193"/>
                <a:gd name="connsiteX102" fmla="*/ 842782 w 1629088"/>
                <a:gd name="connsiteY102" fmla="*/ 1207962 h 1335193"/>
                <a:gd name="connsiteX103" fmla="*/ 842723 w 1629088"/>
                <a:gd name="connsiteY103" fmla="*/ 1292880 h 1335193"/>
                <a:gd name="connsiteX104" fmla="*/ 842723 w 1629088"/>
                <a:gd name="connsiteY104" fmla="*/ 1292880 h 1335193"/>
                <a:gd name="connsiteX105" fmla="*/ 902665 w 1629088"/>
                <a:gd name="connsiteY105" fmla="*/ 1100124 h 1335193"/>
                <a:gd name="connsiteX106" fmla="*/ 705207 w 1629088"/>
                <a:gd name="connsiteY106" fmla="*/ 902665 h 1335193"/>
                <a:gd name="connsiteX107" fmla="*/ 902665 w 1629088"/>
                <a:gd name="connsiteY107" fmla="*/ 705207 h 1335193"/>
                <a:gd name="connsiteX108" fmla="*/ 1100124 w 1629088"/>
                <a:gd name="connsiteY108" fmla="*/ 902665 h 1335193"/>
                <a:gd name="connsiteX109" fmla="*/ 902665 w 1629088"/>
                <a:gd name="connsiteY109" fmla="*/ 1100124 h 1335193"/>
                <a:gd name="connsiteX110" fmla="*/ 902665 w 1629088"/>
                <a:gd name="connsiteY110" fmla="*/ 747520 h 1335193"/>
                <a:gd name="connsiteX111" fmla="*/ 747520 w 1629088"/>
                <a:gd name="connsiteY111" fmla="*/ 902665 h 1335193"/>
                <a:gd name="connsiteX112" fmla="*/ 902665 w 1629088"/>
                <a:gd name="connsiteY112" fmla="*/ 1057811 h 1335193"/>
                <a:gd name="connsiteX113" fmla="*/ 1057811 w 1629088"/>
                <a:gd name="connsiteY113" fmla="*/ 902665 h 1335193"/>
                <a:gd name="connsiteX114" fmla="*/ 902665 w 1629088"/>
                <a:gd name="connsiteY114" fmla="*/ 747520 h 1335193"/>
                <a:gd name="connsiteX115" fmla="*/ 42312 w 1629088"/>
                <a:gd name="connsiteY115" fmla="*/ 902665 h 1335193"/>
                <a:gd name="connsiteX116" fmla="*/ 0 w 1629088"/>
                <a:gd name="connsiteY116" fmla="*/ 902665 h 1335193"/>
                <a:gd name="connsiteX117" fmla="*/ 902665 w 1629088"/>
                <a:gd name="connsiteY117" fmla="*/ 0 h 1335193"/>
                <a:gd name="connsiteX118" fmla="*/ 1586717 w 1629088"/>
                <a:gd name="connsiteY118" fmla="*/ 313641 h 1335193"/>
                <a:gd name="connsiteX119" fmla="*/ 1586717 w 1629088"/>
                <a:gd name="connsiteY119" fmla="*/ 79924 h 1335193"/>
                <a:gd name="connsiteX120" fmla="*/ 1629088 w 1629088"/>
                <a:gd name="connsiteY120" fmla="*/ 79924 h 1335193"/>
                <a:gd name="connsiteX121" fmla="*/ 1629088 w 1629088"/>
                <a:gd name="connsiteY121" fmla="*/ 394916 h 1335193"/>
                <a:gd name="connsiteX122" fmla="*/ 1314036 w 1629088"/>
                <a:gd name="connsiteY122" fmla="*/ 394916 h 1335193"/>
                <a:gd name="connsiteX123" fmla="*/ 1314036 w 1629088"/>
                <a:gd name="connsiteY123" fmla="*/ 352604 h 1335193"/>
                <a:gd name="connsiteX124" fmla="*/ 1564209 w 1629088"/>
                <a:gd name="connsiteY124" fmla="*/ 352604 h 1335193"/>
                <a:gd name="connsiteX125" fmla="*/ 42312 w 1629088"/>
                <a:gd name="connsiteY125" fmla="*/ 902665 h 1335193"/>
                <a:gd name="connsiteX0" fmla="*/ 983764 w 1629088"/>
                <a:gd name="connsiteY0" fmla="*/ 1255269 h 1255269"/>
                <a:gd name="connsiteX1" fmla="*/ 821567 w 1629088"/>
                <a:gd name="connsiteY1" fmla="*/ 1255269 h 1255269"/>
                <a:gd name="connsiteX2" fmla="*/ 800410 w 1629088"/>
                <a:gd name="connsiteY2" fmla="*/ 1234112 h 1255269"/>
                <a:gd name="connsiteX3" fmla="*/ 800410 w 1629088"/>
                <a:gd name="connsiteY3" fmla="*/ 1142024 h 1255269"/>
                <a:gd name="connsiteX4" fmla="*/ 749342 w 1629088"/>
                <a:gd name="connsiteY4" fmla="*/ 1120692 h 1255269"/>
                <a:gd name="connsiteX5" fmla="*/ 684051 w 1629088"/>
                <a:gd name="connsiteY5" fmla="*/ 1185982 h 1255269"/>
                <a:gd name="connsiteX6" fmla="*/ 669124 w 1629088"/>
                <a:gd name="connsiteY6" fmla="*/ 1192153 h 1255269"/>
                <a:gd name="connsiteX7" fmla="*/ 669124 w 1629088"/>
                <a:gd name="connsiteY7" fmla="*/ 1192153 h 1255269"/>
                <a:gd name="connsiteX8" fmla="*/ 654197 w 1629088"/>
                <a:gd name="connsiteY8" fmla="*/ 1185982 h 1255269"/>
                <a:gd name="connsiteX9" fmla="*/ 539484 w 1629088"/>
                <a:gd name="connsiteY9" fmla="*/ 1071268 h 1255269"/>
                <a:gd name="connsiteX10" fmla="*/ 539484 w 1629088"/>
                <a:gd name="connsiteY10" fmla="*/ 1041297 h 1255269"/>
                <a:gd name="connsiteX11" fmla="*/ 604598 w 1629088"/>
                <a:gd name="connsiteY11" fmla="*/ 976242 h 1255269"/>
                <a:gd name="connsiteX12" fmla="*/ 583618 w 1629088"/>
                <a:gd name="connsiteY12" fmla="*/ 925055 h 1255269"/>
                <a:gd name="connsiteX13" fmla="*/ 491294 w 1629088"/>
                <a:gd name="connsiteY13" fmla="*/ 925055 h 1255269"/>
                <a:gd name="connsiteX14" fmla="*/ 470138 w 1629088"/>
                <a:gd name="connsiteY14" fmla="*/ 903899 h 1255269"/>
                <a:gd name="connsiteX15" fmla="*/ 470138 w 1629088"/>
                <a:gd name="connsiteY15" fmla="*/ 741701 h 1255269"/>
                <a:gd name="connsiteX16" fmla="*/ 491294 w 1629088"/>
                <a:gd name="connsiteY16" fmla="*/ 720545 h 1255269"/>
                <a:gd name="connsiteX17" fmla="*/ 583383 w 1629088"/>
                <a:gd name="connsiteY17" fmla="*/ 720545 h 1255269"/>
                <a:gd name="connsiteX18" fmla="*/ 604715 w 1629088"/>
                <a:gd name="connsiteY18" fmla="*/ 669476 h 1255269"/>
                <a:gd name="connsiteX19" fmla="*/ 539484 w 1629088"/>
                <a:gd name="connsiteY19" fmla="*/ 604127 h 1255269"/>
                <a:gd name="connsiteX20" fmla="*/ 539484 w 1629088"/>
                <a:gd name="connsiteY20" fmla="*/ 574215 h 1255269"/>
                <a:gd name="connsiteX21" fmla="*/ 654139 w 1629088"/>
                <a:gd name="connsiteY21" fmla="*/ 459501 h 1255269"/>
                <a:gd name="connsiteX22" fmla="*/ 684051 w 1629088"/>
                <a:gd name="connsiteY22" fmla="*/ 459501 h 1255269"/>
                <a:gd name="connsiteX23" fmla="*/ 749165 w 1629088"/>
                <a:gd name="connsiteY23" fmla="*/ 524674 h 1255269"/>
                <a:gd name="connsiteX24" fmla="*/ 800410 w 1629088"/>
                <a:gd name="connsiteY24" fmla="*/ 503694 h 1255269"/>
                <a:gd name="connsiteX25" fmla="*/ 800410 w 1629088"/>
                <a:gd name="connsiteY25" fmla="*/ 411370 h 1255269"/>
                <a:gd name="connsiteX26" fmla="*/ 821567 w 1629088"/>
                <a:gd name="connsiteY26" fmla="*/ 390214 h 1255269"/>
                <a:gd name="connsiteX27" fmla="*/ 983764 w 1629088"/>
                <a:gd name="connsiteY27" fmla="*/ 390214 h 1255269"/>
                <a:gd name="connsiteX28" fmla="*/ 1004921 w 1629088"/>
                <a:gd name="connsiteY28" fmla="*/ 411370 h 1255269"/>
                <a:gd name="connsiteX29" fmla="*/ 1004921 w 1629088"/>
                <a:gd name="connsiteY29" fmla="*/ 503459 h 1255269"/>
                <a:gd name="connsiteX30" fmla="*/ 1055931 w 1629088"/>
                <a:gd name="connsiteY30" fmla="*/ 524791 h 1255269"/>
                <a:gd name="connsiteX31" fmla="*/ 1121162 w 1629088"/>
                <a:gd name="connsiteY31" fmla="*/ 459501 h 1255269"/>
                <a:gd name="connsiteX32" fmla="*/ 1151134 w 1629088"/>
                <a:gd name="connsiteY32" fmla="*/ 459501 h 1255269"/>
                <a:gd name="connsiteX33" fmla="*/ 1265847 w 1629088"/>
                <a:gd name="connsiteY33" fmla="*/ 574215 h 1255269"/>
                <a:gd name="connsiteX34" fmla="*/ 1272018 w 1629088"/>
                <a:gd name="connsiteY34" fmla="*/ 589142 h 1255269"/>
                <a:gd name="connsiteX35" fmla="*/ 1265847 w 1629088"/>
                <a:gd name="connsiteY35" fmla="*/ 604068 h 1255269"/>
                <a:gd name="connsiteX36" fmla="*/ 1200674 w 1629088"/>
                <a:gd name="connsiteY36" fmla="*/ 669183 h 1255269"/>
                <a:gd name="connsiteX37" fmla="*/ 1221654 w 1629088"/>
                <a:gd name="connsiteY37" fmla="*/ 720428 h 1255269"/>
                <a:gd name="connsiteX38" fmla="*/ 1314036 w 1629088"/>
                <a:gd name="connsiteY38" fmla="*/ 720428 h 1255269"/>
                <a:gd name="connsiteX39" fmla="*/ 1335193 w 1629088"/>
                <a:gd name="connsiteY39" fmla="*/ 741584 h 1255269"/>
                <a:gd name="connsiteX40" fmla="*/ 1335193 w 1629088"/>
                <a:gd name="connsiteY40" fmla="*/ 903782 h 1255269"/>
                <a:gd name="connsiteX41" fmla="*/ 1314036 w 1629088"/>
                <a:gd name="connsiteY41" fmla="*/ 924938 h 1255269"/>
                <a:gd name="connsiteX42" fmla="*/ 1221948 w 1629088"/>
                <a:gd name="connsiteY42" fmla="*/ 924938 h 1255269"/>
                <a:gd name="connsiteX43" fmla="*/ 1200616 w 1629088"/>
                <a:gd name="connsiteY43" fmla="*/ 975948 h 1255269"/>
                <a:gd name="connsiteX44" fmla="*/ 1265906 w 1629088"/>
                <a:gd name="connsiteY44" fmla="*/ 1041179 h 1255269"/>
                <a:gd name="connsiteX45" fmla="*/ 1272077 w 1629088"/>
                <a:gd name="connsiteY45" fmla="*/ 1056165 h 1255269"/>
                <a:gd name="connsiteX46" fmla="*/ 1265906 w 1629088"/>
                <a:gd name="connsiteY46" fmla="*/ 1071151 h 1255269"/>
                <a:gd name="connsiteX47" fmla="*/ 1151192 w 1629088"/>
                <a:gd name="connsiteY47" fmla="*/ 1185865 h 1255269"/>
                <a:gd name="connsiteX48" fmla="*/ 1136207 w 1629088"/>
                <a:gd name="connsiteY48" fmla="*/ 1192035 h 1255269"/>
                <a:gd name="connsiteX49" fmla="*/ 1136207 w 1629088"/>
                <a:gd name="connsiteY49" fmla="*/ 1192035 h 1255269"/>
                <a:gd name="connsiteX50" fmla="*/ 1121221 w 1629088"/>
                <a:gd name="connsiteY50" fmla="*/ 1185865 h 1255269"/>
                <a:gd name="connsiteX51" fmla="*/ 1056166 w 1629088"/>
                <a:gd name="connsiteY51" fmla="*/ 1120692 h 1255269"/>
                <a:gd name="connsiteX52" fmla="*/ 1004979 w 1629088"/>
                <a:gd name="connsiteY52" fmla="*/ 1141672 h 1255269"/>
                <a:gd name="connsiteX53" fmla="*/ 1004979 w 1629088"/>
                <a:gd name="connsiteY53" fmla="*/ 1234112 h 1255269"/>
                <a:gd name="connsiteX54" fmla="*/ 983764 w 1629088"/>
                <a:gd name="connsiteY54" fmla="*/ 1255269 h 1255269"/>
                <a:gd name="connsiteX55" fmla="*/ 842723 w 1629088"/>
                <a:gd name="connsiteY55" fmla="*/ 1212956 h 1255269"/>
                <a:gd name="connsiteX56" fmla="*/ 962608 w 1629088"/>
                <a:gd name="connsiteY56" fmla="*/ 1212956 h 1255269"/>
                <a:gd name="connsiteX57" fmla="*/ 962608 w 1629088"/>
                <a:gd name="connsiteY57" fmla="*/ 1127626 h 1255269"/>
                <a:gd name="connsiteX58" fmla="*/ 975772 w 1629088"/>
                <a:gd name="connsiteY58" fmla="*/ 1108057 h 1255269"/>
                <a:gd name="connsiteX59" fmla="*/ 1053110 w 1629088"/>
                <a:gd name="connsiteY59" fmla="*/ 1076322 h 1255269"/>
                <a:gd name="connsiteX60" fmla="*/ 1076146 w 1629088"/>
                <a:gd name="connsiteY60" fmla="*/ 1080906 h 1255269"/>
                <a:gd name="connsiteX61" fmla="*/ 1136207 w 1629088"/>
                <a:gd name="connsiteY61" fmla="*/ 1141084 h 1255269"/>
                <a:gd name="connsiteX62" fmla="*/ 1221008 w 1629088"/>
                <a:gd name="connsiteY62" fmla="*/ 1056283 h 1255269"/>
                <a:gd name="connsiteX63" fmla="*/ 1160595 w 1629088"/>
                <a:gd name="connsiteY63" fmla="*/ 995987 h 1255269"/>
                <a:gd name="connsiteX64" fmla="*/ 1156070 w 1629088"/>
                <a:gd name="connsiteY64" fmla="*/ 972833 h 1255269"/>
                <a:gd name="connsiteX65" fmla="*/ 1188392 w 1629088"/>
                <a:gd name="connsiteY65" fmla="*/ 895730 h 1255269"/>
                <a:gd name="connsiteX66" fmla="*/ 1207903 w 1629088"/>
                <a:gd name="connsiteY66" fmla="*/ 882684 h 1255269"/>
                <a:gd name="connsiteX67" fmla="*/ 1292880 w 1629088"/>
                <a:gd name="connsiteY67" fmla="*/ 882684 h 1255269"/>
                <a:gd name="connsiteX68" fmla="*/ 1292880 w 1629088"/>
                <a:gd name="connsiteY68" fmla="*/ 762799 h 1255269"/>
                <a:gd name="connsiteX69" fmla="*/ 1207550 w 1629088"/>
                <a:gd name="connsiteY69" fmla="*/ 762799 h 1255269"/>
                <a:gd name="connsiteX70" fmla="*/ 1187981 w 1629088"/>
                <a:gd name="connsiteY70" fmla="*/ 749694 h 1255269"/>
                <a:gd name="connsiteX71" fmla="*/ 1156246 w 1629088"/>
                <a:gd name="connsiteY71" fmla="*/ 672356 h 1255269"/>
                <a:gd name="connsiteX72" fmla="*/ 1160830 w 1629088"/>
                <a:gd name="connsiteY72" fmla="*/ 649378 h 1255269"/>
                <a:gd name="connsiteX73" fmla="*/ 1221008 w 1629088"/>
                <a:gd name="connsiteY73" fmla="*/ 589259 h 1255269"/>
                <a:gd name="connsiteX74" fmla="*/ 1136207 w 1629088"/>
                <a:gd name="connsiteY74" fmla="*/ 504458 h 1255269"/>
                <a:gd name="connsiteX75" fmla="*/ 1075911 w 1629088"/>
                <a:gd name="connsiteY75" fmla="*/ 564812 h 1255269"/>
                <a:gd name="connsiteX76" fmla="*/ 1052757 w 1629088"/>
                <a:gd name="connsiteY76" fmla="*/ 569396 h 1255269"/>
                <a:gd name="connsiteX77" fmla="*/ 975654 w 1629088"/>
                <a:gd name="connsiteY77" fmla="*/ 537133 h 1255269"/>
                <a:gd name="connsiteX78" fmla="*/ 962608 w 1629088"/>
                <a:gd name="connsiteY78" fmla="*/ 517622 h 1255269"/>
                <a:gd name="connsiteX79" fmla="*/ 962608 w 1629088"/>
                <a:gd name="connsiteY79" fmla="*/ 432527 h 1255269"/>
                <a:gd name="connsiteX80" fmla="*/ 842723 w 1629088"/>
                <a:gd name="connsiteY80" fmla="*/ 432527 h 1255269"/>
                <a:gd name="connsiteX81" fmla="*/ 842723 w 1629088"/>
                <a:gd name="connsiteY81" fmla="*/ 517857 h 1255269"/>
                <a:gd name="connsiteX82" fmla="*/ 829618 w 1629088"/>
                <a:gd name="connsiteY82" fmla="*/ 537426 h 1255269"/>
                <a:gd name="connsiteX83" fmla="*/ 752280 w 1629088"/>
                <a:gd name="connsiteY83" fmla="*/ 569161 h 1255269"/>
                <a:gd name="connsiteX84" fmla="*/ 729302 w 1629088"/>
                <a:gd name="connsiteY84" fmla="*/ 564518 h 1255269"/>
                <a:gd name="connsiteX85" fmla="*/ 669183 w 1629088"/>
                <a:gd name="connsiteY85" fmla="*/ 504399 h 1255269"/>
                <a:gd name="connsiteX86" fmla="*/ 584441 w 1629088"/>
                <a:gd name="connsiteY86" fmla="*/ 589200 h 1255269"/>
                <a:gd name="connsiteX87" fmla="*/ 644795 w 1629088"/>
                <a:gd name="connsiteY87" fmla="*/ 649613 h 1255269"/>
                <a:gd name="connsiteX88" fmla="*/ 649320 w 1629088"/>
                <a:gd name="connsiteY88" fmla="*/ 672767 h 1255269"/>
                <a:gd name="connsiteX89" fmla="*/ 617057 w 1629088"/>
                <a:gd name="connsiteY89" fmla="*/ 749870 h 1255269"/>
                <a:gd name="connsiteX90" fmla="*/ 597546 w 1629088"/>
                <a:gd name="connsiteY90" fmla="*/ 762858 h 1255269"/>
                <a:gd name="connsiteX91" fmla="*/ 512451 w 1629088"/>
                <a:gd name="connsiteY91" fmla="*/ 762858 h 1255269"/>
                <a:gd name="connsiteX92" fmla="*/ 512451 w 1629088"/>
                <a:gd name="connsiteY92" fmla="*/ 882743 h 1255269"/>
                <a:gd name="connsiteX93" fmla="*/ 597781 w 1629088"/>
                <a:gd name="connsiteY93" fmla="*/ 882743 h 1255269"/>
                <a:gd name="connsiteX94" fmla="*/ 617350 w 1629088"/>
                <a:gd name="connsiteY94" fmla="*/ 895907 h 1255269"/>
                <a:gd name="connsiteX95" fmla="*/ 649085 w 1629088"/>
                <a:gd name="connsiteY95" fmla="*/ 973245 h 1255269"/>
                <a:gd name="connsiteX96" fmla="*/ 644442 w 1629088"/>
                <a:gd name="connsiteY96" fmla="*/ 996281 h 1255269"/>
                <a:gd name="connsiteX97" fmla="*/ 584382 w 1629088"/>
                <a:gd name="connsiteY97" fmla="*/ 1056341 h 1255269"/>
                <a:gd name="connsiteX98" fmla="*/ 669124 w 1629088"/>
                <a:gd name="connsiteY98" fmla="*/ 1141143 h 1255269"/>
                <a:gd name="connsiteX99" fmla="*/ 729537 w 1629088"/>
                <a:gd name="connsiteY99" fmla="*/ 1080730 h 1255269"/>
                <a:gd name="connsiteX100" fmla="*/ 752691 w 1629088"/>
                <a:gd name="connsiteY100" fmla="*/ 1076205 h 1255269"/>
                <a:gd name="connsiteX101" fmla="*/ 829794 w 1629088"/>
                <a:gd name="connsiteY101" fmla="*/ 1108527 h 1255269"/>
                <a:gd name="connsiteX102" fmla="*/ 842782 w 1629088"/>
                <a:gd name="connsiteY102" fmla="*/ 1128038 h 1255269"/>
                <a:gd name="connsiteX103" fmla="*/ 842723 w 1629088"/>
                <a:gd name="connsiteY103" fmla="*/ 1212956 h 1255269"/>
                <a:gd name="connsiteX104" fmla="*/ 842723 w 1629088"/>
                <a:gd name="connsiteY104" fmla="*/ 1212956 h 1255269"/>
                <a:gd name="connsiteX105" fmla="*/ 902665 w 1629088"/>
                <a:gd name="connsiteY105" fmla="*/ 1020200 h 1255269"/>
                <a:gd name="connsiteX106" fmla="*/ 705207 w 1629088"/>
                <a:gd name="connsiteY106" fmla="*/ 822741 h 1255269"/>
                <a:gd name="connsiteX107" fmla="*/ 902665 w 1629088"/>
                <a:gd name="connsiteY107" fmla="*/ 625283 h 1255269"/>
                <a:gd name="connsiteX108" fmla="*/ 1100124 w 1629088"/>
                <a:gd name="connsiteY108" fmla="*/ 822741 h 1255269"/>
                <a:gd name="connsiteX109" fmla="*/ 902665 w 1629088"/>
                <a:gd name="connsiteY109" fmla="*/ 1020200 h 1255269"/>
                <a:gd name="connsiteX110" fmla="*/ 902665 w 1629088"/>
                <a:gd name="connsiteY110" fmla="*/ 667596 h 1255269"/>
                <a:gd name="connsiteX111" fmla="*/ 747520 w 1629088"/>
                <a:gd name="connsiteY111" fmla="*/ 822741 h 1255269"/>
                <a:gd name="connsiteX112" fmla="*/ 902665 w 1629088"/>
                <a:gd name="connsiteY112" fmla="*/ 977887 h 1255269"/>
                <a:gd name="connsiteX113" fmla="*/ 1057811 w 1629088"/>
                <a:gd name="connsiteY113" fmla="*/ 822741 h 1255269"/>
                <a:gd name="connsiteX114" fmla="*/ 902665 w 1629088"/>
                <a:gd name="connsiteY114" fmla="*/ 667596 h 1255269"/>
                <a:gd name="connsiteX115" fmla="*/ 42312 w 1629088"/>
                <a:gd name="connsiteY115" fmla="*/ 822741 h 1255269"/>
                <a:gd name="connsiteX116" fmla="*/ 0 w 1629088"/>
                <a:gd name="connsiteY116" fmla="*/ 822741 h 1255269"/>
                <a:gd name="connsiteX117" fmla="*/ 1586717 w 1629088"/>
                <a:gd name="connsiteY117" fmla="*/ 233717 h 1255269"/>
                <a:gd name="connsiteX118" fmla="*/ 1586717 w 1629088"/>
                <a:gd name="connsiteY118" fmla="*/ 0 h 1255269"/>
                <a:gd name="connsiteX119" fmla="*/ 1629088 w 1629088"/>
                <a:gd name="connsiteY119" fmla="*/ 0 h 1255269"/>
                <a:gd name="connsiteX120" fmla="*/ 1629088 w 1629088"/>
                <a:gd name="connsiteY120" fmla="*/ 314992 h 1255269"/>
                <a:gd name="connsiteX121" fmla="*/ 1314036 w 1629088"/>
                <a:gd name="connsiteY121" fmla="*/ 314992 h 1255269"/>
                <a:gd name="connsiteX122" fmla="*/ 1314036 w 1629088"/>
                <a:gd name="connsiteY122" fmla="*/ 272680 h 1255269"/>
                <a:gd name="connsiteX123" fmla="*/ 1564209 w 1629088"/>
                <a:gd name="connsiteY123" fmla="*/ 272680 h 1255269"/>
                <a:gd name="connsiteX124" fmla="*/ 42312 w 1629088"/>
                <a:gd name="connsiteY124" fmla="*/ 822741 h 1255269"/>
                <a:gd name="connsiteX0" fmla="*/ 983764 w 1629088"/>
                <a:gd name="connsiteY0" fmla="*/ 1255269 h 1255269"/>
                <a:gd name="connsiteX1" fmla="*/ 821567 w 1629088"/>
                <a:gd name="connsiteY1" fmla="*/ 1255269 h 1255269"/>
                <a:gd name="connsiteX2" fmla="*/ 800410 w 1629088"/>
                <a:gd name="connsiteY2" fmla="*/ 1234112 h 1255269"/>
                <a:gd name="connsiteX3" fmla="*/ 800410 w 1629088"/>
                <a:gd name="connsiteY3" fmla="*/ 1142024 h 1255269"/>
                <a:gd name="connsiteX4" fmla="*/ 749342 w 1629088"/>
                <a:gd name="connsiteY4" fmla="*/ 1120692 h 1255269"/>
                <a:gd name="connsiteX5" fmla="*/ 684051 w 1629088"/>
                <a:gd name="connsiteY5" fmla="*/ 1185982 h 1255269"/>
                <a:gd name="connsiteX6" fmla="*/ 669124 w 1629088"/>
                <a:gd name="connsiteY6" fmla="*/ 1192153 h 1255269"/>
                <a:gd name="connsiteX7" fmla="*/ 669124 w 1629088"/>
                <a:gd name="connsiteY7" fmla="*/ 1192153 h 1255269"/>
                <a:gd name="connsiteX8" fmla="*/ 654197 w 1629088"/>
                <a:gd name="connsiteY8" fmla="*/ 1185982 h 1255269"/>
                <a:gd name="connsiteX9" fmla="*/ 539484 w 1629088"/>
                <a:gd name="connsiteY9" fmla="*/ 1071268 h 1255269"/>
                <a:gd name="connsiteX10" fmla="*/ 539484 w 1629088"/>
                <a:gd name="connsiteY10" fmla="*/ 1041297 h 1255269"/>
                <a:gd name="connsiteX11" fmla="*/ 604598 w 1629088"/>
                <a:gd name="connsiteY11" fmla="*/ 976242 h 1255269"/>
                <a:gd name="connsiteX12" fmla="*/ 583618 w 1629088"/>
                <a:gd name="connsiteY12" fmla="*/ 925055 h 1255269"/>
                <a:gd name="connsiteX13" fmla="*/ 491294 w 1629088"/>
                <a:gd name="connsiteY13" fmla="*/ 925055 h 1255269"/>
                <a:gd name="connsiteX14" fmla="*/ 470138 w 1629088"/>
                <a:gd name="connsiteY14" fmla="*/ 903899 h 1255269"/>
                <a:gd name="connsiteX15" fmla="*/ 470138 w 1629088"/>
                <a:gd name="connsiteY15" fmla="*/ 741701 h 1255269"/>
                <a:gd name="connsiteX16" fmla="*/ 491294 w 1629088"/>
                <a:gd name="connsiteY16" fmla="*/ 720545 h 1255269"/>
                <a:gd name="connsiteX17" fmla="*/ 583383 w 1629088"/>
                <a:gd name="connsiteY17" fmla="*/ 720545 h 1255269"/>
                <a:gd name="connsiteX18" fmla="*/ 604715 w 1629088"/>
                <a:gd name="connsiteY18" fmla="*/ 669476 h 1255269"/>
                <a:gd name="connsiteX19" fmla="*/ 539484 w 1629088"/>
                <a:gd name="connsiteY19" fmla="*/ 604127 h 1255269"/>
                <a:gd name="connsiteX20" fmla="*/ 539484 w 1629088"/>
                <a:gd name="connsiteY20" fmla="*/ 574215 h 1255269"/>
                <a:gd name="connsiteX21" fmla="*/ 654139 w 1629088"/>
                <a:gd name="connsiteY21" fmla="*/ 459501 h 1255269"/>
                <a:gd name="connsiteX22" fmla="*/ 684051 w 1629088"/>
                <a:gd name="connsiteY22" fmla="*/ 459501 h 1255269"/>
                <a:gd name="connsiteX23" fmla="*/ 749165 w 1629088"/>
                <a:gd name="connsiteY23" fmla="*/ 524674 h 1255269"/>
                <a:gd name="connsiteX24" fmla="*/ 800410 w 1629088"/>
                <a:gd name="connsiteY24" fmla="*/ 503694 h 1255269"/>
                <a:gd name="connsiteX25" fmla="*/ 800410 w 1629088"/>
                <a:gd name="connsiteY25" fmla="*/ 411370 h 1255269"/>
                <a:gd name="connsiteX26" fmla="*/ 821567 w 1629088"/>
                <a:gd name="connsiteY26" fmla="*/ 390214 h 1255269"/>
                <a:gd name="connsiteX27" fmla="*/ 983764 w 1629088"/>
                <a:gd name="connsiteY27" fmla="*/ 390214 h 1255269"/>
                <a:gd name="connsiteX28" fmla="*/ 1004921 w 1629088"/>
                <a:gd name="connsiteY28" fmla="*/ 411370 h 1255269"/>
                <a:gd name="connsiteX29" fmla="*/ 1004921 w 1629088"/>
                <a:gd name="connsiteY29" fmla="*/ 503459 h 1255269"/>
                <a:gd name="connsiteX30" fmla="*/ 1055931 w 1629088"/>
                <a:gd name="connsiteY30" fmla="*/ 524791 h 1255269"/>
                <a:gd name="connsiteX31" fmla="*/ 1121162 w 1629088"/>
                <a:gd name="connsiteY31" fmla="*/ 459501 h 1255269"/>
                <a:gd name="connsiteX32" fmla="*/ 1151134 w 1629088"/>
                <a:gd name="connsiteY32" fmla="*/ 459501 h 1255269"/>
                <a:gd name="connsiteX33" fmla="*/ 1265847 w 1629088"/>
                <a:gd name="connsiteY33" fmla="*/ 574215 h 1255269"/>
                <a:gd name="connsiteX34" fmla="*/ 1272018 w 1629088"/>
                <a:gd name="connsiteY34" fmla="*/ 589142 h 1255269"/>
                <a:gd name="connsiteX35" fmla="*/ 1265847 w 1629088"/>
                <a:gd name="connsiteY35" fmla="*/ 604068 h 1255269"/>
                <a:gd name="connsiteX36" fmla="*/ 1200674 w 1629088"/>
                <a:gd name="connsiteY36" fmla="*/ 669183 h 1255269"/>
                <a:gd name="connsiteX37" fmla="*/ 1221654 w 1629088"/>
                <a:gd name="connsiteY37" fmla="*/ 720428 h 1255269"/>
                <a:gd name="connsiteX38" fmla="*/ 1314036 w 1629088"/>
                <a:gd name="connsiteY38" fmla="*/ 720428 h 1255269"/>
                <a:gd name="connsiteX39" fmla="*/ 1335193 w 1629088"/>
                <a:gd name="connsiteY39" fmla="*/ 741584 h 1255269"/>
                <a:gd name="connsiteX40" fmla="*/ 1335193 w 1629088"/>
                <a:gd name="connsiteY40" fmla="*/ 903782 h 1255269"/>
                <a:gd name="connsiteX41" fmla="*/ 1314036 w 1629088"/>
                <a:gd name="connsiteY41" fmla="*/ 924938 h 1255269"/>
                <a:gd name="connsiteX42" fmla="*/ 1221948 w 1629088"/>
                <a:gd name="connsiteY42" fmla="*/ 924938 h 1255269"/>
                <a:gd name="connsiteX43" fmla="*/ 1200616 w 1629088"/>
                <a:gd name="connsiteY43" fmla="*/ 975948 h 1255269"/>
                <a:gd name="connsiteX44" fmla="*/ 1265906 w 1629088"/>
                <a:gd name="connsiteY44" fmla="*/ 1041179 h 1255269"/>
                <a:gd name="connsiteX45" fmla="*/ 1272077 w 1629088"/>
                <a:gd name="connsiteY45" fmla="*/ 1056165 h 1255269"/>
                <a:gd name="connsiteX46" fmla="*/ 1265906 w 1629088"/>
                <a:gd name="connsiteY46" fmla="*/ 1071151 h 1255269"/>
                <a:gd name="connsiteX47" fmla="*/ 1151192 w 1629088"/>
                <a:gd name="connsiteY47" fmla="*/ 1185865 h 1255269"/>
                <a:gd name="connsiteX48" fmla="*/ 1136207 w 1629088"/>
                <a:gd name="connsiteY48" fmla="*/ 1192035 h 1255269"/>
                <a:gd name="connsiteX49" fmla="*/ 1136207 w 1629088"/>
                <a:gd name="connsiteY49" fmla="*/ 1192035 h 1255269"/>
                <a:gd name="connsiteX50" fmla="*/ 1121221 w 1629088"/>
                <a:gd name="connsiteY50" fmla="*/ 1185865 h 1255269"/>
                <a:gd name="connsiteX51" fmla="*/ 1056166 w 1629088"/>
                <a:gd name="connsiteY51" fmla="*/ 1120692 h 1255269"/>
                <a:gd name="connsiteX52" fmla="*/ 1004979 w 1629088"/>
                <a:gd name="connsiteY52" fmla="*/ 1141672 h 1255269"/>
                <a:gd name="connsiteX53" fmla="*/ 1004979 w 1629088"/>
                <a:gd name="connsiteY53" fmla="*/ 1234112 h 1255269"/>
                <a:gd name="connsiteX54" fmla="*/ 983764 w 1629088"/>
                <a:gd name="connsiteY54" fmla="*/ 1255269 h 1255269"/>
                <a:gd name="connsiteX55" fmla="*/ 842723 w 1629088"/>
                <a:gd name="connsiteY55" fmla="*/ 1212956 h 1255269"/>
                <a:gd name="connsiteX56" fmla="*/ 962608 w 1629088"/>
                <a:gd name="connsiteY56" fmla="*/ 1212956 h 1255269"/>
                <a:gd name="connsiteX57" fmla="*/ 962608 w 1629088"/>
                <a:gd name="connsiteY57" fmla="*/ 1127626 h 1255269"/>
                <a:gd name="connsiteX58" fmla="*/ 975772 w 1629088"/>
                <a:gd name="connsiteY58" fmla="*/ 1108057 h 1255269"/>
                <a:gd name="connsiteX59" fmla="*/ 1053110 w 1629088"/>
                <a:gd name="connsiteY59" fmla="*/ 1076322 h 1255269"/>
                <a:gd name="connsiteX60" fmla="*/ 1076146 w 1629088"/>
                <a:gd name="connsiteY60" fmla="*/ 1080906 h 1255269"/>
                <a:gd name="connsiteX61" fmla="*/ 1136207 w 1629088"/>
                <a:gd name="connsiteY61" fmla="*/ 1141084 h 1255269"/>
                <a:gd name="connsiteX62" fmla="*/ 1221008 w 1629088"/>
                <a:gd name="connsiteY62" fmla="*/ 1056283 h 1255269"/>
                <a:gd name="connsiteX63" fmla="*/ 1160595 w 1629088"/>
                <a:gd name="connsiteY63" fmla="*/ 995987 h 1255269"/>
                <a:gd name="connsiteX64" fmla="*/ 1156070 w 1629088"/>
                <a:gd name="connsiteY64" fmla="*/ 972833 h 1255269"/>
                <a:gd name="connsiteX65" fmla="*/ 1188392 w 1629088"/>
                <a:gd name="connsiteY65" fmla="*/ 895730 h 1255269"/>
                <a:gd name="connsiteX66" fmla="*/ 1207903 w 1629088"/>
                <a:gd name="connsiteY66" fmla="*/ 882684 h 1255269"/>
                <a:gd name="connsiteX67" fmla="*/ 1292880 w 1629088"/>
                <a:gd name="connsiteY67" fmla="*/ 882684 h 1255269"/>
                <a:gd name="connsiteX68" fmla="*/ 1292880 w 1629088"/>
                <a:gd name="connsiteY68" fmla="*/ 762799 h 1255269"/>
                <a:gd name="connsiteX69" fmla="*/ 1207550 w 1629088"/>
                <a:gd name="connsiteY69" fmla="*/ 762799 h 1255269"/>
                <a:gd name="connsiteX70" fmla="*/ 1187981 w 1629088"/>
                <a:gd name="connsiteY70" fmla="*/ 749694 h 1255269"/>
                <a:gd name="connsiteX71" fmla="*/ 1156246 w 1629088"/>
                <a:gd name="connsiteY71" fmla="*/ 672356 h 1255269"/>
                <a:gd name="connsiteX72" fmla="*/ 1160830 w 1629088"/>
                <a:gd name="connsiteY72" fmla="*/ 649378 h 1255269"/>
                <a:gd name="connsiteX73" fmla="*/ 1221008 w 1629088"/>
                <a:gd name="connsiteY73" fmla="*/ 589259 h 1255269"/>
                <a:gd name="connsiteX74" fmla="*/ 1136207 w 1629088"/>
                <a:gd name="connsiteY74" fmla="*/ 504458 h 1255269"/>
                <a:gd name="connsiteX75" fmla="*/ 1075911 w 1629088"/>
                <a:gd name="connsiteY75" fmla="*/ 564812 h 1255269"/>
                <a:gd name="connsiteX76" fmla="*/ 1052757 w 1629088"/>
                <a:gd name="connsiteY76" fmla="*/ 569396 h 1255269"/>
                <a:gd name="connsiteX77" fmla="*/ 975654 w 1629088"/>
                <a:gd name="connsiteY77" fmla="*/ 537133 h 1255269"/>
                <a:gd name="connsiteX78" fmla="*/ 962608 w 1629088"/>
                <a:gd name="connsiteY78" fmla="*/ 517622 h 1255269"/>
                <a:gd name="connsiteX79" fmla="*/ 962608 w 1629088"/>
                <a:gd name="connsiteY79" fmla="*/ 432527 h 1255269"/>
                <a:gd name="connsiteX80" fmla="*/ 842723 w 1629088"/>
                <a:gd name="connsiteY80" fmla="*/ 432527 h 1255269"/>
                <a:gd name="connsiteX81" fmla="*/ 842723 w 1629088"/>
                <a:gd name="connsiteY81" fmla="*/ 517857 h 1255269"/>
                <a:gd name="connsiteX82" fmla="*/ 829618 w 1629088"/>
                <a:gd name="connsiteY82" fmla="*/ 537426 h 1255269"/>
                <a:gd name="connsiteX83" fmla="*/ 752280 w 1629088"/>
                <a:gd name="connsiteY83" fmla="*/ 569161 h 1255269"/>
                <a:gd name="connsiteX84" fmla="*/ 729302 w 1629088"/>
                <a:gd name="connsiteY84" fmla="*/ 564518 h 1255269"/>
                <a:gd name="connsiteX85" fmla="*/ 669183 w 1629088"/>
                <a:gd name="connsiteY85" fmla="*/ 504399 h 1255269"/>
                <a:gd name="connsiteX86" fmla="*/ 584441 w 1629088"/>
                <a:gd name="connsiteY86" fmla="*/ 589200 h 1255269"/>
                <a:gd name="connsiteX87" fmla="*/ 644795 w 1629088"/>
                <a:gd name="connsiteY87" fmla="*/ 649613 h 1255269"/>
                <a:gd name="connsiteX88" fmla="*/ 649320 w 1629088"/>
                <a:gd name="connsiteY88" fmla="*/ 672767 h 1255269"/>
                <a:gd name="connsiteX89" fmla="*/ 617057 w 1629088"/>
                <a:gd name="connsiteY89" fmla="*/ 749870 h 1255269"/>
                <a:gd name="connsiteX90" fmla="*/ 597546 w 1629088"/>
                <a:gd name="connsiteY90" fmla="*/ 762858 h 1255269"/>
                <a:gd name="connsiteX91" fmla="*/ 512451 w 1629088"/>
                <a:gd name="connsiteY91" fmla="*/ 762858 h 1255269"/>
                <a:gd name="connsiteX92" fmla="*/ 512451 w 1629088"/>
                <a:gd name="connsiteY92" fmla="*/ 882743 h 1255269"/>
                <a:gd name="connsiteX93" fmla="*/ 597781 w 1629088"/>
                <a:gd name="connsiteY93" fmla="*/ 882743 h 1255269"/>
                <a:gd name="connsiteX94" fmla="*/ 617350 w 1629088"/>
                <a:gd name="connsiteY94" fmla="*/ 895907 h 1255269"/>
                <a:gd name="connsiteX95" fmla="*/ 649085 w 1629088"/>
                <a:gd name="connsiteY95" fmla="*/ 973245 h 1255269"/>
                <a:gd name="connsiteX96" fmla="*/ 644442 w 1629088"/>
                <a:gd name="connsiteY96" fmla="*/ 996281 h 1255269"/>
                <a:gd name="connsiteX97" fmla="*/ 584382 w 1629088"/>
                <a:gd name="connsiteY97" fmla="*/ 1056341 h 1255269"/>
                <a:gd name="connsiteX98" fmla="*/ 669124 w 1629088"/>
                <a:gd name="connsiteY98" fmla="*/ 1141143 h 1255269"/>
                <a:gd name="connsiteX99" fmla="*/ 729537 w 1629088"/>
                <a:gd name="connsiteY99" fmla="*/ 1080730 h 1255269"/>
                <a:gd name="connsiteX100" fmla="*/ 752691 w 1629088"/>
                <a:gd name="connsiteY100" fmla="*/ 1076205 h 1255269"/>
                <a:gd name="connsiteX101" fmla="*/ 829794 w 1629088"/>
                <a:gd name="connsiteY101" fmla="*/ 1108527 h 1255269"/>
                <a:gd name="connsiteX102" fmla="*/ 842782 w 1629088"/>
                <a:gd name="connsiteY102" fmla="*/ 1128038 h 1255269"/>
                <a:gd name="connsiteX103" fmla="*/ 842723 w 1629088"/>
                <a:gd name="connsiteY103" fmla="*/ 1212956 h 1255269"/>
                <a:gd name="connsiteX104" fmla="*/ 842723 w 1629088"/>
                <a:gd name="connsiteY104" fmla="*/ 1212956 h 1255269"/>
                <a:gd name="connsiteX105" fmla="*/ 902665 w 1629088"/>
                <a:gd name="connsiteY105" fmla="*/ 1020200 h 1255269"/>
                <a:gd name="connsiteX106" fmla="*/ 705207 w 1629088"/>
                <a:gd name="connsiteY106" fmla="*/ 822741 h 1255269"/>
                <a:gd name="connsiteX107" fmla="*/ 902665 w 1629088"/>
                <a:gd name="connsiteY107" fmla="*/ 625283 h 1255269"/>
                <a:gd name="connsiteX108" fmla="*/ 1100124 w 1629088"/>
                <a:gd name="connsiteY108" fmla="*/ 822741 h 1255269"/>
                <a:gd name="connsiteX109" fmla="*/ 902665 w 1629088"/>
                <a:gd name="connsiteY109" fmla="*/ 1020200 h 1255269"/>
                <a:gd name="connsiteX110" fmla="*/ 902665 w 1629088"/>
                <a:gd name="connsiteY110" fmla="*/ 667596 h 1255269"/>
                <a:gd name="connsiteX111" fmla="*/ 747520 w 1629088"/>
                <a:gd name="connsiteY111" fmla="*/ 822741 h 1255269"/>
                <a:gd name="connsiteX112" fmla="*/ 902665 w 1629088"/>
                <a:gd name="connsiteY112" fmla="*/ 977887 h 1255269"/>
                <a:gd name="connsiteX113" fmla="*/ 1057811 w 1629088"/>
                <a:gd name="connsiteY113" fmla="*/ 822741 h 1255269"/>
                <a:gd name="connsiteX114" fmla="*/ 902665 w 1629088"/>
                <a:gd name="connsiteY114" fmla="*/ 667596 h 1255269"/>
                <a:gd name="connsiteX115" fmla="*/ 42312 w 1629088"/>
                <a:gd name="connsiteY115" fmla="*/ 822741 h 1255269"/>
                <a:gd name="connsiteX116" fmla="*/ 0 w 1629088"/>
                <a:gd name="connsiteY116" fmla="*/ 822741 h 1255269"/>
                <a:gd name="connsiteX117" fmla="*/ 1586717 w 1629088"/>
                <a:gd name="connsiteY117" fmla="*/ 233717 h 1255269"/>
                <a:gd name="connsiteX118" fmla="*/ 1586717 w 1629088"/>
                <a:gd name="connsiteY118" fmla="*/ 0 h 1255269"/>
                <a:gd name="connsiteX119" fmla="*/ 1629088 w 1629088"/>
                <a:gd name="connsiteY119" fmla="*/ 0 h 1255269"/>
                <a:gd name="connsiteX120" fmla="*/ 1629088 w 1629088"/>
                <a:gd name="connsiteY120" fmla="*/ 314992 h 1255269"/>
                <a:gd name="connsiteX121" fmla="*/ 1314036 w 1629088"/>
                <a:gd name="connsiteY121" fmla="*/ 314992 h 1255269"/>
                <a:gd name="connsiteX122" fmla="*/ 1564209 w 1629088"/>
                <a:gd name="connsiteY122" fmla="*/ 272680 h 1255269"/>
                <a:gd name="connsiteX123" fmla="*/ 42312 w 1629088"/>
                <a:gd name="connsiteY123" fmla="*/ 822741 h 1255269"/>
                <a:gd name="connsiteX0" fmla="*/ 983764 w 1629088"/>
                <a:gd name="connsiteY0" fmla="*/ 1255269 h 1255269"/>
                <a:gd name="connsiteX1" fmla="*/ 821567 w 1629088"/>
                <a:gd name="connsiteY1" fmla="*/ 1255269 h 1255269"/>
                <a:gd name="connsiteX2" fmla="*/ 800410 w 1629088"/>
                <a:gd name="connsiteY2" fmla="*/ 1234112 h 1255269"/>
                <a:gd name="connsiteX3" fmla="*/ 800410 w 1629088"/>
                <a:gd name="connsiteY3" fmla="*/ 1142024 h 1255269"/>
                <a:gd name="connsiteX4" fmla="*/ 749342 w 1629088"/>
                <a:gd name="connsiteY4" fmla="*/ 1120692 h 1255269"/>
                <a:gd name="connsiteX5" fmla="*/ 684051 w 1629088"/>
                <a:gd name="connsiteY5" fmla="*/ 1185982 h 1255269"/>
                <a:gd name="connsiteX6" fmla="*/ 669124 w 1629088"/>
                <a:gd name="connsiteY6" fmla="*/ 1192153 h 1255269"/>
                <a:gd name="connsiteX7" fmla="*/ 669124 w 1629088"/>
                <a:gd name="connsiteY7" fmla="*/ 1192153 h 1255269"/>
                <a:gd name="connsiteX8" fmla="*/ 654197 w 1629088"/>
                <a:gd name="connsiteY8" fmla="*/ 1185982 h 1255269"/>
                <a:gd name="connsiteX9" fmla="*/ 539484 w 1629088"/>
                <a:gd name="connsiteY9" fmla="*/ 1071268 h 1255269"/>
                <a:gd name="connsiteX10" fmla="*/ 539484 w 1629088"/>
                <a:gd name="connsiteY10" fmla="*/ 1041297 h 1255269"/>
                <a:gd name="connsiteX11" fmla="*/ 604598 w 1629088"/>
                <a:gd name="connsiteY11" fmla="*/ 976242 h 1255269"/>
                <a:gd name="connsiteX12" fmla="*/ 583618 w 1629088"/>
                <a:gd name="connsiteY12" fmla="*/ 925055 h 1255269"/>
                <a:gd name="connsiteX13" fmla="*/ 491294 w 1629088"/>
                <a:gd name="connsiteY13" fmla="*/ 925055 h 1255269"/>
                <a:gd name="connsiteX14" fmla="*/ 470138 w 1629088"/>
                <a:gd name="connsiteY14" fmla="*/ 903899 h 1255269"/>
                <a:gd name="connsiteX15" fmla="*/ 470138 w 1629088"/>
                <a:gd name="connsiteY15" fmla="*/ 741701 h 1255269"/>
                <a:gd name="connsiteX16" fmla="*/ 491294 w 1629088"/>
                <a:gd name="connsiteY16" fmla="*/ 720545 h 1255269"/>
                <a:gd name="connsiteX17" fmla="*/ 583383 w 1629088"/>
                <a:gd name="connsiteY17" fmla="*/ 720545 h 1255269"/>
                <a:gd name="connsiteX18" fmla="*/ 604715 w 1629088"/>
                <a:gd name="connsiteY18" fmla="*/ 669476 h 1255269"/>
                <a:gd name="connsiteX19" fmla="*/ 539484 w 1629088"/>
                <a:gd name="connsiteY19" fmla="*/ 604127 h 1255269"/>
                <a:gd name="connsiteX20" fmla="*/ 539484 w 1629088"/>
                <a:gd name="connsiteY20" fmla="*/ 574215 h 1255269"/>
                <a:gd name="connsiteX21" fmla="*/ 654139 w 1629088"/>
                <a:gd name="connsiteY21" fmla="*/ 459501 h 1255269"/>
                <a:gd name="connsiteX22" fmla="*/ 684051 w 1629088"/>
                <a:gd name="connsiteY22" fmla="*/ 459501 h 1255269"/>
                <a:gd name="connsiteX23" fmla="*/ 749165 w 1629088"/>
                <a:gd name="connsiteY23" fmla="*/ 524674 h 1255269"/>
                <a:gd name="connsiteX24" fmla="*/ 800410 w 1629088"/>
                <a:gd name="connsiteY24" fmla="*/ 503694 h 1255269"/>
                <a:gd name="connsiteX25" fmla="*/ 800410 w 1629088"/>
                <a:gd name="connsiteY25" fmla="*/ 411370 h 1255269"/>
                <a:gd name="connsiteX26" fmla="*/ 821567 w 1629088"/>
                <a:gd name="connsiteY26" fmla="*/ 390214 h 1255269"/>
                <a:gd name="connsiteX27" fmla="*/ 983764 w 1629088"/>
                <a:gd name="connsiteY27" fmla="*/ 390214 h 1255269"/>
                <a:gd name="connsiteX28" fmla="*/ 1004921 w 1629088"/>
                <a:gd name="connsiteY28" fmla="*/ 411370 h 1255269"/>
                <a:gd name="connsiteX29" fmla="*/ 1004921 w 1629088"/>
                <a:gd name="connsiteY29" fmla="*/ 503459 h 1255269"/>
                <a:gd name="connsiteX30" fmla="*/ 1055931 w 1629088"/>
                <a:gd name="connsiteY30" fmla="*/ 524791 h 1255269"/>
                <a:gd name="connsiteX31" fmla="*/ 1121162 w 1629088"/>
                <a:gd name="connsiteY31" fmla="*/ 459501 h 1255269"/>
                <a:gd name="connsiteX32" fmla="*/ 1151134 w 1629088"/>
                <a:gd name="connsiteY32" fmla="*/ 459501 h 1255269"/>
                <a:gd name="connsiteX33" fmla="*/ 1265847 w 1629088"/>
                <a:gd name="connsiteY33" fmla="*/ 574215 h 1255269"/>
                <a:gd name="connsiteX34" fmla="*/ 1272018 w 1629088"/>
                <a:gd name="connsiteY34" fmla="*/ 589142 h 1255269"/>
                <a:gd name="connsiteX35" fmla="*/ 1265847 w 1629088"/>
                <a:gd name="connsiteY35" fmla="*/ 604068 h 1255269"/>
                <a:gd name="connsiteX36" fmla="*/ 1200674 w 1629088"/>
                <a:gd name="connsiteY36" fmla="*/ 669183 h 1255269"/>
                <a:gd name="connsiteX37" fmla="*/ 1221654 w 1629088"/>
                <a:gd name="connsiteY37" fmla="*/ 720428 h 1255269"/>
                <a:gd name="connsiteX38" fmla="*/ 1314036 w 1629088"/>
                <a:gd name="connsiteY38" fmla="*/ 720428 h 1255269"/>
                <a:gd name="connsiteX39" fmla="*/ 1335193 w 1629088"/>
                <a:gd name="connsiteY39" fmla="*/ 741584 h 1255269"/>
                <a:gd name="connsiteX40" fmla="*/ 1335193 w 1629088"/>
                <a:gd name="connsiteY40" fmla="*/ 903782 h 1255269"/>
                <a:gd name="connsiteX41" fmla="*/ 1314036 w 1629088"/>
                <a:gd name="connsiteY41" fmla="*/ 924938 h 1255269"/>
                <a:gd name="connsiteX42" fmla="*/ 1221948 w 1629088"/>
                <a:gd name="connsiteY42" fmla="*/ 924938 h 1255269"/>
                <a:gd name="connsiteX43" fmla="*/ 1200616 w 1629088"/>
                <a:gd name="connsiteY43" fmla="*/ 975948 h 1255269"/>
                <a:gd name="connsiteX44" fmla="*/ 1265906 w 1629088"/>
                <a:gd name="connsiteY44" fmla="*/ 1041179 h 1255269"/>
                <a:gd name="connsiteX45" fmla="*/ 1272077 w 1629088"/>
                <a:gd name="connsiteY45" fmla="*/ 1056165 h 1255269"/>
                <a:gd name="connsiteX46" fmla="*/ 1265906 w 1629088"/>
                <a:gd name="connsiteY46" fmla="*/ 1071151 h 1255269"/>
                <a:gd name="connsiteX47" fmla="*/ 1151192 w 1629088"/>
                <a:gd name="connsiteY47" fmla="*/ 1185865 h 1255269"/>
                <a:gd name="connsiteX48" fmla="*/ 1136207 w 1629088"/>
                <a:gd name="connsiteY48" fmla="*/ 1192035 h 1255269"/>
                <a:gd name="connsiteX49" fmla="*/ 1136207 w 1629088"/>
                <a:gd name="connsiteY49" fmla="*/ 1192035 h 1255269"/>
                <a:gd name="connsiteX50" fmla="*/ 1121221 w 1629088"/>
                <a:gd name="connsiteY50" fmla="*/ 1185865 h 1255269"/>
                <a:gd name="connsiteX51" fmla="*/ 1056166 w 1629088"/>
                <a:gd name="connsiteY51" fmla="*/ 1120692 h 1255269"/>
                <a:gd name="connsiteX52" fmla="*/ 1004979 w 1629088"/>
                <a:gd name="connsiteY52" fmla="*/ 1141672 h 1255269"/>
                <a:gd name="connsiteX53" fmla="*/ 1004979 w 1629088"/>
                <a:gd name="connsiteY53" fmla="*/ 1234112 h 1255269"/>
                <a:gd name="connsiteX54" fmla="*/ 983764 w 1629088"/>
                <a:gd name="connsiteY54" fmla="*/ 1255269 h 1255269"/>
                <a:gd name="connsiteX55" fmla="*/ 842723 w 1629088"/>
                <a:gd name="connsiteY55" fmla="*/ 1212956 h 1255269"/>
                <a:gd name="connsiteX56" fmla="*/ 962608 w 1629088"/>
                <a:gd name="connsiteY56" fmla="*/ 1212956 h 1255269"/>
                <a:gd name="connsiteX57" fmla="*/ 962608 w 1629088"/>
                <a:gd name="connsiteY57" fmla="*/ 1127626 h 1255269"/>
                <a:gd name="connsiteX58" fmla="*/ 975772 w 1629088"/>
                <a:gd name="connsiteY58" fmla="*/ 1108057 h 1255269"/>
                <a:gd name="connsiteX59" fmla="*/ 1053110 w 1629088"/>
                <a:gd name="connsiteY59" fmla="*/ 1076322 h 1255269"/>
                <a:gd name="connsiteX60" fmla="*/ 1076146 w 1629088"/>
                <a:gd name="connsiteY60" fmla="*/ 1080906 h 1255269"/>
                <a:gd name="connsiteX61" fmla="*/ 1136207 w 1629088"/>
                <a:gd name="connsiteY61" fmla="*/ 1141084 h 1255269"/>
                <a:gd name="connsiteX62" fmla="*/ 1221008 w 1629088"/>
                <a:gd name="connsiteY62" fmla="*/ 1056283 h 1255269"/>
                <a:gd name="connsiteX63" fmla="*/ 1160595 w 1629088"/>
                <a:gd name="connsiteY63" fmla="*/ 995987 h 1255269"/>
                <a:gd name="connsiteX64" fmla="*/ 1156070 w 1629088"/>
                <a:gd name="connsiteY64" fmla="*/ 972833 h 1255269"/>
                <a:gd name="connsiteX65" fmla="*/ 1188392 w 1629088"/>
                <a:gd name="connsiteY65" fmla="*/ 895730 h 1255269"/>
                <a:gd name="connsiteX66" fmla="*/ 1207903 w 1629088"/>
                <a:gd name="connsiteY66" fmla="*/ 882684 h 1255269"/>
                <a:gd name="connsiteX67" fmla="*/ 1292880 w 1629088"/>
                <a:gd name="connsiteY67" fmla="*/ 882684 h 1255269"/>
                <a:gd name="connsiteX68" fmla="*/ 1292880 w 1629088"/>
                <a:gd name="connsiteY68" fmla="*/ 762799 h 1255269"/>
                <a:gd name="connsiteX69" fmla="*/ 1207550 w 1629088"/>
                <a:gd name="connsiteY69" fmla="*/ 762799 h 1255269"/>
                <a:gd name="connsiteX70" fmla="*/ 1187981 w 1629088"/>
                <a:gd name="connsiteY70" fmla="*/ 749694 h 1255269"/>
                <a:gd name="connsiteX71" fmla="*/ 1156246 w 1629088"/>
                <a:gd name="connsiteY71" fmla="*/ 672356 h 1255269"/>
                <a:gd name="connsiteX72" fmla="*/ 1160830 w 1629088"/>
                <a:gd name="connsiteY72" fmla="*/ 649378 h 1255269"/>
                <a:gd name="connsiteX73" fmla="*/ 1221008 w 1629088"/>
                <a:gd name="connsiteY73" fmla="*/ 589259 h 1255269"/>
                <a:gd name="connsiteX74" fmla="*/ 1136207 w 1629088"/>
                <a:gd name="connsiteY74" fmla="*/ 504458 h 1255269"/>
                <a:gd name="connsiteX75" fmla="*/ 1075911 w 1629088"/>
                <a:gd name="connsiteY75" fmla="*/ 564812 h 1255269"/>
                <a:gd name="connsiteX76" fmla="*/ 1052757 w 1629088"/>
                <a:gd name="connsiteY76" fmla="*/ 569396 h 1255269"/>
                <a:gd name="connsiteX77" fmla="*/ 975654 w 1629088"/>
                <a:gd name="connsiteY77" fmla="*/ 537133 h 1255269"/>
                <a:gd name="connsiteX78" fmla="*/ 962608 w 1629088"/>
                <a:gd name="connsiteY78" fmla="*/ 517622 h 1255269"/>
                <a:gd name="connsiteX79" fmla="*/ 962608 w 1629088"/>
                <a:gd name="connsiteY79" fmla="*/ 432527 h 1255269"/>
                <a:gd name="connsiteX80" fmla="*/ 842723 w 1629088"/>
                <a:gd name="connsiteY80" fmla="*/ 432527 h 1255269"/>
                <a:gd name="connsiteX81" fmla="*/ 842723 w 1629088"/>
                <a:gd name="connsiteY81" fmla="*/ 517857 h 1255269"/>
                <a:gd name="connsiteX82" fmla="*/ 829618 w 1629088"/>
                <a:gd name="connsiteY82" fmla="*/ 537426 h 1255269"/>
                <a:gd name="connsiteX83" fmla="*/ 752280 w 1629088"/>
                <a:gd name="connsiteY83" fmla="*/ 569161 h 1255269"/>
                <a:gd name="connsiteX84" fmla="*/ 729302 w 1629088"/>
                <a:gd name="connsiteY84" fmla="*/ 564518 h 1255269"/>
                <a:gd name="connsiteX85" fmla="*/ 669183 w 1629088"/>
                <a:gd name="connsiteY85" fmla="*/ 504399 h 1255269"/>
                <a:gd name="connsiteX86" fmla="*/ 584441 w 1629088"/>
                <a:gd name="connsiteY86" fmla="*/ 589200 h 1255269"/>
                <a:gd name="connsiteX87" fmla="*/ 644795 w 1629088"/>
                <a:gd name="connsiteY87" fmla="*/ 649613 h 1255269"/>
                <a:gd name="connsiteX88" fmla="*/ 649320 w 1629088"/>
                <a:gd name="connsiteY88" fmla="*/ 672767 h 1255269"/>
                <a:gd name="connsiteX89" fmla="*/ 617057 w 1629088"/>
                <a:gd name="connsiteY89" fmla="*/ 749870 h 1255269"/>
                <a:gd name="connsiteX90" fmla="*/ 597546 w 1629088"/>
                <a:gd name="connsiteY90" fmla="*/ 762858 h 1255269"/>
                <a:gd name="connsiteX91" fmla="*/ 512451 w 1629088"/>
                <a:gd name="connsiteY91" fmla="*/ 762858 h 1255269"/>
                <a:gd name="connsiteX92" fmla="*/ 512451 w 1629088"/>
                <a:gd name="connsiteY92" fmla="*/ 882743 h 1255269"/>
                <a:gd name="connsiteX93" fmla="*/ 597781 w 1629088"/>
                <a:gd name="connsiteY93" fmla="*/ 882743 h 1255269"/>
                <a:gd name="connsiteX94" fmla="*/ 617350 w 1629088"/>
                <a:gd name="connsiteY94" fmla="*/ 895907 h 1255269"/>
                <a:gd name="connsiteX95" fmla="*/ 649085 w 1629088"/>
                <a:gd name="connsiteY95" fmla="*/ 973245 h 1255269"/>
                <a:gd name="connsiteX96" fmla="*/ 644442 w 1629088"/>
                <a:gd name="connsiteY96" fmla="*/ 996281 h 1255269"/>
                <a:gd name="connsiteX97" fmla="*/ 584382 w 1629088"/>
                <a:gd name="connsiteY97" fmla="*/ 1056341 h 1255269"/>
                <a:gd name="connsiteX98" fmla="*/ 669124 w 1629088"/>
                <a:gd name="connsiteY98" fmla="*/ 1141143 h 1255269"/>
                <a:gd name="connsiteX99" fmla="*/ 729537 w 1629088"/>
                <a:gd name="connsiteY99" fmla="*/ 1080730 h 1255269"/>
                <a:gd name="connsiteX100" fmla="*/ 752691 w 1629088"/>
                <a:gd name="connsiteY100" fmla="*/ 1076205 h 1255269"/>
                <a:gd name="connsiteX101" fmla="*/ 829794 w 1629088"/>
                <a:gd name="connsiteY101" fmla="*/ 1108527 h 1255269"/>
                <a:gd name="connsiteX102" fmla="*/ 842782 w 1629088"/>
                <a:gd name="connsiteY102" fmla="*/ 1128038 h 1255269"/>
                <a:gd name="connsiteX103" fmla="*/ 842723 w 1629088"/>
                <a:gd name="connsiteY103" fmla="*/ 1212956 h 1255269"/>
                <a:gd name="connsiteX104" fmla="*/ 842723 w 1629088"/>
                <a:gd name="connsiteY104" fmla="*/ 1212956 h 1255269"/>
                <a:gd name="connsiteX105" fmla="*/ 902665 w 1629088"/>
                <a:gd name="connsiteY105" fmla="*/ 1020200 h 1255269"/>
                <a:gd name="connsiteX106" fmla="*/ 705207 w 1629088"/>
                <a:gd name="connsiteY106" fmla="*/ 822741 h 1255269"/>
                <a:gd name="connsiteX107" fmla="*/ 902665 w 1629088"/>
                <a:gd name="connsiteY107" fmla="*/ 625283 h 1255269"/>
                <a:gd name="connsiteX108" fmla="*/ 1100124 w 1629088"/>
                <a:gd name="connsiteY108" fmla="*/ 822741 h 1255269"/>
                <a:gd name="connsiteX109" fmla="*/ 902665 w 1629088"/>
                <a:gd name="connsiteY109" fmla="*/ 1020200 h 1255269"/>
                <a:gd name="connsiteX110" fmla="*/ 902665 w 1629088"/>
                <a:gd name="connsiteY110" fmla="*/ 667596 h 1255269"/>
                <a:gd name="connsiteX111" fmla="*/ 747520 w 1629088"/>
                <a:gd name="connsiteY111" fmla="*/ 822741 h 1255269"/>
                <a:gd name="connsiteX112" fmla="*/ 902665 w 1629088"/>
                <a:gd name="connsiteY112" fmla="*/ 977887 h 1255269"/>
                <a:gd name="connsiteX113" fmla="*/ 1057811 w 1629088"/>
                <a:gd name="connsiteY113" fmla="*/ 822741 h 1255269"/>
                <a:gd name="connsiteX114" fmla="*/ 902665 w 1629088"/>
                <a:gd name="connsiteY114" fmla="*/ 667596 h 1255269"/>
                <a:gd name="connsiteX115" fmla="*/ 42312 w 1629088"/>
                <a:gd name="connsiteY115" fmla="*/ 822741 h 1255269"/>
                <a:gd name="connsiteX116" fmla="*/ 0 w 1629088"/>
                <a:gd name="connsiteY116" fmla="*/ 822741 h 1255269"/>
                <a:gd name="connsiteX117" fmla="*/ 1586717 w 1629088"/>
                <a:gd name="connsiteY117" fmla="*/ 233717 h 1255269"/>
                <a:gd name="connsiteX118" fmla="*/ 1586717 w 1629088"/>
                <a:gd name="connsiteY118" fmla="*/ 0 h 1255269"/>
                <a:gd name="connsiteX119" fmla="*/ 1629088 w 1629088"/>
                <a:gd name="connsiteY119" fmla="*/ 0 h 1255269"/>
                <a:gd name="connsiteX120" fmla="*/ 1629088 w 1629088"/>
                <a:gd name="connsiteY120" fmla="*/ 314992 h 1255269"/>
                <a:gd name="connsiteX121" fmla="*/ 1564209 w 1629088"/>
                <a:gd name="connsiteY121" fmla="*/ 272680 h 1255269"/>
                <a:gd name="connsiteX122" fmla="*/ 42312 w 1629088"/>
                <a:gd name="connsiteY122" fmla="*/ 822741 h 1255269"/>
                <a:gd name="connsiteX0" fmla="*/ 983764 w 1629088"/>
                <a:gd name="connsiteY0" fmla="*/ 1255269 h 1255269"/>
                <a:gd name="connsiteX1" fmla="*/ 821567 w 1629088"/>
                <a:gd name="connsiteY1" fmla="*/ 1255269 h 1255269"/>
                <a:gd name="connsiteX2" fmla="*/ 800410 w 1629088"/>
                <a:gd name="connsiteY2" fmla="*/ 1234112 h 1255269"/>
                <a:gd name="connsiteX3" fmla="*/ 800410 w 1629088"/>
                <a:gd name="connsiteY3" fmla="*/ 1142024 h 1255269"/>
                <a:gd name="connsiteX4" fmla="*/ 749342 w 1629088"/>
                <a:gd name="connsiteY4" fmla="*/ 1120692 h 1255269"/>
                <a:gd name="connsiteX5" fmla="*/ 684051 w 1629088"/>
                <a:gd name="connsiteY5" fmla="*/ 1185982 h 1255269"/>
                <a:gd name="connsiteX6" fmla="*/ 669124 w 1629088"/>
                <a:gd name="connsiteY6" fmla="*/ 1192153 h 1255269"/>
                <a:gd name="connsiteX7" fmla="*/ 669124 w 1629088"/>
                <a:gd name="connsiteY7" fmla="*/ 1192153 h 1255269"/>
                <a:gd name="connsiteX8" fmla="*/ 654197 w 1629088"/>
                <a:gd name="connsiteY8" fmla="*/ 1185982 h 1255269"/>
                <a:gd name="connsiteX9" fmla="*/ 539484 w 1629088"/>
                <a:gd name="connsiteY9" fmla="*/ 1071268 h 1255269"/>
                <a:gd name="connsiteX10" fmla="*/ 539484 w 1629088"/>
                <a:gd name="connsiteY10" fmla="*/ 1041297 h 1255269"/>
                <a:gd name="connsiteX11" fmla="*/ 604598 w 1629088"/>
                <a:gd name="connsiteY11" fmla="*/ 976242 h 1255269"/>
                <a:gd name="connsiteX12" fmla="*/ 583618 w 1629088"/>
                <a:gd name="connsiteY12" fmla="*/ 925055 h 1255269"/>
                <a:gd name="connsiteX13" fmla="*/ 491294 w 1629088"/>
                <a:gd name="connsiteY13" fmla="*/ 925055 h 1255269"/>
                <a:gd name="connsiteX14" fmla="*/ 470138 w 1629088"/>
                <a:gd name="connsiteY14" fmla="*/ 903899 h 1255269"/>
                <a:gd name="connsiteX15" fmla="*/ 470138 w 1629088"/>
                <a:gd name="connsiteY15" fmla="*/ 741701 h 1255269"/>
                <a:gd name="connsiteX16" fmla="*/ 491294 w 1629088"/>
                <a:gd name="connsiteY16" fmla="*/ 720545 h 1255269"/>
                <a:gd name="connsiteX17" fmla="*/ 583383 w 1629088"/>
                <a:gd name="connsiteY17" fmla="*/ 720545 h 1255269"/>
                <a:gd name="connsiteX18" fmla="*/ 604715 w 1629088"/>
                <a:gd name="connsiteY18" fmla="*/ 669476 h 1255269"/>
                <a:gd name="connsiteX19" fmla="*/ 539484 w 1629088"/>
                <a:gd name="connsiteY19" fmla="*/ 604127 h 1255269"/>
                <a:gd name="connsiteX20" fmla="*/ 539484 w 1629088"/>
                <a:gd name="connsiteY20" fmla="*/ 574215 h 1255269"/>
                <a:gd name="connsiteX21" fmla="*/ 654139 w 1629088"/>
                <a:gd name="connsiteY21" fmla="*/ 459501 h 1255269"/>
                <a:gd name="connsiteX22" fmla="*/ 684051 w 1629088"/>
                <a:gd name="connsiteY22" fmla="*/ 459501 h 1255269"/>
                <a:gd name="connsiteX23" fmla="*/ 749165 w 1629088"/>
                <a:gd name="connsiteY23" fmla="*/ 524674 h 1255269"/>
                <a:gd name="connsiteX24" fmla="*/ 800410 w 1629088"/>
                <a:gd name="connsiteY24" fmla="*/ 503694 h 1255269"/>
                <a:gd name="connsiteX25" fmla="*/ 800410 w 1629088"/>
                <a:gd name="connsiteY25" fmla="*/ 411370 h 1255269"/>
                <a:gd name="connsiteX26" fmla="*/ 821567 w 1629088"/>
                <a:gd name="connsiteY26" fmla="*/ 390214 h 1255269"/>
                <a:gd name="connsiteX27" fmla="*/ 983764 w 1629088"/>
                <a:gd name="connsiteY27" fmla="*/ 390214 h 1255269"/>
                <a:gd name="connsiteX28" fmla="*/ 1004921 w 1629088"/>
                <a:gd name="connsiteY28" fmla="*/ 411370 h 1255269"/>
                <a:gd name="connsiteX29" fmla="*/ 1004921 w 1629088"/>
                <a:gd name="connsiteY29" fmla="*/ 503459 h 1255269"/>
                <a:gd name="connsiteX30" fmla="*/ 1055931 w 1629088"/>
                <a:gd name="connsiteY30" fmla="*/ 524791 h 1255269"/>
                <a:gd name="connsiteX31" fmla="*/ 1121162 w 1629088"/>
                <a:gd name="connsiteY31" fmla="*/ 459501 h 1255269"/>
                <a:gd name="connsiteX32" fmla="*/ 1151134 w 1629088"/>
                <a:gd name="connsiteY32" fmla="*/ 459501 h 1255269"/>
                <a:gd name="connsiteX33" fmla="*/ 1265847 w 1629088"/>
                <a:gd name="connsiteY33" fmla="*/ 574215 h 1255269"/>
                <a:gd name="connsiteX34" fmla="*/ 1272018 w 1629088"/>
                <a:gd name="connsiteY34" fmla="*/ 589142 h 1255269"/>
                <a:gd name="connsiteX35" fmla="*/ 1265847 w 1629088"/>
                <a:gd name="connsiteY35" fmla="*/ 604068 h 1255269"/>
                <a:gd name="connsiteX36" fmla="*/ 1200674 w 1629088"/>
                <a:gd name="connsiteY36" fmla="*/ 669183 h 1255269"/>
                <a:gd name="connsiteX37" fmla="*/ 1221654 w 1629088"/>
                <a:gd name="connsiteY37" fmla="*/ 720428 h 1255269"/>
                <a:gd name="connsiteX38" fmla="*/ 1314036 w 1629088"/>
                <a:gd name="connsiteY38" fmla="*/ 720428 h 1255269"/>
                <a:gd name="connsiteX39" fmla="*/ 1335193 w 1629088"/>
                <a:gd name="connsiteY39" fmla="*/ 741584 h 1255269"/>
                <a:gd name="connsiteX40" fmla="*/ 1335193 w 1629088"/>
                <a:gd name="connsiteY40" fmla="*/ 903782 h 1255269"/>
                <a:gd name="connsiteX41" fmla="*/ 1314036 w 1629088"/>
                <a:gd name="connsiteY41" fmla="*/ 924938 h 1255269"/>
                <a:gd name="connsiteX42" fmla="*/ 1221948 w 1629088"/>
                <a:gd name="connsiteY42" fmla="*/ 924938 h 1255269"/>
                <a:gd name="connsiteX43" fmla="*/ 1200616 w 1629088"/>
                <a:gd name="connsiteY43" fmla="*/ 975948 h 1255269"/>
                <a:gd name="connsiteX44" fmla="*/ 1265906 w 1629088"/>
                <a:gd name="connsiteY44" fmla="*/ 1041179 h 1255269"/>
                <a:gd name="connsiteX45" fmla="*/ 1272077 w 1629088"/>
                <a:gd name="connsiteY45" fmla="*/ 1056165 h 1255269"/>
                <a:gd name="connsiteX46" fmla="*/ 1265906 w 1629088"/>
                <a:gd name="connsiteY46" fmla="*/ 1071151 h 1255269"/>
                <a:gd name="connsiteX47" fmla="*/ 1151192 w 1629088"/>
                <a:gd name="connsiteY47" fmla="*/ 1185865 h 1255269"/>
                <a:gd name="connsiteX48" fmla="*/ 1136207 w 1629088"/>
                <a:gd name="connsiteY48" fmla="*/ 1192035 h 1255269"/>
                <a:gd name="connsiteX49" fmla="*/ 1136207 w 1629088"/>
                <a:gd name="connsiteY49" fmla="*/ 1192035 h 1255269"/>
                <a:gd name="connsiteX50" fmla="*/ 1121221 w 1629088"/>
                <a:gd name="connsiteY50" fmla="*/ 1185865 h 1255269"/>
                <a:gd name="connsiteX51" fmla="*/ 1056166 w 1629088"/>
                <a:gd name="connsiteY51" fmla="*/ 1120692 h 1255269"/>
                <a:gd name="connsiteX52" fmla="*/ 1004979 w 1629088"/>
                <a:gd name="connsiteY52" fmla="*/ 1141672 h 1255269"/>
                <a:gd name="connsiteX53" fmla="*/ 1004979 w 1629088"/>
                <a:gd name="connsiteY53" fmla="*/ 1234112 h 1255269"/>
                <a:gd name="connsiteX54" fmla="*/ 983764 w 1629088"/>
                <a:gd name="connsiteY54" fmla="*/ 1255269 h 1255269"/>
                <a:gd name="connsiteX55" fmla="*/ 842723 w 1629088"/>
                <a:gd name="connsiteY55" fmla="*/ 1212956 h 1255269"/>
                <a:gd name="connsiteX56" fmla="*/ 962608 w 1629088"/>
                <a:gd name="connsiteY56" fmla="*/ 1212956 h 1255269"/>
                <a:gd name="connsiteX57" fmla="*/ 962608 w 1629088"/>
                <a:gd name="connsiteY57" fmla="*/ 1127626 h 1255269"/>
                <a:gd name="connsiteX58" fmla="*/ 975772 w 1629088"/>
                <a:gd name="connsiteY58" fmla="*/ 1108057 h 1255269"/>
                <a:gd name="connsiteX59" fmla="*/ 1053110 w 1629088"/>
                <a:gd name="connsiteY59" fmla="*/ 1076322 h 1255269"/>
                <a:gd name="connsiteX60" fmla="*/ 1076146 w 1629088"/>
                <a:gd name="connsiteY60" fmla="*/ 1080906 h 1255269"/>
                <a:gd name="connsiteX61" fmla="*/ 1136207 w 1629088"/>
                <a:gd name="connsiteY61" fmla="*/ 1141084 h 1255269"/>
                <a:gd name="connsiteX62" fmla="*/ 1221008 w 1629088"/>
                <a:gd name="connsiteY62" fmla="*/ 1056283 h 1255269"/>
                <a:gd name="connsiteX63" fmla="*/ 1160595 w 1629088"/>
                <a:gd name="connsiteY63" fmla="*/ 995987 h 1255269"/>
                <a:gd name="connsiteX64" fmla="*/ 1156070 w 1629088"/>
                <a:gd name="connsiteY64" fmla="*/ 972833 h 1255269"/>
                <a:gd name="connsiteX65" fmla="*/ 1188392 w 1629088"/>
                <a:gd name="connsiteY65" fmla="*/ 895730 h 1255269"/>
                <a:gd name="connsiteX66" fmla="*/ 1207903 w 1629088"/>
                <a:gd name="connsiteY66" fmla="*/ 882684 h 1255269"/>
                <a:gd name="connsiteX67" fmla="*/ 1292880 w 1629088"/>
                <a:gd name="connsiteY67" fmla="*/ 882684 h 1255269"/>
                <a:gd name="connsiteX68" fmla="*/ 1292880 w 1629088"/>
                <a:gd name="connsiteY68" fmla="*/ 762799 h 1255269"/>
                <a:gd name="connsiteX69" fmla="*/ 1207550 w 1629088"/>
                <a:gd name="connsiteY69" fmla="*/ 762799 h 1255269"/>
                <a:gd name="connsiteX70" fmla="*/ 1187981 w 1629088"/>
                <a:gd name="connsiteY70" fmla="*/ 749694 h 1255269"/>
                <a:gd name="connsiteX71" fmla="*/ 1156246 w 1629088"/>
                <a:gd name="connsiteY71" fmla="*/ 672356 h 1255269"/>
                <a:gd name="connsiteX72" fmla="*/ 1160830 w 1629088"/>
                <a:gd name="connsiteY72" fmla="*/ 649378 h 1255269"/>
                <a:gd name="connsiteX73" fmla="*/ 1221008 w 1629088"/>
                <a:gd name="connsiteY73" fmla="*/ 589259 h 1255269"/>
                <a:gd name="connsiteX74" fmla="*/ 1136207 w 1629088"/>
                <a:gd name="connsiteY74" fmla="*/ 504458 h 1255269"/>
                <a:gd name="connsiteX75" fmla="*/ 1075911 w 1629088"/>
                <a:gd name="connsiteY75" fmla="*/ 564812 h 1255269"/>
                <a:gd name="connsiteX76" fmla="*/ 1052757 w 1629088"/>
                <a:gd name="connsiteY76" fmla="*/ 569396 h 1255269"/>
                <a:gd name="connsiteX77" fmla="*/ 975654 w 1629088"/>
                <a:gd name="connsiteY77" fmla="*/ 537133 h 1255269"/>
                <a:gd name="connsiteX78" fmla="*/ 962608 w 1629088"/>
                <a:gd name="connsiteY78" fmla="*/ 517622 h 1255269"/>
                <a:gd name="connsiteX79" fmla="*/ 962608 w 1629088"/>
                <a:gd name="connsiteY79" fmla="*/ 432527 h 1255269"/>
                <a:gd name="connsiteX80" fmla="*/ 842723 w 1629088"/>
                <a:gd name="connsiteY80" fmla="*/ 432527 h 1255269"/>
                <a:gd name="connsiteX81" fmla="*/ 842723 w 1629088"/>
                <a:gd name="connsiteY81" fmla="*/ 517857 h 1255269"/>
                <a:gd name="connsiteX82" fmla="*/ 829618 w 1629088"/>
                <a:gd name="connsiteY82" fmla="*/ 537426 h 1255269"/>
                <a:gd name="connsiteX83" fmla="*/ 752280 w 1629088"/>
                <a:gd name="connsiteY83" fmla="*/ 569161 h 1255269"/>
                <a:gd name="connsiteX84" fmla="*/ 729302 w 1629088"/>
                <a:gd name="connsiteY84" fmla="*/ 564518 h 1255269"/>
                <a:gd name="connsiteX85" fmla="*/ 669183 w 1629088"/>
                <a:gd name="connsiteY85" fmla="*/ 504399 h 1255269"/>
                <a:gd name="connsiteX86" fmla="*/ 584441 w 1629088"/>
                <a:gd name="connsiteY86" fmla="*/ 589200 h 1255269"/>
                <a:gd name="connsiteX87" fmla="*/ 644795 w 1629088"/>
                <a:gd name="connsiteY87" fmla="*/ 649613 h 1255269"/>
                <a:gd name="connsiteX88" fmla="*/ 649320 w 1629088"/>
                <a:gd name="connsiteY88" fmla="*/ 672767 h 1255269"/>
                <a:gd name="connsiteX89" fmla="*/ 617057 w 1629088"/>
                <a:gd name="connsiteY89" fmla="*/ 749870 h 1255269"/>
                <a:gd name="connsiteX90" fmla="*/ 597546 w 1629088"/>
                <a:gd name="connsiteY90" fmla="*/ 762858 h 1255269"/>
                <a:gd name="connsiteX91" fmla="*/ 512451 w 1629088"/>
                <a:gd name="connsiteY91" fmla="*/ 762858 h 1255269"/>
                <a:gd name="connsiteX92" fmla="*/ 512451 w 1629088"/>
                <a:gd name="connsiteY92" fmla="*/ 882743 h 1255269"/>
                <a:gd name="connsiteX93" fmla="*/ 597781 w 1629088"/>
                <a:gd name="connsiteY93" fmla="*/ 882743 h 1255269"/>
                <a:gd name="connsiteX94" fmla="*/ 617350 w 1629088"/>
                <a:gd name="connsiteY94" fmla="*/ 895907 h 1255269"/>
                <a:gd name="connsiteX95" fmla="*/ 649085 w 1629088"/>
                <a:gd name="connsiteY95" fmla="*/ 973245 h 1255269"/>
                <a:gd name="connsiteX96" fmla="*/ 644442 w 1629088"/>
                <a:gd name="connsiteY96" fmla="*/ 996281 h 1255269"/>
                <a:gd name="connsiteX97" fmla="*/ 584382 w 1629088"/>
                <a:gd name="connsiteY97" fmla="*/ 1056341 h 1255269"/>
                <a:gd name="connsiteX98" fmla="*/ 669124 w 1629088"/>
                <a:gd name="connsiteY98" fmla="*/ 1141143 h 1255269"/>
                <a:gd name="connsiteX99" fmla="*/ 729537 w 1629088"/>
                <a:gd name="connsiteY99" fmla="*/ 1080730 h 1255269"/>
                <a:gd name="connsiteX100" fmla="*/ 752691 w 1629088"/>
                <a:gd name="connsiteY100" fmla="*/ 1076205 h 1255269"/>
                <a:gd name="connsiteX101" fmla="*/ 829794 w 1629088"/>
                <a:gd name="connsiteY101" fmla="*/ 1108527 h 1255269"/>
                <a:gd name="connsiteX102" fmla="*/ 842782 w 1629088"/>
                <a:gd name="connsiteY102" fmla="*/ 1128038 h 1255269"/>
                <a:gd name="connsiteX103" fmla="*/ 842723 w 1629088"/>
                <a:gd name="connsiteY103" fmla="*/ 1212956 h 1255269"/>
                <a:gd name="connsiteX104" fmla="*/ 842723 w 1629088"/>
                <a:gd name="connsiteY104" fmla="*/ 1212956 h 1255269"/>
                <a:gd name="connsiteX105" fmla="*/ 902665 w 1629088"/>
                <a:gd name="connsiteY105" fmla="*/ 1020200 h 1255269"/>
                <a:gd name="connsiteX106" fmla="*/ 705207 w 1629088"/>
                <a:gd name="connsiteY106" fmla="*/ 822741 h 1255269"/>
                <a:gd name="connsiteX107" fmla="*/ 902665 w 1629088"/>
                <a:gd name="connsiteY107" fmla="*/ 625283 h 1255269"/>
                <a:gd name="connsiteX108" fmla="*/ 1100124 w 1629088"/>
                <a:gd name="connsiteY108" fmla="*/ 822741 h 1255269"/>
                <a:gd name="connsiteX109" fmla="*/ 902665 w 1629088"/>
                <a:gd name="connsiteY109" fmla="*/ 1020200 h 1255269"/>
                <a:gd name="connsiteX110" fmla="*/ 902665 w 1629088"/>
                <a:gd name="connsiteY110" fmla="*/ 667596 h 1255269"/>
                <a:gd name="connsiteX111" fmla="*/ 747520 w 1629088"/>
                <a:gd name="connsiteY111" fmla="*/ 822741 h 1255269"/>
                <a:gd name="connsiteX112" fmla="*/ 902665 w 1629088"/>
                <a:gd name="connsiteY112" fmla="*/ 977887 h 1255269"/>
                <a:gd name="connsiteX113" fmla="*/ 1057811 w 1629088"/>
                <a:gd name="connsiteY113" fmla="*/ 822741 h 1255269"/>
                <a:gd name="connsiteX114" fmla="*/ 902665 w 1629088"/>
                <a:gd name="connsiteY114" fmla="*/ 667596 h 1255269"/>
                <a:gd name="connsiteX115" fmla="*/ 42312 w 1629088"/>
                <a:gd name="connsiteY115" fmla="*/ 822741 h 1255269"/>
                <a:gd name="connsiteX116" fmla="*/ 0 w 1629088"/>
                <a:gd name="connsiteY116" fmla="*/ 822741 h 1255269"/>
                <a:gd name="connsiteX117" fmla="*/ 1586717 w 1629088"/>
                <a:gd name="connsiteY117" fmla="*/ 233717 h 1255269"/>
                <a:gd name="connsiteX118" fmla="*/ 1586717 w 1629088"/>
                <a:gd name="connsiteY118" fmla="*/ 0 h 1255269"/>
                <a:gd name="connsiteX119" fmla="*/ 1629088 w 1629088"/>
                <a:gd name="connsiteY119" fmla="*/ 0 h 1255269"/>
                <a:gd name="connsiteX120" fmla="*/ 1629088 w 1629088"/>
                <a:gd name="connsiteY120" fmla="*/ 314992 h 1255269"/>
                <a:gd name="connsiteX121" fmla="*/ 42312 w 1629088"/>
                <a:gd name="connsiteY121" fmla="*/ 822741 h 1255269"/>
                <a:gd name="connsiteX0" fmla="*/ 983764 w 1629088"/>
                <a:gd name="connsiteY0" fmla="*/ 1255269 h 1255269"/>
                <a:gd name="connsiteX1" fmla="*/ 821567 w 1629088"/>
                <a:gd name="connsiteY1" fmla="*/ 1255269 h 1255269"/>
                <a:gd name="connsiteX2" fmla="*/ 800410 w 1629088"/>
                <a:gd name="connsiteY2" fmla="*/ 1234112 h 1255269"/>
                <a:gd name="connsiteX3" fmla="*/ 800410 w 1629088"/>
                <a:gd name="connsiteY3" fmla="*/ 1142024 h 1255269"/>
                <a:gd name="connsiteX4" fmla="*/ 749342 w 1629088"/>
                <a:gd name="connsiteY4" fmla="*/ 1120692 h 1255269"/>
                <a:gd name="connsiteX5" fmla="*/ 684051 w 1629088"/>
                <a:gd name="connsiteY5" fmla="*/ 1185982 h 1255269"/>
                <a:gd name="connsiteX6" fmla="*/ 669124 w 1629088"/>
                <a:gd name="connsiteY6" fmla="*/ 1192153 h 1255269"/>
                <a:gd name="connsiteX7" fmla="*/ 669124 w 1629088"/>
                <a:gd name="connsiteY7" fmla="*/ 1192153 h 1255269"/>
                <a:gd name="connsiteX8" fmla="*/ 654197 w 1629088"/>
                <a:gd name="connsiteY8" fmla="*/ 1185982 h 1255269"/>
                <a:gd name="connsiteX9" fmla="*/ 539484 w 1629088"/>
                <a:gd name="connsiteY9" fmla="*/ 1071268 h 1255269"/>
                <a:gd name="connsiteX10" fmla="*/ 539484 w 1629088"/>
                <a:gd name="connsiteY10" fmla="*/ 1041297 h 1255269"/>
                <a:gd name="connsiteX11" fmla="*/ 604598 w 1629088"/>
                <a:gd name="connsiteY11" fmla="*/ 976242 h 1255269"/>
                <a:gd name="connsiteX12" fmla="*/ 583618 w 1629088"/>
                <a:gd name="connsiteY12" fmla="*/ 925055 h 1255269"/>
                <a:gd name="connsiteX13" fmla="*/ 491294 w 1629088"/>
                <a:gd name="connsiteY13" fmla="*/ 925055 h 1255269"/>
                <a:gd name="connsiteX14" fmla="*/ 470138 w 1629088"/>
                <a:gd name="connsiteY14" fmla="*/ 903899 h 1255269"/>
                <a:gd name="connsiteX15" fmla="*/ 470138 w 1629088"/>
                <a:gd name="connsiteY15" fmla="*/ 741701 h 1255269"/>
                <a:gd name="connsiteX16" fmla="*/ 491294 w 1629088"/>
                <a:gd name="connsiteY16" fmla="*/ 720545 h 1255269"/>
                <a:gd name="connsiteX17" fmla="*/ 583383 w 1629088"/>
                <a:gd name="connsiteY17" fmla="*/ 720545 h 1255269"/>
                <a:gd name="connsiteX18" fmla="*/ 604715 w 1629088"/>
                <a:gd name="connsiteY18" fmla="*/ 669476 h 1255269"/>
                <a:gd name="connsiteX19" fmla="*/ 539484 w 1629088"/>
                <a:gd name="connsiteY19" fmla="*/ 604127 h 1255269"/>
                <a:gd name="connsiteX20" fmla="*/ 539484 w 1629088"/>
                <a:gd name="connsiteY20" fmla="*/ 574215 h 1255269"/>
                <a:gd name="connsiteX21" fmla="*/ 654139 w 1629088"/>
                <a:gd name="connsiteY21" fmla="*/ 459501 h 1255269"/>
                <a:gd name="connsiteX22" fmla="*/ 684051 w 1629088"/>
                <a:gd name="connsiteY22" fmla="*/ 459501 h 1255269"/>
                <a:gd name="connsiteX23" fmla="*/ 749165 w 1629088"/>
                <a:gd name="connsiteY23" fmla="*/ 524674 h 1255269"/>
                <a:gd name="connsiteX24" fmla="*/ 800410 w 1629088"/>
                <a:gd name="connsiteY24" fmla="*/ 503694 h 1255269"/>
                <a:gd name="connsiteX25" fmla="*/ 800410 w 1629088"/>
                <a:gd name="connsiteY25" fmla="*/ 411370 h 1255269"/>
                <a:gd name="connsiteX26" fmla="*/ 821567 w 1629088"/>
                <a:gd name="connsiteY26" fmla="*/ 390214 h 1255269"/>
                <a:gd name="connsiteX27" fmla="*/ 983764 w 1629088"/>
                <a:gd name="connsiteY27" fmla="*/ 390214 h 1255269"/>
                <a:gd name="connsiteX28" fmla="*/ 1004921 w 1629088"/>
                <a:gd name="connsiteY28" fmla="*/ 411370 h 1255269"/>
                <a:gd name="connsiteX29" fmla="*/ 1004921 w 1629088"/>
                <a:gd name="connsiteY29" fmla="*/ 503459 h 1255269"/>
                <a:gd name="connsiteX30" fmla="*/ 1055931 w 1629088"/>
                <a:gd name="connsiteY30" fmla="*/ 524791 h 1255269"/>
                <a:gd name="connsiteX31" fmla="*/ 1121162 w 1629088"/>
                <a:gd name="connsiteY31" fmla="*/ 459501 h 1255269"/>
                <a:gd name="connsiteX32" fmla="*/ 1151134 w 1629088"/>
                <a:gd name="connsiteY32" fmla="*/ 459501 h 1255269"/>
                <a:gd name="connsiteX33" fmla="*/ 1265847 w 1629088"/>
                <a:gd name="connsiteY33" fmla="*/ 574215 h 1255269"/>
                <a:gd name="connsiteX34" fmla="*/ 1272018 w 1629088"/>
                <a:gd name="connsiteY34" fmla="*/ 589142 h 1255269"/>
                <a:gd name="connsiteX35" fmla="*/ 1265847 w 1629088"/>
                <a:gd name="connsiteY35" fmla="*/ 604068 h 1255269"/>
                <a:gd name="connsiteX36" fmla="*/ 1200674 w 1629088"/>
                <a:gd name="connsiteY36" fmla="*/ 669183 h 1255269"/>
                <a:gd name="connsiteX37" fmla="*/ 1221654 w 1629088"/>
                <a:gd name="connsiteY37" fmla="*/ 720428 h 1255269"/>
                <a:gd name="connsiteX38" fmla="*/ 1314036 w 1629088"/>
                <a:gd name="connsiteY38" fmla="*/ 720428 h 1255269"/>
                <a:gd name="connsiteX39" fmla="*/ 1335193 w 1629088"/>
                <a:gd name="connsiteY39" fmla="*/ 741584 h 1255269"/>
                <a:gd name="connsiteX40" fmla="*/ 1335193 w 1629088"/>
                <a:gd name="connsiteY40" fmla="*/ 903782 h 1255269"/>
                <a:gd name="connsiteX41" fmla="*/ 1314036 w 1629088"/>
                <a:gd name="connsiteY41" fmla="*/ 924938 h 1255269"/>
                <a:gd name="connsiteX42" fmla="*/ 1221948 w 1629088"/>
                <a:gd name="connsiteY42" fmla="*/ 924938 h 1255269"/>
                <a:gd name="connsiteX43" fmla="*/ 1200616 w 1629088"/>
                <a:gd name="connsiteY43" fmla="*/ 975948 h 1255269"/>
                <a:gd name="connsiteX44" fmla="*/ 1265906 w 1629088"/>
                <a:gd name="connsiteY44" fmla="*/ 1041179 h 1255269"/>
                <a:gd name="connsiteX45" fmla="*/ 1272077 w 1629088"/>
                <a:gd name="connsiteY45" fmla="*/ 1056165 h 1255269"/>
                <a:gd name="connsiteX46" fmla="*/ 1265906 w 1629088"/>
                <a:gd name="connsiteY46" fmla="*/ 1071151 h 1255269"/>
                <a:gd name="connsiteX47" fmla="*/ 1151192 w 1629088"/>
                <a:gd name="connsiteY47" fmla="*/ 1185865 h 1255269"/>
                <a:gd name="connsiteX48" fmla="*/ 1136207 w 1629088"/>
                <a:gd name="connsiteY48" fmla="*/ 1192035 h 1255269"/>
                <a:gd name="connsiteX49" fmla="*/ 1136207 w 1629088"/>
                <a:gd name="connsiteY49" fmla="*/ 1192035 h 1255269"/>
                <a:gd name="connsiteX50" fmla="*/ 1121221 w 1629088"/>
                <a:gd name="connsiteY50" fmla="*/ 1185865 h 1255269"/>
                <a:gd name="connsiteX51" fmla="*/ 1056166 w 1629088"/>
                <a:gd name="connsiteY51" fmla="*/ 1120692 h 1255269"/>
                <a:gd name="connsiteX52" fmla="*/ 1004979 w 1629088"/>
                <a:gd name="connsiteY52" fmla="*/ 1141672 h 1255269"/>
                <a:gd name="connsiteX53" fmla="*/ 1004979 w 1629088"/>
                <a:gd name="connsiteY53" fmla="*/ 1234112 h 1255269"/>
                <a:gd name="connsiteX54" fmla="*/ 983764 w 1629088"/>
                <a:gd name="connsiteY54" fmla="*/ 1255269 h 1255269"/>
                <a:gd name="connsiteX55" fmla="*/ 842723 w 1629088"/>
                <a:gd name="connsiteY55" fmla="*/ 1212956 h 1255269"/>
                <a:gd name="connsiteX56" fmla="*/ 962608 w 1629088"/>
                <a:gd name="connsiteY56" fmla="*/ 1212956 h 1255269"/>
                <a:gd name="connsiteX57" fmla="*/ 962608 w 1629088"/>
                <a:gd name="connsiteY57" fmla="*/ 1127626 h 1255269"/>
                <a:gd name="connsiteX58" fmla="*/ 975772 w 1629088"/>
                <a:gd name="connsiteY58" fmla="*/ 1108057 h 1255269"/>
                <a:gd name="connsiteX59" fmla="*/ 1053110 w 1629088"/>
                <a:gd name="connsiteY59" fmla="*/ 1076322 h 1255269"/>
                <a:gd name="connsiteX60" fmla="*/ 1076146 w 1629088"/>
                <a:gd name="connsiteY60" fmla="*/ 1080906 h 1255269"/>
                <a:gd name="connsiteX61" fmla="*/ 1136207 w 1629088"/>
                <a:gd name="connsiteY61" fmla="*/ 1141084 h 1255269"/>
                <a:gd name="connsiteX62" fmla="*/ 1221008 w 1629088"/>
                <a:gd name="connsiteY62" fmla="*/ 1056283 h 1255269"/>
                <a:gd name="connsiteX63" fmla="*/ 1160595 w 1629088"/>
                <a:gd name="connsiteY63" fmla="*/ 995987 h 1255269"/>
                <a:gd name="connsiteX64" fmla="*/ 1156070 w 1629088"/>
                <a:gd name="connsiteY64" fmla="*/ 972833 h 1255269"/>
                <a:gd name="connsiteX65" fmla="*/ 1188392 w 1629088"/>
                <a:gd name="connsiteY65" fmla="*/ 895730 h 1255269"/>
                <a:gd name="connsiteX66" fmla="*/ 1207903 w 1629088"/>
                <a:gd name="connsiteY66" fmla="*/ 882684 h 1255269"/>
                <a:gd name="connsiteX67" fmla="*/ 1292880 w 1629088"/>
                <a:gd name="connsiteY67" fmla="*/ 882684 h 1255269"/>
                <a:gd name="connsiteX68" fmla="*/ 1292880 w 1629088"/>
                <a:gd name="connsiteY68" fmla="*/ 762799 h 1255269"/>
                <a:gd name="connsiteX69" fmla="*/ 1207550 w 1629088"/>
                <a:gd name="connsiteY69" fmla="*/ 762799 h 1255269"/>
                <a:gd name="connsiteX70" fmla="*/ 1187981 w 1629088"/>
                <a:gd name="connsiteY70" fmla="*/ 749694 h 1255269"/>
                <a:gd name="connsiteX71" fmla="*/ 1156246 w 1629088"/>
                <a:gd name="connsiteY71" fmla="*/ 672356 h 1255269"/>
                <a:gd name="connsiteX72" fmla="*/ 1160830 w 1629088"/>
                <a:gd name="connsiteY72" fmla="*/ 649378 h 1255269"/>
                <a:gd name="connsiteX73" fmla="*/ 1221008 w 1629088"/>
                <a:gd name="connsiteY73" fmla="*/ 589259 h 1255269"/>
                <a:gd name="connsiteX74" fmla="*/ 1136207 w 1629088"/>
                <a:gd name="connsiteY74" fmla="*/ 504458 h 1255269"/>
                <a:gd name="connsiteX75" fmla="*/ 1075911 w 1629088"/>
                <a:gd name="connsiteY75" fmla="*/ 564812 h 1255269"/>
                <a:gd name="connsiteX76" fmla="*/ 1052757 w 1629088"/>
                <a:gd name="connsiteY76" fmla="*/ 569396 h 1255269"/>
                <a:gd name="connsiteX77" fmla="*/ 975654 w 1629088"/>
                <a:gd name="connsiteY77" fmla="*/ 537133 h 1255269"/>
                <a:gd name="connsiteX78" fmla="*/ 962608 w 1629088"/>
                <a:gd name="connsiteY78" fmla="*/ 517622 h 1255269"/>
                <a:gd name="connsiteX79" fmla="*/ 962608 w 1629088"/>
                <a:gd name="connsiteY79" fmla="*/ 432527 h 1255269"/>
                <a:gd name="connsiteX80" fmla="*/ 842723 w 1629088"/>
                <a:gd name="connsiteY80" fmla="*/ 432527 h 1255269"/>
                <a:gd name="connsiteX81" fmla="*/ 842723 w 1629088"/>
                <a:gd name="connsiteY81" fmla="*/ 517857 h 1255269"/>
                <a:gd name="connsiteX82" fmla="*/ 829618 w 1629088"/>
                <a:gd name="connsiteY82" fmla="*/ 537426 h 1255269"/>
                <a:gd name="connsiteX83" fmla="*/ 752280 w 1629088"/>
                <a:gd name="connsiteY83" fmla="*/ 569161 h 1255269"/>
                <a:gd name="connsiteX84" fmla="*/ 729302 w 1629088"/>
                <a:gd name="connsiteY84" fmla="*/ 564518 h 1255269"/>
                <a:gd name="connsiteX85" fmla="*/ 669183 w 1629088"/>
                <a:gd name="connsiteY85" fmla="*/ 504399 h 1255269"/>
                <a:gd name="connsiteX86" fmla="*/ 584441 w 1629088"/>
                <a:gd name="connsiteY86" fmla="*/ 589200 h 1255269"/>
                <a:gd name="connsiteX87" fmla="*/ 644795 w 1629088"/>
                <a:gd name="connsiteY87" fmla="*/ 649613 h 1255269"/>
                <a:gd name="connsiteX88" fmla="*/ 649320 w 1629088"/>
                <a:gd name="connsiteY88" fmla="*/ 672767 h 1255269"/>
                <a:gd name="connsiteX89" fmla="*/ 617057 w 1629088"/>
                <a:gd name="connsiteY89" fmla="*/ 749870 h 1255269"/>
                <a:gd name="connsiteX90" fmla="*/ 597546 w 1629088"/>
                <a:gd name="connsiteY90" fmla="*/ 762858 h 1255269"/>
                <a:gd name="connsiteX91" fmla="*/ 512451 w 1629088"/>
                <a:gd name="connsiteY91" fmla="*/ 762858 h 1255269"/>
                <a:gd name="connsiteX92" fmla="*/ 512451 w 1629088"/>
                <a:gd name="connsiteY92" fmla="*/ 882743 h 1255269"/>
                <a:gd name="connsiteX93" fmla="*/ 597781 w 1629088"/>
                <a:gd name="connsiteY93" fmla="*/ 882743 h 1255269"/>
                <a:gd name="connsiteX94" fmla="*/ 617350 w 1629088"/>
                <a:gd name="connsiteY94" fmla="*/ 895907 h 1255269"/>
                <a:gd name="connsiteX95" fmla="*/ 649085 w 1629088"/>
                <a:gd name="connsiteY95" fmla="*/ 973245 h 1255269"/>
                <a:gd name="connsiteX96" fmla="*/ 644442 w 1629088"/>
                <a:gd name="connsiteY96" fmla="*/ 996281 h 1255269"/>
                <a:gd name="connsiteX97" fmla="*/ 584382 w 1629088"/>
                <a:gd name="connsiteY97" fmla="*/ 1056341 h 1255269"/>
                <a:gd name="connsiteX98" fmla="*/ 669124 w 1629088"/>
                <a:gd name="connsiteY98" fmla="*/ 1141143 h 1255269"/>
                <a:gd name="connsiteX99" fmla="*/ 729537 w 1629088"/>
                <a:gd name="connsiteY99" fmla="*/ 1080730 h 1255269"/>
                <a:gd name="connsiteX100" fmla="*/ 752691 w 1629088"/>
                <a:gd name="connsiteY100" fmla="*/ 1076205 h 1255269"/>
                <a:gd name="connsiteX101" fmla="*/ 829794 w 1629088"/>
                <a:gd name="connsiteY101" fmla="*/ 1108527 h 1255269"/>
                <a:gd name="connsiteX102" fmla="*/ 842782 w 1629088"/>
                <a:gd name="connsiteY102" fmla="*/ 1128038 h 1255269"/>
                <a:gd name="connsiteX103" fmla="*/ 842723 w 1629088"/>
                <a:gd name="connsiteY103" fmla="*/ 1212956 h 1255269"/>
                <a:gd name="connsiteX104" fmla="*/ 842723 w 1629088"/>
                <a:gd name="connsiteY104" fmla="*/ 1212956 h 1255269"/>
                <a:gd name="connsiteX105" fmla="*/ 902665 w 1629088"/>
                <a:gd name="connsiteY105" fmla="*/ 1020200 h 1255269"/>
                <a:gd name="connsiteX106" fmla="*/ 705207 w 1629088"/>
                <a:gd name="connsiteY106" fmla="*/ 822741 h 1255269"/>
                <a:gd name="connsiteX107" fmla="*/ 902665 w 1629088"/>
                <a:gd name="connsiteY107" fmla="*/ 625283 h 1255269"/>
                <a:gd name="connsiteX108" fmla="*/ 1100124 w 1629088"/>
                <a:gd name="connsiteY108" fmla="*/ 822741 h 1255269"/>
                <a:gd name="connsiteX109" fmla="*/ 902665 w 1629088"/>
                <a:gd name="connsiteY109" fmla="*/ 1020200 h 1255269"/>
                <a:gd name="connsiteX110" fmla="*/ 902665 w 1629088"/>
                <a:gd name="connsiteY110" fmla="*/ 667596 h 1255269"/>
                <a:gd name="connsiteX111" fmla="*/ 747520 w 1629088"/>
                <a:gd name="connsiteY111" fmla="*/ 822741 h 1255269"/>
                <a:gd name="connsiteX112" fmla="*/ 902665 w 1629088"/>
                <a:gd name="connsiteY112" fmla="*/ 977887 h 1255269"/>
                <a:gd name="connsiteX113" fmla="*/ 1057811 w 1629088"/>
                <a:gd name="connsiteY113" fmla="*/ 822741 h 1255269"/>
                <a:gd name="connsiteX114" fmla="*/ 902665 w 1629088"/>
                <a:gd name="connsiteY114" fmla="*/ 667596 h 1255269"/>
                <a:gd name="connsiteX115" fmla="*/ 42312 w 1629088"/>
                <a:gd name="connsiteY115" fmla="*/ 822741 h 1255269"/>
                <a:gd name="connsiteX116" fmla="*/ 0 w 1629088"/>
                <a:gd name="connsiteY116" fmla="*/ 822741 h 1255269"/>
                <a:gd name="connsiteX117" fmla="*/ 1586717 w 1629088"/>
                <a:gd name="connsiteY117" fmla="*/ 0 h 1255269"/>
                <a:gd name="connsiteX118" fmla="*/ 1629088 w 1629088"/>
                <a:gd name="connsiteY118" fmla="*/ 0 h 1255269"/>
                <a:gd name="connsiteX119" fmla="*/ 1629088 w 1629088"/>
                <a:gd name="connsiteY119" fmla="*/ 314992 h 1255269"/>
                <a:gd name="connsiteX120" fmla="*/ 42312 w 1629088"/>
                <a:gd name="connsiteY120" fmla="*/ 822741 h 1255269"/>
                <a:gd name="connsiteX0" fmla="*/ 983764 w 1629088"/>
                <a:gd name="connsiteY0" fmla="*/ 1255269 h 1255269"/>
                <a:gd name="connsiteX1" fmla="*/ 821567 w 1629088"/>
                <a:gd name="connsiteY1" fmla="*/ 1255269 h 1255269"/>
                <a:gd name="connsiteX2" fmla="*/ 800410 w 1629088"/>
                <a:gd name="connsiteY2" fmla="*/ 1234112 h 1255269"/>
                <a:gd name="connsiteX3" fmla="*/ 800410 w 1629088"/>
                <a:gd name="connsiteY3" fmla="*/ 1142024 h 1255269"/>
                <a:gd name="connsiteX4" fmla="*/ 749342 w 1629088"/>
                <a:gd name="connsiteY4" fmla="*/ 1120692 h 1255269"/>
                <a:gd name="connsiteX5" fmla="*/ 684051 w 1629088"/>
                <a:gd name="connsiteY5" fmla="*/ 1185982 h 1255269"/>
                <a:gd name="connsiteX6" fmla="*/ 669124 w 1629088"/>
                <a:gd name="connsiteY6" fmla="*/ 1192153 h 1255269"/>
                <a:gd name="connsiteX7" fmla="*/ 669124 w 1629088"/>
                <a:gd name="connsiteY7" fmla="*/ 1192153 h 1255269"/>
                <a:gd name="connsiteX8" fmla="*/ 654197 w 1629088"/>
                <a:gd name="connsiteY8" fmla="*/ 1185982 h 1255269"/>
                <a:gd name="connsiteX9" fmla="*/ 539484 w 1629088"/>
                <a:gd name="connsiteY9" fmla="*/ 1071268 h 1255269"/>
                <a:gd name="connsiteX10" fmla="*/ 539484 w 1629088"/>
                <a:gd name="connsiteY10" fmla="*/ 1041297 h 1255269"/>
                <a:gd name="connsiteX11" fmla="*/ 604598 w 1629088"/>
                <a:gd name="connsiteY11" fmla="*/ 976242 h 1255269"/>
                <a:gd name="connsiteX12" fmla="*/ 583618 w 1629088"/>
                <a:gd name="connsiteY12" fmla="*/ 925055 h 1255269"/>
                <a:gd name="connsiteX13" fmla="*/ 491294 w 1629088"/>
                <a:gd name="connsiteY13" fmla="*/ 925055 h 1255269"/>
                <a:gd name="connsiteX14" fmla="*/ 470138 w 1629088"/>
                <a:gd name="connsiteY14" fmla="*/ 903899 h 1255269"/>
                <a:gd name="connsiteX15" fmla="*/ 470138 w 1629088"/>
                <a:gd name="connsiteY15" fmla="*/ 741701 h 1255269"/>
                <a:gd name="connsiteX16" fmla="*/ 491294 w 1629088"/>
                <a:gd name="connsiteY16" fmla="*/ 720545 h 1255269"/>
                <a:gd name="connsiteX17" fmla="*/ 583383 w 1629088"/>
                <a:gd name="connsiteY17" fmla="*/ 720545 h 1255269"/>
                <a:gd name="connsiteX18" fmla="*/ 604715 w 1629088"/>
                <a:gd name="connsiteY18" fmla="*/ 669476 h 1255269"/>
                <a:gd name="connsiteX19" fmla="*/ 539484 w 1629088"/>
                <a:gd name="connsiteY19" fmla="*/ 604127 h 1255269"/>
                <a:gd name="connsiteX20" fmla="*/ 539484 w 1629088"/>
                <a:gd name="connsiteY20" fmla="*/ 574215 h 1255269"/>
                <a:gd name="connsiteX21" fmla="*/ 654139 w 1629088"/>
                <a:gd name="connsiteY21" fmla="*/ 459501 h 1255269"/>
                <a:gd name="connsiteX22" fmla="*/ 684051 w 1629088"/>
                <a:gd name="connsiteY22" fmla="*/ 459501 h 1255269"/>
                <a:gd name="connsiteX23" fmla="*/ 749165 w 1629088"/>
                <a:gd name="connsiteY23" fmla="*/ 524674 h 1255269"/>
                <a:gd name="connsiteX24" fmla="*/ 800410 w 1629088"/>
                <a:gd name="connsiteY24" fmla="*/ 503694 h 1255269"/>
                <a:gd name="connsiteX25" fmla="*/ 800410 w 1629088"/>
                <a:gd name="connsiteY25" fmla="*/ 411370 h 1255269"/>
                <a:gd name="connsiteX26" fmla="*/ 821567 w 1629088"/>
                <a:gd name="connsiteY26" fmla="*/ 390214 h 1255269"/>
                <a:gd name="connsiteX27" fmla="*/ 983764 w 1629088"/>
                <a:gd name="connsiteY27" fmla="*/ 390214 h 1255269"/>
                <a:gd name="connsiteX28" fmla="*/ 1004921 w 1629088"/>
                <a:gd name="connsiteY28" fmla="*/ 411370 h 1255269"/>
                <a:gd name="connsiteX29" fmla="*/ 1004921 w 1629088"/>
                <a:gd name="connsiteY29" fmla="*/ 503459 h 1255269"/>
                <a:gd name="connsiteX30" fmla="*/ 1055931 w 1629088"/>
                <a:gd name="connsiteY30" fmla="*/ 524791 h 1255269"/>
                <a:gd name="connsiteX31" fmla="*/ 1121162 w 1629088"/>
                <a:gd name="connsiteY31" fmla="*/ 459501 h 1255269"/>
                <a:gd name="connsiteX32" fmla="*/ 1151134 w 1629088"/>
                <a:gd name="connsiteY32" fmla="*/ 459501 h 1255269"/>
                <a:gd name="connsiteX33" fmla="*/ 1265847 w 1629088"/>
                <a:gd name="connsiteY33" fmla="*/ 574215 h 1255269"/>
                <a:gd name="connsiteX34" fmla="*/ 1272018 w 1629088"/>
                <a:gd name="connsiteY34" fmla="*/ 589142 h 1255269"/>
                <a:gd name="connsiteX35" fmla="*/ 1265847 w 1629088"/>
                <a:gd name="connsiteY35" fmla="*/ 604068 h 1255269"/>
                <a:gd name="connsiteX36" fmla="*/ 1200674 w 1629088"/>
                <a:gd name="connsiteY36" fmla="*/ 669183 h 1255269"/>
                <a:gd name="connsiteX37" fmla="*/ 1221654 w 1629088"/>
                <a:gd name="connsiteY37" fmla="*/ 720428 h 1255269"/>
                <a:gd name="connsiteX38" fmla="*/ 1314036 w 1629088"/>
                <a:gd name="connsiteY38" fmla="*/ 720428 h 1255269"/>
                <a:gd name="connsiteX39" fmla="*/ 1335193 w 1629088"/>
                <a:gd name="connsiteY39" fmla="*/ 741584 h 1255269"/>
                <a:gd name="connsiteX40" fmla="*/ 1335193 w 1629088"/>
                <a:gd name="connsiteY40" fmla="*/ 903782 h 1255269"/>
                <a:gd name="connsiteX41" fmla="*/ 1314036 w 1629088"/>
                <a:gd name="connsiteY41" fmla="*/ 924938 h 1255269"/>
                <a:gd name="connsiteX42" fmla="*/ 1221948 w 1629088"/>
                <a:gd name="connsiteY42" fmla="*/ 924938 h 1255269"/>
                <a:gd name="connsiteX43" fmla="*/ 1200616 w 1629088"/>
                <a:gd name="connsiteY43" fmla="*/ 975948 h 1255269"/>
                <a:gd name="connsiteX44" fmla="*/ 1265906 w 1629088"/>
                <a:gd name="connsiteY44" fmla="*/ 1041179 h 1255269"/>
                <a:gd name="connsiteX45" fmla="*/ 1272077 w 1629088"/>
                <a:gd name="connsiteY45" fmla="*/ 1056165 h 1255269"/>
                <a:gd name="connsiteX46" fmla="*/ 1265906 w 1629088"/>
                <a:gd name="connsiteY46" fmla="*/ 1071151 h 1255269"/>
                <a:gd name="connsiteX47" fmla="*/ 1151192 w 1629088"/>
                <a:gd name="connsiteY47" fmla="*/ 1185865 h 1255269"/>
                <a:gd name="connsiteX48" fmla="*/ 1136207 w 1629088"/>
                <a:gd name="connsiteY48" fmla="*/ 1192035 h 1255269"/>
                <a:gd name="connsiteX49" fmla="*/ 1136207 w 1629088"/>
                <a:gd name="connsiteY49" fmla="*/ 1192035 h 1255269"/>
                <a:gd name="connsiteX50" fmla="*/ 1121221 w 1629088"/>
                <a:gd name="connsiteY50" fmla="*/ 1185865 h 1255269"/>
                <a:gd name="connsiteX51" fmla="*/ 1056166 w 1629088"/>
                <a:gd name="connsiteY51" fmla="*/ 1120692 h 1255269"/>
                <a:gd name="connsiteX52" fmla="*/ 1004979 w 1629088"/>
                <a:gd name="connsiteY52" fmla="*/ 1141672 h 1255269"/>
                <a:gd name="connsiteX53" fmla="*/ 1004979 w 1629088"/>
                <a:gd name="connsiteY53" fmla="*/ 1234112 h 1255269"/>
                <a:gd name="connsiteX54" fmla="*/ 983764 w 1629088"/>
                <a:gd name="connsiteY54" fmla="*/ 1255269 h 1255269"/>
                <a:gd name="connsiteX55" fmla="*/ 842723 w 1629088"/>
                <a:gd name="connsiteY55" fmla="*/ 1212956 h 1255269"/>
                <a:gd name="connsiteX56" fmla="*/ 962608 w 1629088"/>
                <a:gd name="connsiteY56" fmla="*/ 1212956 h 1255269"/>
                <a:gd name="connsiteX57" fmla="*/ 962608 w 1629088"/>
                <a:gd name="connsiteY57" fmla="*/ 1127626 h 1255269"/>
                <a:gd name="connsiteX58" fmla="*/ 975772 w 1629088"/>
                <a:gd name="connsiteY58" fmla="*/ 1108057 h 1255269"/>
                <a:gd name="connsiteX59" fmla="*/ 1053110 w 1629088"/>
                <a:gd name="connsiteY59" fmla="*/ 1076322 h 1255269"/>
                <a:gd name="connsiteX60" fmla="*/ 1076146 w 1629088"/>
                <a:gd name="connsiteY60" fmla="*/ 1080906 h 1255269"/>
                <a:gd name="connsiteX61" fmla="*/ 1136207 w 1629088"/>
                <a:gd name="connsiteY61" fmla="*/ 1141084 h 1255269"/>
                <a:gd name="connsiteX62" fmla="*/ 1221008 w 1629088"/>
                <a:gd name="connsiteY62" fmla="*/ 1056283 h 1255269"/>
                <a:gd name="connsiteX63" fmla="*/ 1160595 w 1629088"/>
                <a:gd name="connsiteY63" fmla="*/ 995987 h 1255269"/>
                <a:gd name="connsiteX64" fmla="*/ 1156070 w 1629088"/>
                <a:gd name="connsiteY64" fmla="*/ 972833 h 1255269"/>
                <a:gd name="connsiteX65" fmla="*/ 1188392 w 1629088"/>
                <a:gd name="connsiteY65" fmla="*/ 895730 h 1255269"/>
                <a:gd name="connsiteX66" fmla="*/ 1207903 w 1629088"/>
                <a:gd name="connsiteY66" fmla="*/ 882684 h 1255269"/>
                <a:gd name="connsiteX67" fmla="*/ 1292880 w 1629088"/>
                <a:gd name="connsiteY67" fmla="*/ 882684 h 1255269"/>
                <a:gd name="connsiteX68" fmla="*/ 1292880 w 1629088"/>
                <a:gd name="connsiteY68" fmla="*/ 762799 h 1255269"/>
                <a:gd name="connsiteX69" fmla="*/ 1207550 w 1629088"/>
                <a:gd name="connsiteY69" fmla="*/ 762799 h 1255269"/>
                <a:gd name="connsiteX70" fmla="*/ 1187981 w 1629088"/>
                <a:gd name="connsiteY70" fmla="*/ 749694 h 1255269"/>
                <a:gd name="connsiteX71" fmla="*/ 1156246 w 1629088"/>
                <a:gd name="connsiteY71" fmla="*/ 672356 h 1255269"/>
                <a:gd name="connsiteX72" fmla="*/ 1160830 w 1629088"/>
                <a:gd name="connsiteY72" fmla="*/ 649378 h 1255269"/>
                <a:gd name="connsiteX73" fmla="*/ 1221008 w 1629088"/>
                <a:gd name="connsiteY73" fmla="*/ 589259 h 1255269"/>
                <a:gd name="connsiteX74" fmla="*/ 1136207 w 1629088"/>
                <a:gd name="connsiteY74" fmla="*/ 504458 h 1255269"/>
                <a:gd name="connsiteX75" fmla="*/ 1075911 w 1629088"/>
                <a:gd name="connsiteY75" fmla="*/ 564812 h 1255269"/>
                <a:gd name="connsiteX76" fmla="*/ 1052757 w 1629088"/>
                <a:gd name="connsiteY76" fmla="*/ 569396 h 1255269"/>
                <a:gd name="connsiteX77" fmla="*/ 975654 w 1629088"/>
                <a:gd name="connsiteY77" fmla="*/ 537133 h 1255269"/>
                <a:gd name="connsiteX78" fmla="*/ 962608 w 1629088"/>
                <a:gd name="connsiteY78" fmla="*/ 517622 h 1255269"/>
                <a:gd name="connsiteX79" fmla="*/ 962608 w 1629088"/>
                <a:gd name="connsiteY79" fmla="*/ 432527 h 1255269"/>
                <a:gd name="connsiteX80" fmla="*/ 842723 w 1629088"/>
                <a:gd name="connsiteY80" fmla="*/ 432527 h 1255269"/>
                <a:gd name="connsiteX81" fmla="*/ 842723 w 1629088"/>
                <a:gd name="connsiteY81" fmla="*/ 517857 h 1255269"/>
                <a:gd name="connsiteX82" fmla="*/ 829618 w 1629088"/>
                <a:gd name="connsiteY82" fmla="*/ 537426 h 1255269"/>
                <a:gd name="connsiteX83" fmla="*/ 752280 w 1629088"/>
                <a:gd name="connsiteY83" fmla="*/ 569161 h 1255269"/>
                <a:gd name="connsiteX84" fmla="*/ 729302 w 1629088"/>
                <a:gd name="connsiteY84" fmla="*/ 564518 h 1255269"/>
                <a:gd name="connsiteX85" fmla="*/ 669183 w 1629088"/>
                <a:gd name="connsiteY85" fmla="*/ 504399 h 1255269"/>
                <a:gd name="connsiteX86" fmla="*/ 584441 w 1629088"/>
                <a:gd name="connsiteY86" fmla="*/ 589200 h 1255269"/>
                <a:gd name="connsiteX87" fmla="*/ 644795 w 1629088"/>
                <a:gd name="connsiteY87" fmla="*/ 649613 h 1255269"/>
                <a:gd name="connsiteX88" fmla="*/ 649320 w 1629088"/>
                <a:gd name="connsiteY88" fmla="*/ 672767 h 1255269"/>
                <a:gd name="connsiteX89" fmla="*/ 617057 w 1629088"/>
                <a:gd name="connsiteY89" fmla="*/ 749870 h 1255269"/>
                <a:gd name="connsiteX90" fmla="*/ 597546 w 1629088"/>
                <a:gd name="connsiteY90" fmla="*/ 762858 h 1255269"/>
                <a:gd name="connsiteX91" fmla="*/ 512451 w 1629088"/>
                <a:gd name="connsiteY91" fmla="*/ 762858 h 1255269"/>
                <a:gd name="connsiteX92" fmla="*/ 512451 w 1629088"/>
                <a:gd name="connsiteY92" fmla="*/ 882743 h 1255269"/>
                <a:gd name="connsiteX93" fmla="*/ 597781 w 1629088"/>
                <a:gd name="connsiteY93" fmla="*/ 882743 h 1255269"/>
                <a:gd name="connsiteX94" fmla="*/ 617350 w 1629088"/>
                <a:gd name="connsiteY94" fmla="*/ 895907 h 1255269"/>
                <a:gd name="connsiteX95" fmla="*/ 649085 w 1629088"/>
                <a:gd name="connsiteY95" fmla="*/ 973245 h 1255269"/>
                <a:gd name="connsiteX96" fmla="*/ 644442 w 1629088"/>
                <a:gd name="connsiteY96" fmla="*/ 996281 h 1255269"/>
                <a:gd name="connsiteX97" fmla="*/ 584382 w 1629088"/>
                <a:gd name="connsiteY97" fmla="*/ 1056341 h 1255269"/>
                <a:gd name="connsiteX98" fmla="*/ 669124 w 1629088"/>
                <a:gd name="connsiteY98" fmla="*/ 1141143 h 1255269"/>
                <a:gd name="connsiteX99" fmla="*/ 729537 w 1629088"/>
                <a:gd name="connsiteY99" fmla="*/ 1080730 h 1255269"/>
                <a:gd name="connsiteX100" fmla="*/ 752691 w 1629088"/>
                <a:gd name="connsiteY100" fmla="*/ 1076205 h 1255269"/>
                <a:gd name="connsiteX101" fmla="*/ 829794 w 1629088"/>
                <a:gd name="connsiteY101" fmla="*/ 1108527 h 1255269"/>
                <a:gd name="connsiteX102" fmla="*/ 842782 w 1629088"/>
                <a:gd name="connsiteY102" fmla="*/ 1128038 h 1255269"/>
                <a:gd name="connsiteX103" fmla="*/ 842723 w 1629088"/>
                <a:gd name="connsiteY103" fmla="*/ 1212956 h 1255269"/>
                <a:gd name="connsiteX104" fmla="*/ 842723 w 1629088"/>
                <a:gd name="connsiteY104" fmla="*/ 1212956 h 1255269"/>
                <a:gd name="connsiteX105" fmla="*/ 902665 w 1629088"/>
                <a:gd name="connsiteY105" fmla="*/ 1020200 h 1255269"/>
                <a:gd name="connsiteX106" fmla="*/ 705207 w 1629088"/>
                <a:gd name="connsiteY106" fmla="*/ 822741 h 1255269"/>
                <a:gd name="connsiteX107" fmla="*/ 902665 w 1629088"/>
                <a:gd name="connsiteY107" fmla="*/ 625283 h 1255269"/>
                <a:gd name="connsiteX108" fmla="*/ 1100124 w 1629088"/>
                <a:gd name="connsiteY108" fmla="*/ 822741 h 1255269"/>
                <a:gd name="connsiteX109" fmla="*/ 902665 w 1629088"/>
                <a:gd name="connsiteY109" fmla="*/ 1020200 h 1255269"/>
                <a:gd name="connsiteX110" fmla="*/ 902665 w 1629088"/>
                <a:gd name="connsiteY110" fmla="*/ 667596 h 1255269"/>
                <a:gd name="connsiteX111" fmla="*/ 747520 w 1629088"/>
                <a:gd name="connsiteY111" fmla="*/ 822741 h 1255269"/>
                <a:gd name="connsiteX112" fmla="*/ 902665 w 1629088"/>
                <a:gd name="connsiteY112" fmla="*/ 977887 h 1255269"/>
                <a:gd name="connsiteX113" fmla="*/ 1057811 w 1629088"/>
                <a:gd name="connsiteY113" fmla="*/ 822741 h 1255269"/>
                <a:gd name="connsiteX114" fmla="*/ 902665 w 1629088"/>
                <a:gd name="connsiteY114" fmla="*/ 667596 h 1255269"/>
                <a:gd name="connsiteX115" fmla="*/ 42312 w 1629088"/>
                <a:gd name="connsiteY115" fmla="*/ 822741 h 1255269"/>
                <a:gd name="connsiteX116" fmla="*/ 0 w 1629088"/>
                <a:gd name="connsiteY116" fmla="*/ 822741 h 1255269"/>
                <a:gd name="connsiteX117" fmla="*/ 1586717 w 1629088"/>
                <a:gd name="connsiteY117" fmla="*/ 0 h 1255269"/>
                <a:gd name="connsiteX118" fmla="*/ 1629088 w 1629088"/>
                <a:gd name="connsiteY118" fmla="*/ 0 h 1255269"/>
                <a:gd name="connsiteX119" fmla="*/ 42312 w 1629088"/>
                <a:gd name="connsiteY119" fmla="*/ 822741 h 1255269"/>
                <a:gd name="connsiteX0" fmla="*/ 983764 w 1629088"/>
                <a:gd name="connsiteY0" fmla="*/ 1255269 h 1255269"/>
                <a:gd name="connsiteX1" fmla="*/ 821567 w 1629088"/>
                <a:gd name="connsiteY1" fmla="*/ 1255269 h 1255269"/>
                <a:gd name="connsiteX2" fmla="*/ 800410 w 1629088"/>
                <a:gd name="connsiteY2" fmla="*/ 1234112 h 1255269"/>
                <a:gd name="connsiteX3" fmla="*/ 800410 w 1629088"/>
                <a:gd name="connsiteY3" fmla="*/ 1142024 h 1255269"/>
                <a:gd name="connsiteX4" fmla="*/ 749342 w 1629088"/>
                <a:gd name="connsiteY4" fmla="*/ 1120692 h 1255269"/>
                <a:gd name="connsiteX5" fmla="*/ 684051 w 1629088"/>
                <a:gd name="connsiteY5" fmla="*/ 1185982 h 1255269"/>
                <a:gd name="connsiteX6" fmla="*/ 669124 w 1629088"/>
                <a:gd name="connsiteY6" fmla="*/ 1192153 h 1255269"/>
                <a:gd name="connsiteX7" fmla="*/ 669124 w 1629088"/>
                <a:gd name="connsiteY7" fmla="*/ 1192153 h 1255269"/>
                <a:gd name="connsiteX8" fmla="*/ 654197 w 1629088"/>
                <a:gd name="connsiteY8" fmla="*/ 1185982 h 1255269"/>
                <a:gd name="connsiteX9" fmla="*/ 539484 w 1629088"/>
                <a:gd name="connsiteY9" fmla="*/ 1071268 h 1255269"/>
                <a:gd name="connsiteX10" fmla="*/ 539484 w 1629088"/>
                <a:gd name="connsiteY10" fmla="*/ 1041297 h 1255269"/>
                <a:gd name="connsiteX11" fmla="*/ 604598 w 1629088"/>
                <a:gd name="connsiteY11" fmla="*/ 976242 h 1255269"/>
                <a:gd name="connsiteX12" fmla="*/ 583618 w 1629088"/>
                <a:gd name="connsiteY12" fmla="*/ 925055 h 1255269"/>
                <a:gd name="connsiteX13" fmla="*/ 491294 w 1629088"/>
                <a:gd name="connsiteY13" fmla="*/ 925055 h 1255269"/>
                <a:gd name="connsiteX14" fmla="*/ 470138 w 1629088"/>
                <a:gd name="connsiteY14" fmla="*/ 903899 h 1255269"/>
                <a:gd name="connsiteX15" fmla="*/ 470138 w 1629088"/>
                <a:gd name="connsiteY15" fmla="*/ 741701 h 1255269"/>
                <a:gd name="connsiteX16" fmla="*/ 491294 w 1629088"/>
                <a:gd name="connsiteY16" fmla="*/ 720545 h 1255269"/>
                <a:gd name="connsiteX17" fmla="*/ 583383 w 1629088"/>
                <a:gd name="connsiteY17" fmla="*/ 720545 h 1255269"/>
                <a:gd name="connsiteX18" fmla="*/ 604715 w 1629088"/>
                <a:gd name="connsiteY18" fmla="*/ 669476 h 1255269"/>
                <a:gd name="connsiteX19" fmla="*/ 539484 w 1629088"/>
                <a:gd name="connsiteY19" fmla="*/ 604127 h 1255269"/>
                <a:gd name="connsiteX20" fmla="*/ 539484 w 1629088"/>
                <a:gd name="connsiteY20" fmla="*/ 574215 h 1255269"/>
                <a:gd name="connsiteX21" fmla="*/ 654139 w 1629088"/>
                <a:gd name="connsiteY21" fmla="*/ 459501 h 1255269"/>
                <a:gd name="connsiteX22" fmla="*/ 684051 w 1629088"/>
                <a:gd name="connsiteY22" fmla="*/ 459501 h 1255269"/>
                <a:gd name="connsiteX23" fmla="*/ 749165 w 1629088"/>
                <a:gd name="connsiteY23" fmla="*/ 524674 h 1255269"/>
                <a:gd name="connsiteX24" fmla="*/ 800410 w 1629088"/>
                <a:gd name="connsiteY24" fmla="*/ 503694 h 1255269"/>
                <a:gd name="connsiteX25" fmla="*/ 800410 w 1629088"/>
                <a:gd name="connsiteY25" fmla="*/ 411370 h 1255269"/>
                <a:gd name="connsiteX26" fmla="*/ 821567 w 1629088"/>
                <a:gd name="connsiteY26" fmla="*/ 390214 h 1255269"/>
                <a:gd name="connsiteX27" fmla="*/ 983764 w 1629088"/>
                <a:gd name="connsiteY27" fmla="*/ 390214 h 1255269"/>
                <a:gd name="connsiteX28" fmla="*/ 1004921 w 1629088"/>
                <a:gd name="connsiteY28" fmla="*/ 411370 h 1255269"/>
                <a:gd name="connsiteX29" fmla="*/ 1004921 w 1629088"/>
                <a:gd name="connsiteY29" fmla="*/ 503459 h 1255269"/>
                <a:gd name="connsiteX30" fmla="*/ 1055931 w 1629088"/>
                <a:gd name="connsiteY30" fmla="*/ 524791 h 1255269"/>
                <a:gd name="connsiteX31" fmla="*/ 1121162 w 1629088"/>
                <a:gd name="connsiteY31" fmla="*/ 459501 h 1255269"/>
                <a:gd name="connsiteX32" fmla="*/ 1151134 w 1629088"/>
                <a:gd name="connsiteY32" fmla="*/ 459501 h 1255269"/>
                <a:gd name="connsiteX33" fmla="*/ 1265847 w 1629088"/>
                <a:gd name="connsiteY33" fmla="*/ 574215 h 1255269"/>
                <a:gd name="connsiteX34" fmla="*/ 1272018 w 1629088"/>
                <a:gd name="connsiteY34" fmla="*/ 589142 h 1255269"/>
                <a:gd name="connsiteX35" fmla="*/ 1265847 w 1629088"/>
                <a:gd name="connsiteY35" fmla="*/ 604068 h 1255269"/>
                <a:gd name="connsiteX36" fmla="*/ 1200674 w 1629088"/>
                <a:gd name="connsiteY36" fmla="*/ 669183 h 1255269"/>
                <a:gd name="connsiteX37" fmla="*/ 1221654 w 1629088"/>
                <a:gd name="connsiteY37" fmla="*/ 720428 h 1255269"/>
                <a:gd name="connsiteX38" fmla="*/ 1314036 w 1629088"/>
                <a:gd name="connsiteY38" fmla="*/ 720428 h 1255269"/>
                <a:gd name="connsiteX39" fmla="*/ 1335193 w 1629088"/>
                <a:gd name="connsiteY39" fmla="*/ 741584 h 1255269"/>
                <a:gd name="connsiteX40" fmla="*/ 1335193 w 1629088"/>
                <a:gd name="connsiteY40" fmla="*/ 903782 h 1255269"/>
                <a:gd name="connsiteX41" fmla="*/ 1314036 w 1629088"/>
                <a:gd name="connsiteY41" fmla="*/ 924938 h 1255269"/>
                <a:gd name="connsiteX42" fmla="*/ 1221948 w 1629088"/>
                <a:gd name="connsiteY42" fmla="*/ 924938 h 1255269"/>
                <a:gd name="connsiteX43" fmla="*/ 1200616 w 1629088"/>
                <a:gd name="connsiteY43" fmla="*/ 975948 h 1255269"/>
                <a:gd name="connsiteX44" fmla="*/ 1265906 w 1629088"/>
                <a:gd name="connsiteY44" fmla="*/ 1041179 h 1255269"/>
                <a:gd name="connsiteX45" fmla="*/ 1272077 w 1629088"/>
                <a:gd name="connsiteY45" fmla="*/ 1056165 h 1255269"/>
                <a:gd name="connsiteX46" fmla="*/ 1265906 w 1629088"/>
                <a:gd name="connsiteY46" fmla="*/ 1071151 h 1255269"/>
                <a:gd name="connsiteX47" fmla="*/ 1151192 w 1629088"/>
                <a:gd name="connsiteY47" fmla="*/ 1185865 h 1255269"/>
                <a:gd name="connsiteX48" fmla="*/ 1136207 w 1629088"/>
                <a:gd name="connsiteY48" fmla="*/ 1192035 h 1255269"/>
                <a:gd name="connsiteX49" fmla="*/ 1136207 w 1629088"/>
                <a:gd name="connsiteY49" fmla="*/ 1192035 h 1255269"/>
                <a:gd name="connsiteX50" fmla="*/ 1121221 w 1629088"/>
                <a:gd name="connsiteY50" fmla="*/ 1185865 h 1255269"/>
                <a:gd name="connsiteX51" fmla="*/ 1056166 w 1629088"/>
                <a:gd name="connsiteY51" fmla="*/ 1120692 h 1255269"/>
                <a:gd name="connsiteX52" fmla="*/ 1004979 w 1629088"/>
                <a:gd name="connsiteY52" fmla="*/ 1141672 h 1255269"/>
                <a:gd name="connsiteX53" fmla="*/ 1004979 w 1629088"/>
                <a:gd name="connsiteY53" fmla="*/ 1234112 h 1255269"/>
                <a:gd name="connsiteX54" fmla="*/ 983764 w 1629088"/>
                <a:gd name="connsiteY54" fmla="*/ 1255269 h 1255269"/>
                <a:gd name="connsiteX55" fmla="*/ 842723 w 1629088"/>
                <a:gd name="connsiteY55" fmla="*/ 1212956 h 1255269"/>
                <a:gd name="connsiteX56" fmla="*/ 962608 w 1629088"/>
                <a:gd name="connsiteY56" fmla="*/ 1212956 h 1255269"/>
                <a:gd name="connsiteX57" fmla="*/ 962608 w 1629088"/>
                <a:gd name="connsiteY57" fmla="*/ 1127626 h 1255269"/>
                <a:gd name="connsiteX58" fmla="*/ 975772 w 1629088"/>
                <a:gd name="connsiteY58" fmla="*/ 1108057 h 1255269"/>
                <a:gd name="connsiteX59" fmla="*/ 1053110 w 1629088"/>
                <a:gd name="connsiteY59" fmla="*/ 1076322 h 1255269"/>
                <a:gd name="connsiteX60" fmla="*/ 1076146 w 1629088"/>
                <a:gd name="connsiteY60" fmla="*/ 1080906 h 1255269"/>
                <a:gd name="connsiteX61" fmla="*/ 1136207 w 1629088"/>
                <a:gd name="connsiteY61" fmla="*/ 1141084 h 1255269"/>
                <a:gd name="connsiteX62" fmla="*/ 1221008 w 1629088"/>
                <a:gd name="connsiteY62" fmla="*/ 1056283 h 1255269"/>
                <a:gd name="connsiteX63" fmla="*/ 1160595 w 1629088"/>
                <a:gd name="connsiteY63" fmla="*/ 995987 h 1255269"/>
                <a:gd name="connsiteX64" fmla="*/ 1156070 w 1629088"/>
                <a:gd name="connsiteY64" fmla="*/ 972833 h 1255269"/>
                <a:gd name="connsiteX65" fmla="*/ 1188392 w 1629088"/>
                <a:gd name="connsiteY65" fmla="*/ 895730 h 1255269"/>
                <a:gd name="connsiteX66" fmla="*/ 1207903 w 1629088"/>
                <a:gd name="connsiteY66" fmla="*/ 882684 h 1255269"/>
                <a:gd name="connsiteX67" fmla="*/ 1292880 w 1629088"/>
                <a:gd name="connsiteY67" fmla="*/ 882684 h 1255269"/>
                <a:gd name="connsiteX68" fmla="*/ 1292880 w 1629088"/>
                <a:gd name="connsiteY68" fmla="*/ 762799 h 1255269"/>
                <a:gd name="connsiteX69" fmla="*/ 1207550 w 1629088"/>
                <a:gd name="connsiteY69" fmla="*/ 762799 h 1255269"/>
                <a:gd name="connsiteX70" fmla="*/ 1187981 w 1629088"/>
                <a:gd name="connsiteY70" fmla="*/ 749694 h 1255269"/>
                <a:gd name="connsiteX71" fmla="*/ 1156246 w 1629088"/>
                <a:gd name="connsiteY71" fmla="*/ 672356 h 1255269"/>
                <a:gd name="connsiteX72" fmla="*/ 1160830 w 1629088"/>
                <a:gd name="connsiteY72" fmla="*/ 649378 h 1255269"/>
                <a:gd name="connsiteX73" fmla="*/ 1221008 w 1629088"/>
                <a:gd name="connsiteY73" fmla="*/ 589259 h 1255269"/>
                <a:gd name="connsiteX74" fmla="*/ 1136207 w 1629088"/>
                <a:gd name="connsiteY74" fmla="*/ 504458 h 1255269"/>
                <a:gd name="connsiteX75" fmla="*/ 1075911 w 1629088"/>
                <a:gd name="connsiteY75" fmla="*/ 564812 h 1255269"/>
                <a:gd name="connsiteX76" fmla="*/ 1052757 w 1629088"/>
                <a:gd name="connsiteY76" fmla="*/ 569396 h 1255269"/>
                <a:gd name="connsiteX77" fmla="*/ 975654 w 1629088"/>
                <a:gd name="connsiteY77" fmla="*/ 537133 h 1255269"/>
                <a:gd name="connsiteX78" fmla="*/ 962608 w 1629088"/>
                <a:gd name="connsiteY78" fmla="*/ 517622 h 1255269"/>
                <a:gd name="connsiteX79" fmla="*/ 962608 w 1629088"/>
                <a:gd name="connsiteY79" fmla="*/ 432527 h 1255269"/>
                <a:gd name="connsiteX80" fmla="*/ 842723 w 1629088"/>
                <a:gd name="connsiteY80" fmla="*/ 432527 h 1255269"/>
                <a:gd name="connsiteX81" fmla="*/ 842723 w 1629088"/>
                <a:gd name="connsiteY81" fmla="*/ 517857 h 1255269"/>
                <a:gd name="connsiteX82" fmla="*/ 829618 w 1629088"/>
                <a:gd name="connsiteY82" fmla="*/ 537426 h 1255269"/>
                <a:gd name="connsiteX83" fmla="*/ 752280 w 1629088"/>
                <a:gd name="connsiteY83" fmla="*/ 569161 h 1255269"/>
                <a:gd name="connsiteX84" fmla="*/ 729302 w 1629088"/>
                <a:gd name="connsiteY84" fmla="*/ 564518 h 1255269"/>
                <a:gd name="connsiteX85" fmla="*/ 669183 w 1629088"/>
                <a:gd name="connsiteY85" fmla="*/ 504399 h 1255269"/>
                <a:gd name="connsiteX86" fmla="*/ 584441 w 1629088"/>
                <a:gd name="connsiteY86" fmla="*/ 589200 h 1255269"/>
                <a:gd name="connsiteX87" fmla="*/ 644795 w 1629088"/>
                <a:gd name="connsiteY87" fmla="*/ 649613 h 1255269"/>
                <a:gd name="connsiteX88" fmla="*/ 649320 w 1629088"/>
                <a:gd name="connsiteY88" fmla="*/ 672767 h 1255269"/>
                <a:gd name="connsiteX89" fmla="*/ 617057 w 1629088"/>
                <a:gd name="connsiteY89" fmla="*/ 749870 h 1255269"/>
                <a:gd name="connsiteX90" fmla="*/ 597546 w 1629088"/>
                <a:gd name="connsiteY90" fmla="*/ 762858 h 1255269"/>
                <a:gd name="connsiteX91" fmla="*/ 512451 w 1629088"/>
                <a:gd name="connsiteY91" fmla="*/ 762858 h 1255269"/>
                <a:gd name="connsiteX92" fmla="*/ 512451 w 1629088"/>
                <a:gd name="connsiteY92" fmla="*/ 882743 h 1255269"/>
                <a:gd name="connsiteX93" fmla="*/ 597781 w 1629088"/>
                <a:gd name="connsiteY93" fmla="*/ 882743 h 1255269"/>
                <a:gd name="connsiteX94" fmla="*/ 617350 w 1629088"/>
                <a:gd name="connsiteY94" fmla="*/ 895907 h 1255269"/>
                <a:gd name="connsiteX95" fmla="*/ 649085 w 1629088"/>
                <a:gd name="connsiteY95" fmla="*/ 973245 h 1255269"/>
                <a:gd name="connsiteX96" fmla="*/ 644442 w 1629088"/>
                <a:gd name="connsiteY96" fmla="*/ 996281 h 1255269"/>
                <a:gd name="connsiteX97" fmla="*/ 584382 w 1629088"/>
                <a:gd name="connsiteY97" fmla="*/ 1056341 h 1255269"/>
                <a:gd name="connsiteX98" fmla="*/ 669124 w 1629088"/>
                <a:gd name="connsiteY98" fmla="*/ 1141143 h 1255269"/>
                <a:gd name="connsiteX99" fmla="*/ 729537 w 1629088"/>
                <a:gd name="connsiteY99" fmla="*/ 1080730 h 1255269"/>
                <a:gd name="connsiteX100" fmla="*/ 752691 w 1629088"/>
                <a:gd name="connsiteY100" fmla="*/ 1076205 h 1255269"/>
                <a:gd name="connsiteX101" fmla="*/ 829794 w 1629088"/>
                <a:gd name="connsiteY101" fmla="*/ 1108527 h 1255269"/>
                <a:gd name="connsiteX102" fmla="*/ 842782 w 1629088"/>
                <a:gd name="connsiteY102" fmla="*/ 1128038 h 1255269"/>
                <a:gd name="connsiteX103" fmla="*/ 842723 w 1629088"/>
                <a:gd name="connsiteY103" fmla="*/ 1212956 h 1255269"/>
                <a:gd name="connsiteX104" fmla="*/ 842723 w 1629088"/>
                <a:gd name="connsiteY104" fmla="*/ 1212956 h 1255269"/>
                <a:gd name="connsiteX105" fmla="*/ 902665 w 1629088"/>
                <a:gd name="connsiteY105" fmla="*/ 1020200 h 1255269"/>
                <a:gd name="connsiteX106" fmla="*/ 705207 w 1629088"/>
                <a:gd name="connsiteY106" fmla="*/ 822741 h 1255269"/>
                <a:gd name="connsiteX107" fmla="*/ 902665 w 1629088"/>
                <a:gd name="connsiteY107" fmla="*/ 625283 h 1255269"/>
                <a:gd name="connsiteX108" fmla="*/ 1100124 w 1629088"/>
                <a:gd name="connsiteY108" fmla="*/ 822741 h 1255269"/>
                <a:gd name="connsiteX109" fmla="*/ 902665 w 1629088"/>
                <a:gd name="connsiteY109" fmla="*/ 1020200 h 1255269"/>
                <a:gd name="connsiteX110" fmla="*/ 902665 w 1629088"/>
                <a:gd name="connsiteY110" fmla="*/ 667596 h 1255269"/>
                <a:gd name="connsiteX111" fmla="*/ 747520 w 1629088"/>
                <a:gd name="connsiteY111" fmla="*/ 822741 h 1255269"/>
                <a:gd name="connsiteX112" fmla="*/ 902665 w 1629088"/>
                <a:gd name="connsiteY112" fmla="*/ 977887 h 1255269"/>
                <a:gd name="connsiteX113" fmla="*/ 1057811 w 1629088"/>
                <a:gd name="connsiteY113" fmla="*/ 822741 h 1255269"/>
                <a:gd name="connsiteX114" fmla="*/ 902665 w 1629088"/>
                <a:gd name="connsiteY114" fmla="*/ 667596 h 1255269"/>
                <a:gd name="connsiteX115" fmla="*/ 1629088 w 1629088"/>
                <a:gd name="connsiteY115" fmla="*/ 0 h 1255269"/>
                <a:gd name="connsiteX116" fmla="*/ 0 w 1629088"/>
                <a:gd name="connsiteY116" fmla="*/ 822741 h 1255269"/>
                <a:gd name="connsiteX117" fmla="*/ 1586717 w 1629088"/>
                <a:gd name="connsiteY117" fmla="*/ 0 h 1255269"/>
                <a:gd name="connsiteX118" fmla="*/ 1629088 w 1629088"/>
                <a:gd name="connsiteY118" fmla="*/ 0 h 1255269"/>
                <a:gd name="connsiteX0" fmla="*/ 983764 w 1629088"/>
                <a:gd name="connsiteY0" fmla="*/ 1255269 h 1255269"/>
                <a:gd name="connsiteX1" fmla="*/ 821567 w 1629088"/>
                <a:gd name="connsiteY1" fmla="*/ 1255269 h 1255269"/>
                <a:gd name="connsiteX2" fmla="*/ 800410 w 1629088"/>
                <a:gd name="connsiteY2" fmla="*/ 1234112 h 1255269"/>
                <a:gd name="connsiteX3" fmla="*/ 800410 w 1629088"/>
                <a:gd name="connsiteY3" fmla="*/ 1142024 h 1255269"/>
                <a:gd name="connsiteX4" fmla="*/ 749342 w 1629088"/>
                <a:gd name="connsiteY4" fmla="*/ 1120692 h 1255269"/>
                <a:gd name="connsiteX5" fmla="*/ 684051 w 1629088"/>
                <a:gd name="connsiteY5" fmla="*/ 1185982 h 1255269"/>
                <a:gd name="connsiteX6" fmla="*/ 669124 w 1629088"/>
                <a:gd name="connsiteY6" fmla="*/ 1192153 h 1255269"/>
                <a:gd name="connsiteX7" fmla="*/ 669124 w 1629088"/>
                <a:gd name="connsiteY7" fmla="*/ 1192153 h 1255269"/>
                <a:gd name="connsiteX8" fmla="*/ 654197 w 1629088"/>
                <a:gd name="connsiteY8" fmla="*/ 1185982 h 1255269"/>
                <a:gd name="connsiteX9" fmla="*/ 539484 w 1629088"/>
                <a:gd name="connsiteY9" fmla="*/ 1071268 h 1255269"/>
                <a:gd name="connsiteX10" fmla="*/ 539484 w 1629088"/>
                <a:gd name="connsiteY10" fmla="*/ 1041297 h 1255269"/>
                <a:gd name="connsiteX11" fmla="*/ 604598 w 1629088"/>
                <a:gd name="connsiteY11" fmla="*/ 976242 h 1255269"/>
                <a:gd name="connsiteX12" fmla="*/ 583618 w 1629088"/>
                <a:gd name="connsiteY12" fmla="*/ 925055 h 1255269"/>
                <a:gd name="connsiteX13" fmla="*/ 491294 w 1629088"/>
                <a:gd name="connsiteY13" fmla="*/ 925055 h 1255269"/>
                <a:gd name="connsiteX14" fmla="*/ 470138 w 1629088"/>
                <a:gd name="connsiteY14" fmla="*/ 903899 h 1255269"/>
                <a:gd name="connsiteX15" fmla="*/ 470138 w 1629088"/>
                <a:gd name="connsiteY15" fmla="*/ 741701 h 1255269"/>
                <a:gd name="connsiteX16" fmla="*/ 491294 w 1629088"/>
                <a:gd name="connsiteY16" fmla="*/ 720545 h 1255269"/>
                <a:gd name="connsiteX17" fmla="*/ 583383 w 1629088"/>
                <a:gd name="connsiteY17" fmla="*/ 720545 h 1255269"/>
                <a:gd name="connsiteX18" fmla="*/ 604715 w 1629088"/>
                <a:gd name="connsiteY18" fmla="*/ 669476 h 1255269"/>
                <a:gd name="connsiteX19" fmla="*/ 539484 w 1629088"/>
                <a:gd name="connsiteY19" fmla="*/ 604127 h 1255269"/>
                <a:gd name="connsiteX20" fmla="*/ 539484 w 1629088"/>
                <a:gd name="connsiteY20" fmla="*/ 574215 h 1255269"/>
                <a:gd name="connsiteX21" fmla="*/ 654139 w 1629088"/>
                <a:gd name="connsiteY21" fmla="*/ 459501 h 1255269"/>
                <a:gd name="connsiteX22" fmla="*/ 684051 w 1629088"/>
                <a:gd name="connsiteY22" fmla="*/ 459501 h 1255269"/>
                <a:gd name="connsiteX23" fmla="*/ 749165 w 1629088"/>
                <a:gd name="connsiteY23" fmla="*/ 524674 h 1255269"/>
                <a:gd name="connsiteX24" fmla="*/ 800410 w 1629088"/>
                <a:gd name="connsiteY24" fmla="*/ 503694 h 1255269"/>
                <a:gd name="connsiteX25" fmla="*/ 800410 w 1629088"/>
                <a:gd name="connsiteY25" fmla="*/ 411370 h 1255269"/>
                <a:gd name="connsiteX26" fmla="*/ 821567 w 1629088"/>
                <a:gd name="connsiteY26" fmla="*/ 390214 h 1255269"/>
                <a:gd name="connsiteX27" fmla="*/ 983764 w 1629088"/>
                <a:gd name="connsiteY27" fmla="*/ 390214 h 1255269"/>
                <a:gd name="connsiteX28" fmla="*/ 1004921 w 1629088"/>
                <a:gd name="connsiteY28" fmla="*/ 411370 h 1255269"/>
                <a:gd name="connsiteX29" fmla="*/ 1004921 w 1629088"/>
                <a:gd name="connsiteY29" fmla="*/ 503459 h 1255269"/>
                <a:gd name="connsiteX30" fmla="*/ 1055931 w 1629088"/>
                <a:gd name="connsiteY30" fmla="*/ 524791 h 1255269"/>
                <a:gd name="connsiteX31" fmla="*/ 1121162 w 1629088"/>
                <a:gd name="connsiteY31" fmla="*/ 459501 h 1255269"/>
                <a:gd name="connsiteX32" fmla="*/ 1151134 w 1629088"/>
                <a:gd name="connsiteY32" fmla="*/ 459501 h 1255269"/>
                <a:gd name="connsiteX33" fmla="*/ 1265847 w 1629088"/>
                <a:gd name="connsiteY33" fmla="*/ 574215 h 1255269"/>
                <a:gd name="connsiteX34" fmla="*/ 1272018 w 1629088"/>
                <a:gd name="connsiteY34" fmla="*/ 589142 h 1255269"/>
                <a:gd name="connsiteX35" fmla="*/ 1265847 w 1629088"/>
                <a:gd name="connsiteY35" fmla="*/ 604068 h 1255269"/>
                <a:gd name="connsiteX36" fmla="*/ 1200674 w 1629088"/>
                <a:gd name="connsiteY36" fmla="*/ 669183 h 1255269"/>
                <a:gd name="connsiteX37" fmla="*/ 1221654 w 1629088"/>
                <a:gd name="connsiteY37" fmla="*/ 720428 h 1255269"/>
                <a:gd name="connsiteX38" fmla="*/ 1314036 w 1629088"/>
                <a:gd name="connsiteY38" fmla="*/ 720428 h 1255269"/>
                <a:gd name="connsiteX39" fmla="*/ 1335193 w 1629088"/>
                <a:gd name="connsiteY39" fmla="*/ 741584 h 1255269"/>
                <a:gd name="connsiteX40" fmla="*/ 1335193 w 1629088"/>
                <a:gd name="connsiteY40" fmla="*/ 903782 h 1255269"/>
                <a:gd name="connsiteX41" fmla="*/ 1314036 w 1629088"/>
                <a:gd name="connsiteY41" fmla="*/ 924938 h 1255269"/>
                <a:gd name="connsiteX42" fmla="*/ 1221948 w 1629088"/>
                <a:gd name="connsiteY42" fmla="*/ 924938 h 1255269"/>
                <a:gd name="connsiteX43" fmla="*/ 1200616 w 1629088"/>
                <a:gd name="connsiteY43" fmla="*/ 975948 h 1255269"/>
                <a:gd name="connsiteX44" fmla="*/ 1265906 w 1629088"/>
                <a:gd name="connsiteY44" fmla="*/ 1041179 h 1255269"/>
                <a:gd name="connsiteX45" fmla="*/ 1272077 w 1629088"/>
                <a:gd name="connsiteY45" fmla="*/ 1056165 h 1255269"/>
                <a:gd name="connsiteX46" fmla="*/ 1265906 w 1629088"/>
                <a:gd name="connsiteY46" fmla="*/ 1071151 h 1255269"/>
                <a:gd name="connsiteX47" fmla="*/ 1151192 w 1629088"/>
                <a:gd name="connsiteY47" fmla="*/ 1185865 h 1255269"/>
                <a:gd name="connsiteX48" fmla="*/ 1136207 w 1629088"/>
                <a:gd name="connsiteY48" fmla="*/ 1192035 h 1255269"/>
                <a:gd name="connsiteX49" fmla="*/ 1136207 w 1629088"/>
                <a:gd name="connsiteY49" fmla="*/ 1192035 h 1255269"/>
                <a:gd name="connsiteX50" fmla="*/ 1121221 w 1629088"/>
                <a:gd name="connsiteY50" fmla="*/ 1185865 h 1255269"/>
                <a:gd name="connsiteX51" fmla="*/ 1056166 w 1629088"/>
                <a:gd name="connsiteY51" fmla="*/ 1120692 h 1255269"/>
                <a:gd name="connsiteX52" fmla="*/ 1004979 w 1629088"/>
                <a:gd name="connsiteY52" fmla="*/ 1141672 h 1255269"/>
                <a:gd name="connsiteX53" fmla="*/ 1004979 w 1629088"/>
                <a:gd name="connsiteY53" fmla="*/ 1234112 h 1255269"/>
                <a:gd name="connsiteX54" fmla="*/ 983764 w 1629088"/>
                <a:gd name="connsiteY54" fmla="*/ 1255269 h 1255269"/>
                <a:gd name="connsiteX55" fmla="*/ 842723 w 1629088"/>
                <a:gd name="connsiteY55" fmla="*/ 1212956 h 1255269"/>
                <a:gd name="connsiteX56" fmla="*/ 962608 w 1629088"/>
                <a:gd name="connsiteY56" fmla="*/ 1212956 h 1255269"/>
                <a:gd name="connsiteX57" fmla="*/ 962608 w 1629088"/>
                <a:gd name="connsiteY57" fmla="*/ 1127626 h 1255269"/>
                <a:gd name="connsiteX58" fmla="*/ 975772 w 1629088"/>
                <a:gd name="connsiteY58" fmla="*/ 1108057 h 1255269"/>
                <a:gd name="connsiteX59" fmla="*/ 1053110 w 1629088"/>
                <a:gd name="connsiteY59" fmla="*/ 1076322 h 1255269"/>
                <a:gd name="connsiteX60" fmla="*/ 1076146 w 1629088"/>
                <a:gd name="connsiteY60" fmla="*/ 1080906 h 1255269"/>
                <a:gd name="connsiteX61" fmla="*/ 1136207 w 1629088"/>
                <a:gd name="connsiteY61" fmla="*/ 1141084 h 1255269"/>
                <a:gd name="connsiteX62" fmla="*/ 1221008 w 1629088"/>
                <a:gd name="connsiteY62" fmla="*/ 1056283 h 1255269"/>
                <a:gd name="connsiteX63" fmla="*/ 1160595 w 1629088"/>
                <a:gd name="connsiteY63" fmla="*/ 995987 h 1255269"/>
                <a:gd name="connsiteX64" fmla="*/ 1156070 w 1629088"/>
                <a:gd name="connsiteY64" fmla="*/ 972833 h 1255269"/>
                <a:gd name="connsiteX65" fmla="*/ 1188392 w 1629088"/>
                <a:gd name="connsiteY65" fmla="*/ 895730 h 1255269"/>
                <a:gd name="connsiteX66" fmla="*/ 1207903 w 1629088"/>
                <a:gd name="connsiteY66" fmla="*/ 882684 h 1255269"/>
                <a:gd name="connsiteX67" fmla="*/ 1292880 w 1629088"/>
                <a:gd name="connsiteY67" fmla="*/ 882684 h 1255269"/>
                <a:gd name="connsiteX68" fmla="*/ 1292880 w 1629088"/>
                <a:gd name="connsiteY68" fmla="*/ 762799 h 1255269"/>
                <a:gd name="connsiteX69" fmla="*/ 1207550 w 1629088"/>
                <a:gd name="connsiteY69" fmla="*/ 762799 h 1255269"/>
                <a:gd name="connsiteX70" fmla="*/ 1187981 w 1629088"/>
                <a:gd name="connsiteY70" fmla="*/ 749694 h 1255269"/>
                <a:gd name="connsiteX71" fmla="*/ 1156246 w 1629088"/>
                <a:gd name="connsiteY71" fmla="*/ 672356 h 1255269"/>
                <a:gd name="connsiteX72" fmla="*/ 1160830 w 1629088"/>
                <a:gd name="connsiteY72" fmla="*/ 649378 h 1255269"/>
                <a:gd name="connsiteX73" fmla="*/ 1221008 w 1629088"/>
                <a:gd name="connsiteY73" fmla="*/ 589259 h 1255269"/>
                <a:gd name="connsiteX74" fmla="*/ 1136207 w 1629088"/>
                <a:gd name="connsiteY74" fmla="*/ 504458 h 1255269"/>
                <a:gd name="connsiteX75" fmla="*/ 1075911 w 1629088"/>
                <a:gd name="connsiteY75" fmla="*/ 564812 h 1255269"/>
                <a:gd name="connsiteX76" fmla="*/ 1052757 w 1629088"/>
                <a:gd name="connsiteY76" fmla="*/ 569396 h 1255269"/>
                <a:gd name="connsiteX77" fmla="*/ 975654 w 1629088"/>
                <a:gd name="connsiteY77" fmla="*/ 537133 h 1255269"/>
                <a:gd name="connsiteX78" fmla="*/ 962608 w 1629088"/>
                <a:gd name="connsiteY78" fmla="*/ 517622 h 1255269"/>
                <a:gd name="connsiteX79" fmla="*/ 962608 w 1629088"/>
                <a:gd name="connsiteY79" fmla="*/ 432527 h 1255269"/>
                <a:gd name="connsiteX80" fmla="*/ 842723 w 1629088"/>
                <a:gd name="connsiteY80" fmla="*/ 432527 h 1255269"/>
                <a:gd name="connsiteX81" fmla="*/ 842723 w 1629088"/>
                <a:gd name="connsiteY81" fmla="*/ 517857 h 1255269"/>
                <a:gd name="connsiteX82" fmla="*/ 829618 w 1629088"/>
                <a:gd name="connsiteY82" fmla="*/ 537426 h 1255269"/>
                <a:gd name="connsiteX83" fmla="*/ 752280 w 1629088"/>
                <a:gd name="connsiteY83" fmla="*/ 569161 h 1255269"/>
                <a:gd name="connsiteX84" fmla="*/ 729302 w 1629088"/>
                <a:gd name="connsiteY84" fmla="*/ 564518 h 1255269"/>
                <a:gd name="connsiteX85" fmla="*/ 669183 w 1629088"/>
                <a:gd name="connsiteY85" fmla="*/ 504399 h 1255269"/>
                <a:gd name="connsiteX86" fmla="*/ 584441 w 1629088"/>
                <a:gd name="connsiteY86" fmla="*/ 589200 h 1255269"/>
                <a:gd name="connsiteX87" fmla="*/ 644795 w 1629088"/>
                <a:gd name="connsiteY87" fmla="*/ 649613 h 1255269"/>
                <a:gd name="connsiteX88" fmla="*/ 649320 w 1629088"/>
                <a:gd name="connsiteY88" fmla="*/ 672767 h 1255269"/>
                <a:gd name="connsiteX89" fmla="*/ 617057 w 1629088"/>
                <a:gd name="connsiteY89" fmla="*/ 749870 h 1255269"/>
                <a:gd name="connsiteX90" fmla="*/ 597546 w 1629088"/>
                <a:gd name="connsiteY90" fmla="*/ 762858 h 1255269"/>
                <a:gd name="connsiteX91" fmla="*/ 512451 w 1629088"/>
                <a:gd name="connsiteY91" fmla="*/ 762858 h 1255269"/>
                <a:gd name="connsiteX92" fmla="*/ 512451 w 1629088"/>
                <a:gd name="connsiteY92" fmla="*/ 882743 h 1255269"/>
                <a:gd name="connsiteX93" fmla="*/ 597781 w 1629088"/>
                <a:gd name="connsiteY93" fmla="*/ 882743 h 1255269"/>
                <a:gd name="connsiteX94" fmla="*/ 617350 w 1629088"/>
                <a:gd name="connsiteY94" fmla="*/ 895907 h 1255269"/>
                <a:gd name="connsiteX95" fmla="*/ 649085 w 1629088"/>
                <a:gd name="connsiteY95" fmla="*/ 973245 h 1255269"/>
                <a:gd name="connsiteX96" fmla="*/ 644442 w 1629088"/>
                <a:gd name="connsiteY96" fmla="*/ 996281 h 1255269"/>
                <a:gd name="connsiteX97" fmla="*/ 584382 w 1629088"/>
                <a:gd name="connsiteY97" fmla="*/ 1056341 h 1255269"/>
                <a:gd name="connsiteX98" fmla="*/ 669124 w 1629088"/>
                <a:gd name="connsiteY98" fmla="*/ 1141143 h 1255269"/>
                <a:gd name="connsiteX99" fmla="*/ 729537 w 1629088"/>
                <a:gd name="connsiteY99" fmla="*/ 1080730 h 1255269"/>
                <a:gd name="connsiteX100" fmla="*/ 752691 w 1629088"/>
                <a:gd name="connsiteY100" fmla="*/ 1076205 h 1255269"/>
                <a:gd name="connsiteX101" fmla="*/ 829794 w 1629088"/>
                <a:gd name="connsiteY101" fmla="*/ 1108527 h 1255269"/>
                <a:gd name="connsiteX102" fmla="*/ 842782 w 1629088"/>
                <a:gd name="connsiteY102" fmla="*/ 1128038 h 1255269"/>
                <a:gd name="connsiteX103" fmla="*/ 842723 w 1629088"/>
                <a:gd name="connsiteY103" fmla="*/ 1212956 h 1255269"/>
                <a:gd name="connsiteX104" fmla="*/ 842723 w 1629088"/>
                <a:gd name="connsiteY104" fmla="*/ 1212956 h 1255269"/>
                <a:gd name="connsiteX105" fmla="*/ 902665 w 1629088"/>
                <a:gd name="connsiteY105" fmla="*/ 1020200 h 1255269"/>
                <a:gd name="connsiteX106" fmla="*/ 705207 w 1629088"/>
                <a:gd name="connsiteY106" fmla="*/ 822741 h 1255269"/>
                <a:gd name="connsiteX107" fmla="*/ 902665 w 1629088"/>
                <a:gd name="connsiteY107" fmla="*/ 625283 h 1255269"/>
                <a:gd name="connsiteX108" fmla="*/ 1100124 w 1629088"/>
                <a:gd name="connsiteY108" fmla="*/ 822741 h 1255269"/>
                <a:gd name="connsiteX109" fmla="*/ 902665 w 1629088"/>
                <a:gd name="connsiteY109" fmla="*/ 1020200 h 1255269"/>
                <a:gd name="connsiteX110" fmla="*/ 902665 w 1629088"/>
                <a:gd name="connsiteY110" fmla="*/ 667596 h 1255269"/>
                <a:gd name="connsiteX111" fmla="*/ 747520 w 1629088"/>
                <a:gd name="connsiteY111" fmla="*/ 822741 h 1255269"/>
                <a:gd name="connsiteX112" fmla="*/ 902665 w 1629088"/>
                <a:gd name="connsiteY112" fmla="*/ 977887 h 1255269"/>
                <a:gd name="connsiteX113" fmla="*/ 1057811 w 1629088"/>
                <a:gd name="connsiteY113" fmla="*/ 822741 h 1255269"/>
                <a:gd name="connsiteX114" fmla="*/ 902665 w 1629088"/>
                <a:gd name="connsiteY114" fmla="*/ 667596 h 1255269"/>
                <a:gd name="connsiteX115" fmla="*/ 1629088 w 1629088"/>
                <a:gd name="connsiteY115" fmla="*/ 0 h 1255269"/>
                <a:gd name="connsiteX116" fmla="*/ 0 w 1629088"/>
                <a:gd name="connsiteY116" fmla="*/ 822741 h 1255269"/>
                <a:gd name="connsiteX117" fmla="*/ 1629088 w 1629088"/>
                <a:gd name="connsiteY117" fmla="*/ 0 h 1255269"/>
                <a:gd name="connsiteX0" fmla="*/ 513626 w 865055"/>
                <a:gd name="connsiteY0" fmla="*/ 865055 h 865055"/>
                <a:gd name="connsiteX1" fmla="*/ 351429 w 865055"/>
                <a:gd name="connsiteY1" fmla="*/ 865055 h 865055"/>
                <a:gd name="connsiteX2" fmla="*/ 330272 w 865055"/>
                <a:gd name="connsiteY2" fmla="*/ 843898 h 865055"/>
                <a:gd name="connsiteX3" fmla="*/ 330272 w 865055"/>
                <a:gd name="connsiteY3" fmla="*/ 751810 h 865055"/>
                <a:gd name="connsiteX4" fmla="*/ 279204 w 865055"/>
                <a:gd name="connsiteY4" fmla="*/ 730478 h 865055"/>
                <a:gd name="connsiteX5" fmla="*/ 213913 w 865055"/>
                <a:gd name="connsiteY5" fmla="*/ 795768 h 865055"/>
                <a:gd name="connsiteX6" fmla="*/ 198986 w 865055"/>
                <a:gd name="connsiteY6" fmla="*/ 801939 h 865055"/>
                <a:gd name="connsiteX7" fmla="*/ 198986 w 865055"/>
                <a:gd name="connsiteY7" fmla="*/ 801939 h 865055"/>
                <a:gd name="connsiteX8" fmla="*/ 184059 w 865055"/>
                <a:gd name="connsiteY8" fmla="*/ 795768 h 865055"/>
                <a:gd name="connsiteX9" fmla="*/ 69346 w 865055"/>
                <a:gd name="connsiteY9" fmla="*/ 681054 h 865055"/>
                <a:gd name="connsiteX10" fmla="*/ 69346 w 865055"/>
                <a:gd name="connsiteY10" fmla="*/ 651083 h 865055"/>
                <a:gd name="connsiteX11" fmla="*/ 134460 w 865055"/>
                <a:gd name="connsiteY11" fmla="*/ 586028 h 865055"/>
                <a:gd name="connsiteX12" fmla="*/ 113480 w 865055"/>
                <a:gd name="connsiteY12" fmla="*/ 534841 h 865055"/>
                <a:gd name="connsiteX13" fmla="*/ 21156 w 865055"/>
                <a:gd name="connsiteY13" fmla="*/ 534841 h 865055"/>
                <a:gd name="connsiteX14" fmla="*/ 0 w 865055"/>
                <a:gd name="connsiteY14" fmla="*/ 513685 h 865055"/>
                <a:gd name="connsiteX15" fmla="*/ 0 w 865055"/>
                <a:gd name="connsiteY15" fmla="*/ 351487 h 865055"/>
                <a:gd name="connsiteX16" fmla="*/ 21156 w 865055"/>
                <a:gd name="connsiteY16" fmla="*/ 330331 h 865055"/>
                <a:gd name="connsiteX17" fmla="*/ 113245 w 865055"/>
                <a:gd name="connsiteY17" fmla="*/ 330331 h 865055"/>
                <a:gd name="connsiteX18" fmla="*/ 134577 w 865055"/>
                <a:gd name="connsiteY18" fmla="*/ 279262 h 865055"/>
                <a:gd name="connsiteX19" fmla="*/ 69346 w 865055"/>
                <a:gd name="connsiteY19" fmla="*/ 213913 h 865055"/>
                <a:gd name="connsiteX20" fmla="*/ 69346 w 865055"/>
                <a:gd name="connsiteY20" fmla="*/ 184001 h 865055"/>
                <a:gd name="connsiteX21" fmla="*/ 184001 w 865055"/>
                <a:gd name="connsiteY21" fmla="*/ 69287 h 865055"/>
                <a:gd name="connsiteX22" fmla="*/ 213913 w 865055"/>
                <a:gd name="connsiteY22" fmla="*/ 69287 h 865055"/>
                <a:gd name="connsiteX23" fmla="*/ 279027 w 865055"/>
                <a:gd name="connsiteY23" fmla="*/ 134460 h 865055"/>
                <a:gd name="connsiteX24" fmla="*/ 330272 w 865055"/>
                <a:gd name="connsiteY24" fmla="*/ 113480 h 865055"/>
                <a:gd name="connsiteX25" fmla="*/ 330272 w 865055"/>
                <a:gd name="connsiteY25" fmla="*/ 21156 h 865055"/>
                <a:gd name="connsiteX26" fmla="*/ 351429 w 865055"/>
                <a:gd name="connsiteY26" fmla="*/ 0 h 865055"/>
                <a:gd name="connsiteX27" fmla="*/ 513626 w 865055"/>
                <a:gd name="connsiteY27" fmla="*/ 0 h 865055"/>
                <a:gd name="connsiteX28" fmla="*/ 534783 w 865055"/>
                <a:gd name="connsiteY28" fmla="*/ 21156 h 865055"/>
                <a:gd name="connsiteX29" fmla="*/ 534783 w 865055"/>
                <a:gd name="connsiteY29" fmla="*/ 113245 h 865055"/>
                <a:gd name="connsiteX30" fmla="*/ 585793 w 865055"/>
                <a:gd name="connsiteY30" fmla="*/ 134577 h 865055"/>
                <a:gd name="connsiteX31" fmla="*/ 651024 w 865055"/>
                <a:gd name="connsiteY31" fmla="*/ 69287 h 865055"/>
                <a:gd name="connsiteX32" fmla="*/ 680996 w 865055"/>
                <a:gd name="connsiteY32" fmla="*/ 69287 h 865055"/>
                <a:gd name="connsiteX33" fmla="*/ 795709 w 865055"/>
                <a:gd name="connsiteY33" fmla="*/ 184001 h 865055"/>
                <a:gd name="connsiteX34" fmla="*/ 801880 w 865055"/>
                <a:gd name="connsiteY34" fmla="*/ 198928 h 865055"/>
                <a:gd name="connsiteX35" fmla="*/ 795709 w 865055"/>
                <a:gd name="connsiteY35" fmla="*/ 213854 h 865055"/>
                <a:gd name="connsiteX36" fmla="*/ 730536 w 865055"/>
                <a:gd name="connsiteY36" fmla="*/ 278969 h 865055"/>
                <a:gd name="connsiteX37" fmla="*/ 751516 w 865055"/>
                <a:gd name="connsiteY37" fmla="*/ 330214 h 865055"/>
                <a:gd name="connsiteX38" fmla="*/ 843898 w 865055"/>
                <a:gd name="connsiteY38" fmla="*/ 330214 h 865055"/>
                <a:gd name="connsiteX39" fmla="*/ 865055 w 865055"/>
                <a:gd name="connsiteY39" fmla="*/ 351370 h 865055"/>
                <a:gd name="connsiteX40" fmla="*/ 865055 w 865055"/>
                <a:gd name="connsiteY40" fmla="*/ 513568 h 865055"/>
                <a:gd name="connsiteX41" fmla="*/ 843898 w 865055"/>
                <a:gd name="connsiteY41" fmla="*/ 534724 h 865055"/>
                <a:gd name="connsiteX42" fmla="*/ 751810 w 865055"/>
                <a:gd name="connsiteY42" fmla="*/ 534724 h 865055"/>
                <a:gd name="connsiteX43" fmla="*/ 730478 w 865055"/>
                <a:gd name="connsiteY43" fmla="*/ 585734 h 865055"/>
                <a:gd name="connsiteX44" fmla="*/ 795768 w 865055"/>
                <a:gd name="connsiteY44" fmla="*/ 650965 h 865055"/>
                <a:gd name="connsiteX45" fmla="*/ 801939 w 865055"/>
                <a:gd name="connsiteY45" fmla="*/ 665951 h 865055"/>
                <a:gd name="connsiteX46" fmla="*/ 795768 w 865055"/>
                <a:gd name="connsiteY46" fmla="*/ 680937 h 865055"/>
                <a:gd name="connsiteX47" fmla="*/ 681054 w 865055"/>
                <a:gd name="connsiteY47" fmla="*/ 795651 h 865055"/>
                <a:gd name="connsiteX48" fmla="*/ 666069 w 865055"/>
                <a:gd name="connsiteY48" fmla="*/ 801821 h 865055"/>
                <a:gd name="connsiteX49" fmla="*/ 666069 w 865055"/>
                <a:gd name="connsiteY49" fmla="*/ 801821 h 865055"/>
                <a:gd name="connsiteX50" fmla="*/ 651083 w 865055"/>
                <a:gd name="connsiteY50" fmla="*/ 795651 h 865055"/>
                <a:gd name="connsiteX51" fmla="*/ 586028 w 865055"/>
                <a:gd name="connsiteY51" fmla="*/ 730478 h 865055"/>
                <a:gd name="connsiteX52" fmla="*/ 534841 w 865055"/>
                <a:gd name="connsiteY52" fmla="*/ 751458 h 865055"/>
                <a:gd name="connsiteX53" fmla="*/ 534841 w 865055"/>
                <a:gd name="connsiteY53" fmla="*/ 843898 h 865055"/>
                <a:gd name="connsiteX54" fmla="*/ 513626 w 865055"/>
                <a:gd name="connsiteY54" fmla="*/ 865055 h 865055"/>
                <a:gd name="connsiteX55" fmla="*/ 372585 w 865055"/>
                <a:gd name="connsiteY55" fmla="*/ 822742 h 865055"/>
                <a:gd name="connsiteX56" fmla="*/ 492470 w 865055"/>
                <a:gd name="connsiteY56" fmla="*/ 822742 h 865055"/>
                <a:gd name="connsiteX57" fmla="*/ 492470 w 865055"/>
                <a:gd name="connsiteY57" fmla="*/ 737412 h 865055"/>
                <a:gd name="connsiteX58" fmla="*/ 505634 w 865055"/>
                <a:gd name="connsiteY58" fmla="*/ 717843 h 865055"/>
                <a:gd name="connsiteX59" fmla="*/ 582972 w 865055"/>
                <a:gd name="connsiteY59" fmla="*/ 686108 h 865055"/>
                <a:gd name="connsiteX60" fmla="*/ 606008 w 865055"/>
                <a:gd name="connsiteY60" fmla="*/ 690692 h 865055"/>
                <a:gd name="connsiteX61" fmla="*/ 666069 w 865055"/>
                <a:gd name="connsiteY61" fmla="*/ 750870 h 865055"/>
                <a:gd name="connsiteX62" fmla="*/ 750870 w 865055"/>
                <a:gd name="connsiteY62" fmla="*/ 666069 h 865055"/>
                <a:gd name="connsiteX63" fmla="*/ 690457 w 865055"/>
                <a:gd name="connsiteY63" fmla="*/ 605773 h 865055"/>
                <a:gd name="connsiteX64" fmla="*/ 685932 w 865055"/>
                <a:gd name="connsiteY64" fmla="*/ 582619 h 865055"/>
                <a:gd name="connsiteX65" fmla="*/ 718254 w 865055"/>
                <a:gd name="connsiteY65" fmla="*/ 505516 h 865055"/>
                <a:gd name="connsiteX66" fmla="*/ 737765 w 865055"/>
                <a:gd name="connsiteY66" fmla="*/ 492470 h 865055"/>
                <a:gd name="connsiteX67" fmla="*/ 822742 w 865055"/>
                <a:gd name="connsiteY67" fmla="*/ 492470 h 865055"/>
                <a:gd name="connsiteX68" fmla="*/ 822742 w 865055"/>
                <a:gd name="connsiteY68" fmla="*/ 372585 h 865055"/>
                <a:gd name="connsiteX69" fmla="*/ 737412 w 865055"/>
                <a:gd name="connsiteY69" fmla="*/ 372585 h 865055"/>
                <a:gd name="connsiteX70" fmla="*/ 717843 w 865055"/>
                <a:gd name="connsiteY70" fmla="*/ 359480 h 865055"/>
                <a:gd name="connsiteX71" fmla="*/ 686108 w 865055"/>
                <a:gd name="connsiteY71" fmla="*/ 282142 h 865055"/>
                <a:gd name="connsiteX72" fmla="*/ 690692 w 865055"/>
                <a:gd name="connsiteY72" fmla="*/ 259164 h 865055"/>
                <a:gd name="connsiteX73" fmla="*/ 750870 w 865055"/>
                <a:gd name="connsiteY73" fmla="*/ 199045 h 865055"/>
                <a:gd name="connsiteX74" fmla="*/ 666069 w 865055"/>
                <a:gd name="connsiteY74" fmla="*/ 114244 h 865055"/>
                <a:gd name="connsiteX75" fmla="*/ 605773 w 865055"/>
                <a:gd name="connsiteY75" fmla="*/ 174598 h 865055"/>
                <a:gd name="connsiteX76" fmla="*/ 582619 w 865055"/>
                <a:gd name="connsiteY76" fmla="*/ 179182 h 865055"/>
                <a:gd name="connsiteX77" fmla="*/ 505516 w 865055"/>
                <a:gd name="connsiteY77" fmla="*/ 146919 h 865055"/>
                <a:gd name="connsiteX78" fmla="*/ 492470 w 865055"/>
                <a:gd name="connsiteY78" fmla="*/ 127408 h 865055"/>
                <a:gd name="connsiteX79" fmla="*/ 492470 w 865055"/>
                <a:gd name="connsiteY79" fmla="*/ 42313 h 865055"/>
                <a:gd name="connsiteX80" fmla="*/ 372585 w 865055"/>
                <a:gd name="connsiteY80" fmla="*/ 42313 h 865055"/>
                <a:gd name="connsiteX81" fmla="*/ 372585 w 865055"/>
                <a:gd name="connsiteY81" fmla="*/ 127643 h 865055"/>
                <a:gd name="connsiteX82" fmla="*/ 359480 w 865055"/>
                <a:gd name="connsiteY82" fmla="*/ 147212 h 865055"/>
                <a:gd name="connsiteX83" fmla="*/ 282142 w 865055"/>
                <a:gd name="connsiteY83" fmla="*/ 178947 h 865055"/>
                <a:gd name="connsiteX84" fmla="*/ 259164 w 865055"/>
                <a:gd name="connsiteY84" fmla="*/ 174304 h 865055"/>
                <a:gd name="connsiteX85" fmla="*/ 199045 w 865055"/>
                <a:gd name="connsiteY85" fmla="*/ 114185 h 865055"/>
                <a:gd name="connsiteX86" fmla="*/ 114303 w 865055"/>
                <a:gd name="connsiteY86" fmla="*/ 198986 h 865055"/>
                <a:gd name="connsiteX87" fmla="*/ 174657 w 865055"/>
                <a:gd name="connsiteY87" fmla="*/ 259399 h 865055"/>
                <a:gd name="connsiteX88" fmla="*/ 179182 w 865055"/>
                <a:gd name="connsiteY88" fmla="*/ 282553 h 865055"/>
                <a:gd name="connsiteX89" fmla="*/ 146919 w 865055"/>
                <a:gd name="connsiteY89" fmla="*/ 359656 h 865055"/>
                <a:gd name="connsiteX90" fmla="*/ 127408 w 865055"/>
                <a:gd name="connsiteY90" fmla="*/ 372644 h 865055"/>
                <a:gd name="connsiteX91" fmla="*/ 42313 w 865055"/>
                <a:gd name="connsiteY91" fmla="*/ 372644 h 865055"/>
                <a:gd name="connsiteX92" fmla="*/ 42313 w 865055"/>
                <a:gd name="connsiteY92" fmla="*/ 492529 h 865055"/>
                <a:gd name="connsiteX93" fmla="*/ 127643 w 865055"/>
                <a:gd name="connsiteY93" fmla="*/ 492529 h 865055"/>
                <a:gd name="connsiteX94" fmla="*/ 147212 w 865055"/>
                <a:gd name="connsiteY94" fmla="*/ 505693 h 865055"/>
                <a:gd name="connsiteX95" fmla="*/ 178947 w 865055"/>
                <a:gd name="connsiteY95" fmla="*/ 583031 h 865055"/>
                <a:gd name="connsiteX96" fmla="*/ 174304 w 865055"/>
                <a:gd name="connsiteY96" fmla="*/ 606067 h 865055"/>
                <a:gd name="connsiteX97" fmla="*/ 114244 w 865055"/>
                <a:gd name="connsiteY97" fmla="*/ 666127 h 865055"/>
                <a:gd name="connsiteX98" fmla="*/ 198986 w 865055"/>
                <a:gd name="connsiteY98" fmla="*/ 750929 h 865055"/>
                <a:gd name="connsiteX99" fmla="*/ 259399 w 865055"/>
                <a:gd name="connsiteY99" fmla="*/ 690516 h 865055"/>
                <a:gd name="connsiteX100" fmla="*/ 282553 w 865055"/>
                <a:gd name="connsiteY100" fmla="*/ 685991 h 865055"/>
                <a:gd name="connsiteX101" fmla="*/ 359656 w 865055"/>
                <a:gd name="connsiteY101" fmla="*/ 718313 h 865055"/>
                <a:gd name="connsiteX102" fmla="*/ 372644 w 865055"/>
                <a:gd name="connsiteY102" fmla="*/ 737824 h 865055"/>
                <a:gd name="connsiteX103" fmla="*/ 372585 w 865055"/>
                <a:gd name="connsiteY103" fmla="*/ 822742 h 865055"/>
                <a:gd name="connsiteX104" fmla="*/ 372585 w 865055"/>
                <a:gd name="connsiteY104" fmla="*/ 822742 h 865055"/>
                <a:gd name="connsiteX105" fmla="*/ 432527 w 865055"/>
                <a:gd name="connsiteY105" fmla="*/ 629986 h 865055"/>
                <a:gd name="connsiteX106" fmla="*/ 235069 w 865055"/>
                <a:gd name="connsiteY106" fmla="*/ 432527 h 865055"/>
                <a:gd name="connsiteX107" fmla="*/ 432527 w 865055"/>
                <a:gd name="connsiteY107" fmla="*/ 235069 h 865055"/>
                <a:gd name="connsiteX108" fmla="*/ 629986 w 865055"/>
                <a:gd name="connsiteY108" fmla="*/ 432527 h 865055"/>
                <a:gd name="connsiteX109" fmla="*/ 432527 w 865055"/>
                <a:gd name="connsiteY109" fmla="*/ 629986 h 865055"/>
                <a:gd name="connsiteX110" fmla="*/ 432527 w 865055"/>
                <a:gd name="connsiteY110" fmla="*/ 277382 h 865055"/>
                <a:gd name="connsiteX111" fmla="*/ 277382 w 865055"/>
                <a:gd name="connsiteY111" fmla="*/ 432527 h 865055"/>
                <a:gd name="connsiteX112" fmla="*/ 432527 w 865055"/>
                <a:gd name="connsiteY112" fmla="*/ 587673 h 865055"/>
                <a:gd name="connsiteX113" fmla="*/ 587673 w 865055"/>
                <a:gd name="connsiteY113" fmla="*/ 432527 h 865055"/>
                <a:gd name="connsiteX114" fmla="*/ 432527 w 865055"/>
                <a:gd name="connsiteY114" fmla="*/ 277382 h 86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865055" h="865055">
                  <a:moveTo>
                    <a:pt x="513626" y="865055"/>
                  </a:moveTo>
                  <a:lnTo>
                    <a:pt x="351429" y="865055"/>
                  </a:lnTo>
                  <a:cubicBezTo>
                    <a:pt x="339734" y="865055"/>
                    <a:pt x="330272" y="855593"/>
                    <a:pt x="330272" y="843898"/>
                  </a:cubicBezTo>
                  <a:lnTo>
                    <a:pt x="330272" y="751810"/>
                  </a:lnTo>
                  <a:lnTo>
                    <a:pt x="279204" y="730478"/>
                  </a:lnTo>
                  <a:lnTo>
                    <a:pt x="213913" y="795768"/>
                  </a:lnTo>
                  <a:cubicBezTo>
                    <a:pt x="209976" y="799705"/>
                    <a:pt x="204569" y="801939"/>
                    <a:pt x="198986" y="801939"/>
                  </a:cubicBezTo>
                  <a:lnTo>
                    <a:pt x="198986" y="801939"/>
                  </a:lnTo>
                  <a:cubicBezTo>
                    <a:pt x="193345" y="801939"/>
                    <a:pt x="187997" y="799705"/>
                    <a:pt x="184059" y="795768"/>
                  </a:cubicBezTo>
                  <a:lnTo>
                    <a:pt x="69346" y="681054"/>
                  </a:lnTo>
                  <a:cubicBezTo>
                    <a:pt x="61059" y="672768"/>
                    <a:pt x="61059" y="659369"/>
                    <a:pt x="69346" y="651083"/>
                  </a:cubicBezTo>
                  <a:lnTo>
                    <a:pt x="134460" y="586028"/>
                  </a:lnTo>
                  <a:lnTo>
                    <a:pt x="113480" y="534841"/>
                  </a:lnTo>
                  <a:lnTo>
                    <a:pt x="21156" y="534841"/>
                  </a:lnTo>
                  <a:cubicBezTo>
                    <a:pt x="9462" y="534841"/>
                    <a:pt x="0" y="525380"/>
                    <a:pt x="0" y="513685"/>
                  </a:cubicBezTo>
                  <a:lnTo>
                    <a:pt x="0" y="351487"/>
                  </a:lnTo>
                  <a:cubicBezTo>
                    <a:pt x="0" y="339793"/>
                    <a:pt x="9462" y="330331"/>
                    <a:pt x="21156" y="330331"/>
                  </a:cubicBezTo>
                  <a:lnTo>
                    <a:pt x="113245" y="330331"/>
                  </a:lnTo>
                  <a:lnTo>
                    <a:pt x="134577" y="279262"/>
                  </a:lnTo>
                  <a:lnTo>
                    <a:pt x="69346" y="213913"/>
                  </a:lnTo>
                  <a:cubicBezTo>
                    <a:pt x="61118" y="205627"/>
                    <a:pt x="61118" y="192287"/>
                    <a:pt x="69346" y="184001"/>
                  </a:cubicBezTo>
                  <a:lnTo>
                    <a:pt x="184001" y="69287"/>
                  </a:lnTo>
                  <a:cubicBezTo>
                    <a:pt x="191934" y="61295"/>
                    <a:pt x="205980" y="61295"/>
                    <a:pt x="213913" y="69287"/>
                  </a:cubicBezTo>
                  <a:lnTo>
                    <a:pt x="279027" y="134460"/>
                  </a:lnTo>
                  <a:lnTo>
                    <a:pt x="330272" y="113480"/>
                  </a:lnTo>
                  <a:lnTo>
                    <a:pt x="330272" y="21156"/>
                  </a:lnTo>
                  <a:cubicBezTo>
                    <a:pt x="330272" y="9462"/>
                    <a:pt x="339734" y="0"/>
                    <a:pt x="351429" y="0"/>
                  </a:cubicBezTo>
                  <a:lnTo>
                    <a:pt x="513626" y="0"/>
                  </a:lnTo>
                  <a:cubicBezTo>
                    <a:pt x="525321" y="0"/>
                    <a:pt x="534783" y="9462"/>
                    <a:pt x="534783" y="21156"/>
                  </a:cubicBezTo>
                  <a:lnTo>
                    <a:pt x="534783" y="113245"/>
                  </a:lnTo>
                  <a:lnTo>
                    <a:pt x="585793" y="134577"/>
                  </a:lnTo>
                  <a:lnTo>
                    <a:pt x="651024" y="69287"/>
                  </a:lnTo>
                  <a:cubicBezTo>
                    <a:pt x="658958" y="61353"/>
                    <a:pt x="673062" y="61295"/>
                    <a:pt x="680996" y="69287"/>
                  </a:cubicBezTo>
                  <a:lnTo>
                    <a:pt x="795709" y="184001"/>
                  </a:lnTo>
                  <a:cubicBezTo>
                    <a:pt x="799647" y="187938"/>
                    <a:pt x="801880" y="193345"/>
                    <a:pt x="801880" y="198928"/>
                  </a:cubicBezTo>
                  <a:cubicBezTo>
                    <a:pt x="801880" y="204569"/>
                    <a:pt x="799647" y="209917"/>
                    <a:pt x="795709" y="213854"/>
                  </a:cubicBezTo>
                  <a:lnTo>
                    <a:pt x="730536" y="278969"/>
                  </a:lnTo>
                  <a:lnTo>
                    <a:pt x="751516" y="330214"/>
                  </a:lnTo>
                  <a:lnTo>
                    <a:pt x="843898" y="330214"/>
                  </a:lnTo>
                  <a:cubicBezTo>
                    <a:pt x="855593" y="330214"/>
                    <a:pt x="865055" y="339675"/>
                    <a:pt x="865055" y="351370"/>
                  </a:cubicBezTo>
                  <a:lnTo>
                    <a:pt x="865055" y="513568"/>
                  </a:lnTo>
                  <a:cubicBezTo>
                    <a:pt x="865055" y="525262"/>
                    <a:pt x="855593" y="534724"/>
                    <a:pt x="843898" y="534724"/>
                  </a:cubicBezTo>
                  <a:lnTo>
                    <a:pt x="751810" y="534724"/>
                  </a:lnTo>
                  <a:lnTo>
                    <a:pt x="730478" y="585734"/>
                  </a:lnTo>
                  <a:lnTo>
                    <a:pt x="795768" y="650965"/>
                  </a:lnTo>
                  <a:cubicBezTo>
                    <a:pt x="799705" y="654903"/>
                    <a:pt x="801939" y="660309"/>
                    <a:pt x="801939" y="665951"/>
                  </a:cubicBezTo>
                  <a:cubicBezTo>
                    <a:pt x="801939" y="671593"/>
                    <a:pt x="799705" y="676999"/>
                    <a:pt x="795768" y="680937"/>
                  </a:cubicBezTo>
                  <a:lnTo>
                    <a:pt x="681054" y="795651"/>
                  </a:lnTo>
                  <a:cubicBezTo>
                    <a:pt x="677117" y="799588"/>
                    <a:pt x="671710" y="801821"/>
                    <a:pt x="666069" y="801821"/>
                  </a:cubicBezTo>
                  <a:lnTo>
                    <a:pt x="666069" y="801821"/>
                  </a:lnTo>
                  <a:cubicBezTo>
                    <a:pt x="660427" y="801821"/>
                    <a:pt x="655020" y="799588"/>
                    <a:pt x="651083" y="795651"/>
                  </a:cubicBezTo>
                  <a:lnTo>
                    <a:pt x="586028" y="730478"/>
                  </a:lnTo>
                  <a:lnTo>
                    <a:pt x="534841" y="751458"/>
                  </a:lnTo>
                  <a:lnTo>
                    <a:pt x="534841" y="843898"/>
                  </a:lnTo>
                  <a:cubicBezTo>
                    <a:pt x="534783" y="855593"/>
                    <a:pt x="525321" y="865055"/>
                    <a:pt x="513626" y="865055"/>
                  </a:cubicBezTo>
                  <a:close/>
                  <a:moveTo>
                    <a:pt x="372585" y="822742"/>
                  </a:moveTo>
                  <a:lnTo>
                    <a:pt x="492470" y="822742"/>
                  </a:lnTo>
                  <a:lnTo>
                    <a:pt x="492470" y="737412"/>
                  </a:lnTo>
                  <a:cubicBezTo>
                    <a:pt x="492470" y="728832"/>
                    <a:pt x="497700" y="721134"/>
                    <a:pt x="505634" y="717843"/>
                  </a:cubicBezTo>
                  <a:lnTo>
                    <a:pt x="582972" y="686108"/>
                  </a:lnTo>
                  <a:cubicBezTo>
                    <a:pt x="590847" y="682759"/>
                    <a:pt x="599897" y="684698"/>
                    <a:pt x="606008" y="690692"/>
                  </a:cubicBezTo>
                  <a:lnTo>
                    <a:pt x="666069" y="750870"/>
                  </a:lnTo>
                  <a:lnTo>
                    <a:pt x="750870" y="666069"/>
                  </a:lnTo>
                  <a:lnTo>
                    <a:pt x="690457" y="605773"/>
                  </a:lnTo>
                  <a:cubicBezTo>
                    <a:pt x="684404" y="599662"/>
                    <a:pt x="682582" y="590553"/>
                    <a:pt x="685932" y="582619"/>
                  </a:cubicBezTo>
                  <a:lnTo>
                    <a:pt x="718254" y="505516"/>
                  </a:lnTo>
                  <a:cubicBezTo>
                    <a:pt x="721545" y="497642"/>
                    <a:pt x="729243" y="492470"/>
                    <a:pt x="737765" y="492470"/>
                  </a:cubicBezTo>
                  <a:lnTo>
                    <a:pt x="822742" y="492470"/>
                  </a:lnTo>
                  <a:lnTo>
                    <a:pt x="822742" y="372585"/>
                  </a:lnTo>
                  <a:lnTo>
                    <a:pt x="737412" y="372585"/>
                  </a:lnTo>
                  <a:cubicBezTo>
                    <a:pt x="728832" y="372585"/>
                    <a:pt x="721134" y="367413"/>
                    <a:pt x="717843" y="359480"/>
                  </a:cubicBezTo>
                  <a:lnTo>
                    <a:pt x="686108" y="282142"/>
                  </a:lnTo>
                  <a:cubicBezTo>
                    <a:pt x="682876" y="274267"/>
                    <a:pt x="684698" y="265158"/>
                    <a:pt x="690692" y="259164"/>
                  </a:cubicBezTo>
                  <a:lnTo>
                    <a:pt x="750870" y="199045"/>
                  </a:lnTo>
                  <a:lnTo>
                    <a:pt x="666069" y="114244"/>
                  </a:lnTo>
                  <a:lnTo>
                    <a:pt x="605773" y="174598"/>
                  </a:lnTo>
                  <a:cubicBezTo>
                    <a:pt x="599662" y="180651"/>
                    <a:pt x="590553" y="182531"/>
                    <a:pt x="582619" y="179182"/>
                  </a:cubicBezTo>
                  <a:lnTo>
                    <a:pt x="505516" y="146919"/>
                  </a:lnTo>
                  <a:cubicBezTo>
                    <a:pt x="497642" y="143627"/>
                    <a:pt x="492470" y="135929"/>
                    <a:pt x="492470" y="127408"/>
                  </a:cubicBezTo>
                  <a:lnTo>
                    <a:pt x="492470" y="42313"/>
                  </a:lnTo>
                  <a:lnTo>
                    <a:pt x="372585" y="42313"/>
                  </a:lnTo>
                  <a:lnTo>
                    <a:pt x="372585" y="127643"/>
                  </a:lnTo>
                  <a:cubicBezTo>
                    <a:pt x="372585" y="136223"/>
                    <a:pt x="367413" y="143980"/>
                    <a:pt x="359480" y="147212"/>
                  </a:cubicBezTo>
                  <a:lnTo>
                    <a:pt x="282142" y="178947"/>
                  </a:lnTo>
                  <a:cubicBezTo>
                    <a:pt x="274208" y="182120"/>
                    <a:pt x="265217" y="180357"/>
                    <a:pt x="259164" y="174304"/>
                  </a:cubicBezTo>
                  <a:lnTo>
                    <a:pt x="199045" y="114185"/>
                  </a:lnTo>
                  <a:lnTo>
                    <a:pt x="114303" y="198986"/>
                  </a:lnTo>
                  <a:lnTo>
                    <a:pt x="174657" y="259399"/>
                  </a:lnTo>
                  <a:cubicBezTo>
                    <a:pt x="180710" y="265452"/>
                    <a:pt x="182531" y="274620"/>
                    <a:pt x="179182" y="282553"/>
                  </a:cubicBezTo>
                  <a:lnTo>
                    <a:pt x="146919" y="359656"/>
                  </a:lnTo>
                  <a:cubicBezTo>
                    <a:pt x="143627" y="367531"/>
                    <a:pt x="135929" y="372644"/>
                    <a:pt x="127408" y="372644"/>
                  </a:cubicBezTo>
                  <a:lnTo>
                    <a:pt x="42313" y="372644"/>
                  </a:lnTo>
                  <a:lnTo>
                    <a:pt x="42313" y="492529"/>
                  </a:lnTo>
                  <a:lnTo>
                    <a:pt x="127643" y="492529"/>
                  </a:lnTo>
                  <a:cubicBezTo>
                    <a:pt x="136223" y="492529"/>
                    <a:pt x="143980" y="497759"/>
                    <a:pt x="147212" y="505693"/>
                  </a:cubicBezTo>
                  <a:lnTo>
                    <a:pt x="178947" y="583031"/>
                  </a:lnTo>
                  <a:cubicBezTo>
                    <a:pt x="182179" y="590964"/>
                    <a:pt x="180357" y="600014"/>
                    <a:pt x="174304" y="606067"/>
                  </a:cubicBezTo>
                  <a:lnTo>
                    <a:pt x="114244" y="666127"/>
                  </a:lnTo>
                  <a:lnTo>
                    <a:pt x="198986" y="750929"/>
                  </a:lnTo>
                  <a:lnTo>
                    <a:pt x="259399" y="690516"/>
                  </a:lnTo>
                  <a:cubicBezTo>
                    <a:pt x="265511" y="684404"/>
                    <a:pt x="274620" y="682700"/>
                    <a:pt x="282553" y="685991"/>
                  </a:cubicBezTo>
                  <a:lnTo>
                    <a:pt x="359656" y="718313"/>
                  </a:lnTo>
                  <a:cubicBezTo>
                    <a:pt x="367531" y="721604"/>
                    <a:pt x="372644" y="729302"/>
                    <a:pt x="372644" y="737824"/>
                  </a:cubicBezTo>
                  <a:cubicBezTo>
                    <a:pt x="372624" y="766130"/>
                    <a:pt x="372605" y="794436"/>
                    <a:pt x="372585" y="822742"/>
                  </a:cubicBezTo>
                  <a:lnTo>
                    <a:pt x="372585" y="822742"/>
                  </a:lnTo>
                  <a:close/>
                  <a:moveTo>
                    <a:pt x="432527" y="629986"/>
                  </a:moveTo>
                  <a:cubicBezTo>
                    <a:pt x="323632" y="629986"/>
                    <a:pt x="235069" y="541364"/>
                    <a:pt x="235069" y="432527"/>
                  </a:cubicBezTo>
                  <a:cubicBezTo>
                    <a:pt x="235069" y="323690"/>
                    <a:pt x="323632" y="235069"/>
                    <a:pt x="432527" y="235069"/>
                  </a:cubicBezTo>
                  <a:cubicBezTo>
                    <a:pt x="541423" y="235069"/>
                    <a:pt x="629986" y="323632"/>
                    <a:pt x="629986" y="432527"/>
                  </a:cubicBezTo>
                  <a:cubicBezTo>
                    <a:pt x="629986" y="541423"/>
                    <a:pt x="541423" y="629986"/>
                    <a:pt x="432527" y="629986"/>
                  </a:cubicBezTo>
                  <a:close/>
                  <a:moveTo>
                    <a:pt x="432527" y="277382"/>
                  </a:moveTo>
                  <a:cubicBezTo>
                    <a:pt x="346962" y="277382"/>
                    <a:pt x="277382" y="347021"/>
                    <a:pt x="277382" y="432527"/>
                  </a:cubicBezTo>
                  <a:cubicBezTo>
                    <a:pt x="277382" y="518093"/>
                    <a:pt x="347021" y="587673"/>
                    <a:pt x="432527" y="587673"/>
                  </a:cubicBezTo>
                  <a:cubicBezTo>
                    <a:pt x="518093" y="587673"/>
                    <a:pt x="587673" y="518093"/>
                    <a:pt x="587673" y="432527"/>
                  </a:cubicBezTo>
                  <a:cubicBezTo>
                    <a:pt x="587673" y="346962"/>
                    <a:pt x="518093" y="277382"/>
                    <a:pt x="432527" y="277382"/>
                  </a:cubicBezTo>
                  <a:close/>
                </a:path>
              </a:pathLst>
            </a:custGeom>
            <a:solidFill>
              <a:srgbClr val="000000"/>
            </a:solidFill>
            <a:ln w="58638" cap="flat">
              <a:noFill/>
              <a:prstDash val="solid"/>
              <a:miter/>
            </a:ln>
          </p:spPr>
          <p:txBody>
            <a:bodyPr rtlCol="0" anchor="ctr"/>
            <a:lstStyle/>
            <a:p>
              <a:pPr marL="0" marR="0" lvl="0" indent="0" algn="l" defTabSz="91450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24" name="Freeform 31">
              <a:extLst>
                <a:ext uri="{FF2B5EF4-FFF2-40B4-BE49-F238E27FC236}">
                  <a16:creationId xmlns:a16="http://schemas.microsoft.com/office/drawing/2014/main" id="{8722967A-E3D0-0E80-561E-ADEA8BA3914A}"/>
                </a:ext>
              </a:extLst>
            </p:cNvPr>
            <p:cNvSpPr>
              <a:spLocks noChangeAspect="1"/>
            </p:cNvSpPr>
            <p:nvPr/>
          </p:nvSpPr>
          <p:spPr>
            <a:xfrm rot="1829499">
              <a:off x="12148979" y="7271236"/>
              <a:ext cx="439429" cy="439429"/>
            </a:xfrm>
            <a:custGeom>
              <a:avLst/>
              <a:gdLst>
                <a:gd name="connsiteX0" fmla="*/ 983764 w 1805389"/>
                <a:gd name="connsiteY0" fmla="*/ 1335193 h 1805330"/>
                <a:gd name="connsiteX1" fmla="*/ 821567 w 1805389"/>
                <a:gd name="connsiteY1" fmla="*/ 1335193 h 1805330"/>
                <a:gd name="connsiteX2" fmla="*/ 800410 w 1805389"/>
                <a:gd name="connsiteY2" fmla="*/ 1314036 h 1805330"/>
                <a:gd name="connsiteX3" fmla="*/ 800410 w 1805389"/>
                <a:gd name="connsiteY3" fmla="*/ 1221948 h 1805330"/>
                <a:gd name="connsiteX4" fmla="*/ 749342 w 1805389"/>
                <a:gd name="connsiteY4" fmla="*/ 1200616 h 1805330"/>
                <a:gd name="connsiteX5" fmla="*/ 684051 w 1805389"/>
                <a:gd name="connsiteY5" fmla="*/ 1265906 h 1805330"/>
                <a:gd name="connsiteX6" fmla="*/ 669124 w 1805389"/>
                <a:gd name="connsiteY6" fmla="*/ 1272077 h 1805330"/>
                <a:gd name="connsiteX7" fmla="*/ 669124 w 1805389"/>
                <a:gd name="connsiteY7" fmla="*/ 1272077 h 1805330"/>
                <a:gd name="connsiteX8" fmla="*/ 654197 w 1805389"/>
                <a:gd name="connsiteY8" fmla="*/ 1265906 h 1805330"/>
                <a:gd name="connsiteX9" fmla="*/ 539484 w 1805389"/>
                <a:gd name="connsiteY9" fmla="*/ 1151192 h 1805330"/>
                <a:gd name="connsiteX10" fmla="*/ 539484 w 1805389"/>
                <a:gd name="connsiteY10" fmla="*/ 1121221 h 1805330"/>
                <a:gd name="connsiteX11" fmla="*/ 604598 w 1805389"/>
                <a:gd name="connsiteY11" fmla="*/ 1056166 h 1805330"/>
                <a:gd name="connsiteX12" fmla="*/ 583618 w 1805389"/>
                <a:gd name="connsiteY12" fmla="*/ 1004979 h 1805330"/>
                <a:gd name="connsiteX13" fmla="*/ 491294 w 1805389"/>
                <a:gd name="connsiteY13" fmla="*/ 1004979 h 1805330"/>
                <a:gd name="connsiteX14" fmla="*/ 470138 w 1805389"/>
                <a:gd name="connsiteY14" fmla="*/ 983823 h 1805330"/>
                <a:gd name="connsiteX15" fmla="*/ 470138 w 1805389"/>
                <a:gd name="connsiteY15" fmla="*/ 821625 h 1805330"/>
                <a:gd name="connsiteX16" fmla="*/ 491294 w 1805389"/>
                <a:gd name="connsiteY16" fmla="*/ 800469 h 1805330"/>
                <a:gd name="connsiteX17" fmla="*/ 583383 w 1805389"/>
                <a:gd name="connsiteY17" fmla="*/ 800469 h 1805330"/>
                <a:gd name="connsiteX18" fmla="*/ 604715 w 1805389"/>
                <a:gd name="connsiteY18" fmla="*/ 749400 h 1805330"/>
                <a:gd name="connsiteX19" fmla="*/ 539484 w 1805389"/>
                <a:gd name="connsiteY19" fmla="*/ 684051 h 1805330"/>
                <a:gd name="connsiteX20" fmla="*/ 539484 w 1805389"/>
                <a:gd name="connsiteY20" fmla="*/ 654139 h 1805330"/>
                <a:gd name="connsiteX21" fmla="*/ 654139 w 1805389"/>
                <a:gd name="connsiteY21" fmla="*/ 539425 h 1805330"/>
                <a:gd name="connsiteX22" fmla="*/ 684051 w 1805389"/>
                <a:gd name="connsiteY22" fmla="*/ 539425 h 1805330"/>
                <a:gd name="connsiteX23" fmla="*/ 749165 w 1805389"/>
                <a:gd name="connsiteY23" fmla="*/ 604598 h 1805330"/>
                <a:gd name="connsiteX24" fmla="*/ 800410 w 1805389"/>
                <a:gd name="connsiteY24" fmla="*/ 583618 h 1805330"/>
                <a:gd name="connsiteX25" fmla="*/ 800410 w 1805389"/>
                <a:gd name="connsiteY25" fmla="*/ 491294 h 1805330"/>
                <a:gd name="connsiteX26" fmla="*/ 821567 w 1805389"/>
                <a:gd name="connsiteY26" fmla="*/ 470138 h 1805330"/>
                <a:gd name="connsiteX27" fmla="*/ 983764 w 1805389"/>
                <a:gd name="connsiteY27" fmla="*/ 470138 h 1805330"/>
                <a:gd name="connsiteX28" fmla="*/ 1004921 w 1805389"/>
                <a:gd name="connsiteY28" fmla="*/ 491294 h 1805330"/>
                <a:gd name="connsiteX29" fmla="*/ 1004921 w 1805389"/>
                <a:gd name="connsiteY29" fmla="*/ 583383 h 1805330"/>
                <a:gd name="connsiteX30" fmla="*/ 1055931 w 1805389"/>
                <a:gd name="connsiteY30" fmla="*/ 604715 h 1805330"/>
                <a:gd name="connsiteX31" fmla="*/ 1121162 w 1805389"/>
                <a:gd name="connsiteY31" fmla="*/ 539425 h 1805330"/>
                <a:gd name="connsiteX32" fmla="*/ 1151134 w 1805389"/>
                <a:gd name="connsiteY32" fmla="*/ 539425 h 1805330"/>
                <a:gd name="connsiteX33" fmla="*/ 1265847 w 1805389"/>
                <a:gd name="connsiteY33" fmla="*/ 654139 h 1805330"/>
                <a:gd name="connsiteX34" fmla="*/ 1272018 w 1805389"/>
                <a:gd name="connsiteY34" fmla="*/ 669066 h 1805330"/>
                <a:gd name="connsiteX35" fmla="*/ 1265847 w 1805389"/>
                <a:gd name="connsiteY35" fmla="*/ 683992 h 1805330"/>
                <a:gd name="connsiteX36" fmla="*/ 1200674 w 1805389"/>
                <a:gd name="connsiteY36" fmla="*/ 749107 h 1805330"/>
                <a:gd name="connsiteX37" fmla="*/ 1221654 w 1805389"/>
                <a:gd name="connsiteY37" fmla="*/ 800352 h 1805330"/>
                <a:gd name="connsiteX38" fmla="*/ 1314036 w 1805389"/>
                <a:gd name="connsiteY38" fmla="*/ 800352 h 1805330"/>
                <a:gd name="connsiteX39" fmla="*/ 1335193 w 1805389"/>
                <a:gd name="connsiteY39" fmla="*/ 821508 h 1805330"/>
                <a:gd name="connsiteX40" fmla="*/ 1335193 w 1805389"/>
                <a:gd name="connsiteY40" fmla="*/ 983706 h 1805330"/>
                <a:gd name="connsiteX41" fmla="*/ 1314036 w 1805389"/>
                <a:gd name="connsiteY41" fmla="*/ 1004862 h 1805330"/>
                <a:gd name="connsiteX42" fmla="*/ 1221948 w 1805389"/>
                <a:gd name="connsiteY42" fmla="*/ 1004862 h 1805330"/>
                <a:gd name="connsiteX43" fmla="*/ 1200616 w 1805389"/>
                <a:gd name="connsiteY43" fmla="*/ 1055872 h 1805330"/>
                <a:gd name="connsiteX44" fmla="*/ 1265906 w 1805389"/>
                <a:gd name="connsiteY44" fmla="*/ 1121103 h 1805330"/>
                <a:gd name="connsiteX45" fmla="*/ 1272077 w 1805389"/>
                <a:gd name="connsiteY45" fmla="*/ 1136089 h 1805330"/>
                <a:gd name="connsiteX46" fmla="*/ 1265906 w 1805389"/>
                <a:gd name="connsiteY46" fmla="*/ 1151075 h 1805330"/>
                <a:gd name="connsiteX47" fmla="*/ 1151192 w 1805389"/>
                <a:gd name="connsiteY47" fmla="*/ 1265789 h 1805330"/>
                <a:gd name="connsiteX48" fmla="*/ 1136207 w 1805389"/>
                <a:gd name="connsiteY48" fmla="*/ 1271959 h 1805330"/>
                <a:gd name="connsiteX49" fmla="*/ 1136207 w 1805389"/>
                <a:gd name="connsiteY49" fmla="*/ 1271959 h 1805330"/>
                <a:gd name="connsiteX50" fmla="*/ 1121221 w 1805389"/>
                <a:gd name="connsiteY50" fmla="*/ 1265789 h 1805330"/>
                <a:gd name="connsiteX51" fmla="*/ 1056166 w 1805389"/>
                <a:gd name="connsiteY51" fmla="*/ 1200616 h 1805330"/>
                <a:gd name="connsiteX52" fmla="*/ 1004979 w 1805389"/>
                <a:gd name="connsiteY52" fmla="*/ 1221596 h 1805330"/>
                <a:gd name="connsiteX53" fmla="*/ 1004979 w 1805389"/>
                <a:gd name="connsiteY53" fmla="*/ 1314036 h 1805330"/>
                <a:gd name="connsiteX54" fmla="*/ 983764 w 1805389"/>
                <a:gd name="connsiteY54" fmla="*/ 1335193 h 1805330"/>
                <a:gd name="connsiteX55" fmla="*/ 842723 w 1805389"/>
                <a:gd name="connsiteY55" fmla="*/ 1292880 h 1805330"/>
                <a:gd name="connsiteX56" fmla="*/ 962608 w 1805389"/>
                <a:gd name="connsiteY56" fmla="*/ 1292880 h 1805330"/>
                <a:gd name="connsiteX57" fmla="*/ 962608 w 1805389"/>
                <a:gd name="connsiteY57" fmla="*/ 1207550 h 1805330"/>
                <a:gd name="connsiteX58" fmla="*/ 975772 w 1805389"/>
                <a:gd name="connsiteY58" fmla="*/ 1187981 h 1805330"/>
                <a:gd name="connsiteX59" fmla="*/ 1053110 w 1805389"/>
                <a:gd name="connsiteY59" fmla="*/ 1156246 h 1805330"/>
                <a:gd name="connsiteX60" fmla="*/ 1076146 w 1805389"/>
                <a:gd name="connsiteY60" fmla="*/ 1160830 h 1805330"/>
                <a:gd name="connsiteX61" fmla="*/ 1136207 w 1805389"/>
                <a:gd name="connsiteY61" fmla="*/ 1221008 h 1805330"/>
                <a:gd name="connsiteX62" fmla="*/ 1221008 w 1805389"/>
                <a:gd name="connsiteY62" fmla="*/ 1136207 h 1805330"/>
                <a:gd name="connsiteX63" fmla="*/ 1160595 w 1805389"/>
                <a:gd name="connsiteY63" fmla="*/ 1075911 h 1805330"/>
                <a:gd name="connsiteX64" fmla="*/ 1156070 w 1805389"/>
                <a:gd name="connsiteY64" fmla="*/ 1052757 h 1805330"/>
                <a:gd name="connsiteX65" fmla="*/ 1188392 w 1805389"/>
                <a:gd name="connsiteY65" fmla="*/ 975654 h 1805330"/>
                <a:gd name="connsiteX66" fmla="*/ 1207903 w 1805389"/>
                <a:gd name="connsiteY66" fmla="*/ 962608 h 1805330"/>
                <a:gd name="connsiteX67" fmla="*/ 1292880 w 1805389"/>
                <a:gd name="connsiteY67" fmla="*/ 962608 h 1805330"/>
                <a:gd name="connsiteX68" fmla="*/ 1292880 w 1805389"/>
                <a:gd name="connsiteY68" fmla="*/ 842723 h 1805330"/>
                <a:gd name="connsiteX69" fmla="*/ 1207550 w 1805389"/>
                <a:gd name="connsiteY69" fmla="*/ 842723 h 1805330"/>
                <a:gd name="connsiteX70" fmla="*/ 1187981 w 1805389"/>
                <a:gd name="connsiteY70" fmla="*/ 829618 h 1805330"/>
                <a:gd name="connsiteX71" fmla="*/ 1156246 w 1805389"/>
                <a:gd name="connsiteY71" fmla="*/ 752280 h 1805330"/>
                <a:gd name="connsiteX72" fmla="*/ 1160830 w 1805389"/>
                <a:gd name="connsiteY72" fmla="*/ 729302 h 1805330"/>
                <a:gd name="connsiteX73" fmla="*/ 1221008 w 1805389"/>
                <a:gd name="connsiteY73" fmla="*/ 669183 h 1805330"/>
                <a:gd name="connsiteX74" fmla="*/ 1136207 w 1805389"/>
                <a:gd name="connsiteY74" fmla="*/ 584382 h 1805330"/>
                <a:gd name="connsiteX75" fmla="*/ 1075911 w 1805389"/>
                <a:gd name="connsiteY75" fmla="*/ 644736 h 1805330"/>
                <a:gd name="connsiteX76" fmla="*/ 1052757 w 1805389"/>
                <a:gd name="connsiteY76" fmla="*/ 649320 h 1805330"/>
                <a:gd name="connsiteX77" fmla="*/ 975654 w 1805389"/>
                <a:gd name="connsiteY77" fmla="*/ 617057 h 1805330"/>
                <a:gd name="connsiteX78" fmla="*/ 962608 w 1805389"/>
                <a:gd name="connsiteY78" fmla="*/ 597546 h 1805330"/>
                <a:gd name="connsiteX79" fmla="*/ 962608 w 1805389"/>
                <a:gd name="connsiteY79" fmla="*/ 512451 h 1805330"/>
                <a:gd name="connsiteX80" fmla="*/ 842723 w 1805389"/>
                <a:gd name="connsiteY80" fmla="*/ 512451 h 1805330"/>
                <a:gd name="connsiteX81" fmla="*/ 842723 w 1805389"/>
                <a:gd name="connsiteY81" fmla="*/ 597781 h 1805330"/>
                <a:gd name="connsiteX82" fmla="*/ 829618 w 1805389"/>
                <a:gd name="connsiteY82" fmla="*/ 617350 h 1805330"/>
                <a:gd name="connsiteX83" fmla="*/ 752280 w 1805389"/>
                <a:gd name="connsiteY83" fmla="*/ 649085 h 1805330"/>
                <a:gd name="connsiteX84" fmla="*/ 729302 w 1805389"/>
                <a:gd name="connsiteY84" fmla="*/ 644442 h 1805330"/>
                <a:gd name="connsiteX85" fmla="*/ 669183 w 1805389"/>
                <a:gd name="connsiteY85" fmla="*/ 584323 h 1805330"/>
                <a:gd name="connsiteX86" fmla="*/ 584441 w 1805389"/>
                <a:gd name="connsiteY86" fmla="*/ 669124 h 1805330"/>
                <a:gd name="connsiteX87" fmla="*/ 644795 w 1805389"/>
                <a:gd name="connsiteY87" fmla="*/ 729537 h 1805330"/>
                <a:gd name="connsiteX88" fmla="*/ 649320 w 1805389"/>
                <a:gd name="connsiteY88" fmla="*/ 752691 h 1805330"/>
                <a:gd name="connsiteX89" fmla="*/ 617057 w 1805389"/>
                <a:gd name="connsiteY89" fmla="*/ 829794 h 1805330"/>
                <a:gd name="connsiteX90" fmla="*/ 597546 w 1805389"/>
                <a:gd name="connsiteY90" fmla="*/ 842782 h 1805330"/>
                <a:gd name="connsiteX91" fmla="*/ 512451 w 1805389"/>
                <a:gd name="connsiteY91" fmla="*/ 842782 h 1805330"/>
                <a:gd name="connsiteX92" fmla="*/ 512451 w 1805389"/>
                <a:gd name="connsiteY92" fmla="*/ 962667 h 1805330"/>
                <a:gd name="connsiteX93" fmla="*/ 597781 w 1805389"/>
                <a:gd name="connsiteY93" fmla="*/ 962667 h 1805330"/>
                <a:gd name="connsiteX94" fmla="*/ 617350 w 1805389"/>
                <a:gd name="connsiteY94" fmla="*/ 975831 h 1805330"/>
                <a:gd name="connsiteX95" fmla="*/ 649085 w 1805389"/>
                <a:gd name="connsiteY95" fmla="*/ 1053169 h 1805330"/>
                <a:gd name="connsiteX96" fmla="*/ 644442 w 1805389"/>
                <a:gd name="connsiteY96" fmla="*/ 1076205 h 1805330"/>
                <a:gd name="connsiteX97" fmla="*/ 584382 w 1805389"/>
                <a:gd name="connsiteY97" fmla="*/ 1136265 h 1805330"/>
                <a:gd name="connsiteX98" fmla="*/ 669124 w 1805389"/>
                <a:gd name="connsiteY98" fmla="*/ 1221067 h 1805330"/>
                <a:gd name="connsiteX99" fmla="*/ 729537 w 1805389"/>
                <a:gd name="connsiteY99" fmla="*/ 1160654 h 1805330"/>
                <a:gd name="connsiteX100" fmla="*/ 752691 w 1805389"/>
                <a:gd name="connsiteY100" fmla="*/ 1156129 h 1805330"/>
                <a:gd name="connsiteX101" fmla="*/ 829794 w 1805389"/>
                <a:gd name="connsiteY101" fmla="*/ 1188451 h 1805330"/>
                <a:gd name="connsiteX102" fmla="*/ 842782 w 1805389"/>
                <a:gd name="connsiteY102" fmla="*/ 1207962 h 1805330"/>
                <a:gd name="connsiteX103" fmla="*/ 842723 w 1805389"/>
                <a:gd name="connsiteY103" fmla="*/ 1292880 h 1805330"/>
                <a:gd name="connsiteX104" fmla="*/ 842723 w 1805389"/>
                <a:gd name="connsiteY104" fmla="*/ 1292880 h 1805330"/>
                <a:gd name="connsiteX105" fmla="*/ 902665 w 1805389"/>
                <a:gd name="connsiteY105" fmla="*/ 1100124 h 1805330"/>
                <a:gd name="connsiteX106" fmla="*/ 705207 w 1805389"/>
                <a:gd name="connsiteY106" fmla="*/ 902665 h 1805330"/>
                <a:gd name="connsiteX107" fmla="*/ 902665 w 1805389"/>
                <a:gd name="connsiteY107" fmla="*/ 705207 h 1805330"/>
                <a:gd name="connsiteX108" fmla="*/ 1100124 w 1805389"/>
                <a:gd name="connsiteY108" fmla="*/ 902665 h 1805330"/>
                <a:gd name="connsiteX109" fmla="*/ 902665 w 1805389"/>
                <a:gd name="connsiteY109" fmla="*/ 1100124 h 1805330"/>
                <a:gd name="connsiteX110" fmla="*/ 902665 w 1805389"/>
                <a:gd name="connsiteY110" fmla="*/ 747520 h 1805330"/>
                <a:gd name="connsiteX111" fmla="*/ 747520 w 1805389"/>
                <a:gd name="connsiteY111" fmla="*/ 902665 h 1805330"/>
                <a:gd name="connsiteX112" fmla="*/ 902665 w 1805389"/>
                <a:gd name="connsiteY112" fmla="*/ 1057811 h 1805330"/>
                <a:gd name="connsiteX113" fmla="*/ 1057811 w 1805389"/>
                <a:gd name="connsiteY113" fmla="*/ 902665 h 1805330"/>
                <a:gd name="connsiteX114" fmla="*/ 902665 w 1805389"/>
                <a:gd name="connsiteY114" fmla="*/ 747520 h 1805330"/>
                <a:gd name="connsiteX115" fmla="*/ 902665 w 1805389"/>
                <a:gd name="connsiteY115" fmla="*/ 1805331 h 1805330"/>
                <a:gd name="connsiteX116" fmla="*/ 218614 w 1805389"/>
                <a:gd name="connsiteY116" fmla="*/ 1491631 h 1805330"/>
                <a:gd name="connsiteX117" fmla="*/ 218614 w 1805389"/>
                <a:gd name="connsiteY117" fmla="*/ 1725407 h 1805330"/>
                <a:gd name="connsiteX118" fmla="*/ 176302 w 1805389"/>
                <a:gd name="connsiteY118" fmla="*/ 1725407 h 1805330"/>
                <a:gd name="connsiteX119" fmla="*/ 176302 w 1805389"/>
                <a:gd name="connsiteY119" fmla="*/ 1410415 h 1805330"/>
                <a:gd name="connsiteX120" fmla="*/ 491294 w 1805389"/>
                <a:gd name="connsiteY120" fmla="*/ 1410415 h 1805330"/>
                <a:gd name="connsiteX121" fmla="*/ 491294 w 1805389"/>
                <a:gd name="connsiteY121" fmla="*/ 1452786 h 1805330"/>
                <a:gd name="connsiteX122" fmla="*/ 241122 w 1805389"/>
                <a:gd name="connsiteY122" fmla="*/ 1452786 h 1805330"/>
                <a:gd name="connsiteX123" fmla="*/ 902665 w 1805389"/>
                <a:gd name="connsiteY123" fmla="*/ 1763018 h 1805330"/>
                <a:gd name="connsiteX124" fmla="*/ 1763018 w 1805389"/>
                <a:gd name="connsiteY124" fmla="*/ 902665 h 1805330"/>
                <a:gd name="connsiteX125" fmla="*/ 1805390 w 1805389"/>
                <a:gd name="connsiteY125" fmla="*/ 902665 h 1805330"/>
                <a:gd name="connsiteX126" fmla="*/ 902665 w 1805389"/>
                <a:gd name="connsiteY126" fmla="*/ 1805331 h 1805330"/>
                <a:gd name="connsiteX127" fmla="*/ 42312 w 1805389"/>
                <a:gd name="connsiteY127" fmla="*/ 902665 h 1805330"/>
                <a:gd name="connsiteX128" fmla="*/ 0 w 1805389"/>
                <a:gd name="connsiteY128" fmla="*/ 902665 h 1805330"/>
                <a:gd name="connsiteX129" fmla="*/ 902665 w 1805389"/>
                <a:gd name="connsiteY129" fmla="*/ 0 h 1805330"/>
                <a:gd name="connsiteX130" fmla="*/ 1586717 w 1805389"/>
                <a:gd name="connsiteY130" fmla="*/ 313641 h 1805330"/>
                <a:gd name="connsiteX131" fmla="*/ 1586717 w 1805389"/>
                <a:gd name="connsiteY131" fmla="*/ 79924 h 1805330"/>
                <a:gd name="connsiteX132" fmla="*/ 1629088 w 1805389"/>
                <a:gd name="connsiteY132" fmla="*/ 79924 h 1805330"/>
                <a:gd name="connsiteX133" fmla="*/ 1629088 w 1805389"/>
                <a:gd name="connsiteY133" fmla="*/ 394916 h 1805330"/>
                <a:gd name="connsiteX134" fmla="*/ 1314036 w 1805389"/>
                <a:gd name="connsiteY134" fmla="*/ 394916 h 1805330"/>
                <a:gd name="connsiteX135" fmla="*/ 1314036 w 1805389"/>
                <a:gd name="connsiteY135" fmla="*/ 352604 h 1805330"/>
                <a:gd name="connsiteX136" fmla="*/ 1564209 w 1805389"/>
                <a:gd name="connsiteY136" fmla="*/ 352604 h 1805330"/>
                <a:gd name="connsiteX137" fmla="*/ 902665 w 1805389"/>
                <a:gd name="connsiteY137" fmla="*/ 42312 h 1805330"/>
                <a:gd name="connsiteX138" fmla="*/ 42312 w 1805389"/>
                <a:gd name="connsiteY138" fmla="*/ 902665 h 1805330"/>
                <a:gd name="connsiteX0" fmla="*/ 983764 w 1805390"/>
                <a:gd name="connsiteY0" fmla="*/ 1335193 h 1805331"/>
                <a:gd name="connsiteX1" fmla="*/ 821567 w 1805390"/>
                <a:gd name="connsiteY1" fmla="*/ 1335193 h 1805331"/>
                <a:gd name="connsiteX2" fmla="*/ 800410 w 1805390"/>
                <a:gd name="connsiteY2" fmla="*/ 1314036 h 1805331"/>
                <a:gd name="connsiteX3" fmla="*/ 800410 w 1805390"/>
                <a:gd name="connsiteY3" fmla="*/ 1221948 h 1805331"/>
                <a:gd name="connsiteX4" fmla="*/ 749342 w 1805390"/>
                <a:gd name="connsiteY4" fmla="*/ 1200616 h 1805331"/>
                <a:gd name="connsiteX5" fmla="*/ 684051 w 1805390"/>
                <a:gd name="connsiteY5" fmla="*/ 1265906 h 1805331"/>
                <a:gd name="connsiteX6" fmla="*/ 669124 w 1805390"/>
                <a:gd name="connsiteY6" fmla="*/ 1272077 h 1805331"/>
                <a:gd name="connsiteX7" fmla="*/ 669124 w 1805390"/>
                <a:gd name="connsiteY7" fmla="*/ 1272077 h 1805331"/>
                <a:gd name="connsiteX8" fmla="*/ 654197 w 1805390"/>
                <a:gd name="connsiteY8" fmla="*/ 1265906 h 1805331"/>
                <a:gd name="connsiteX9" fmla="*/ 539484 w 1805390"/>
                <a:gd name="connsiteY9" fmla="*/ 1151192 h 1805331"/>
                <a:gd name="connsiteX10" fmla="*/ 539484 w 1805390"/>
                <a:gd name="connsiteY10" fmla="*/ 1121221 h 1805331"/>
                <a:gd name="connsiteX11" fmla="*/ 604598 w 1805390"/>
                <a:gd name="connsiteY11" fmla="*/ 1056166 h 1805331"/>
                <a:gd name="connsiteX12" fmla="*/ 583618 w 1805390"/>
                <a:gd name="connsiteY12" fmla="*/ 1004979 h 1805331"/>
                <a:gd name="connsiteX13" fmla="*/ 491294 w 1805390"/>
                <a:gd name="connsiteY13" fmla="*/ 1004979 h 1805331"/>
                <a:gd name="connsiteX14" fmla="*/ 470138 w 1805390"/>
                <a:gd name="connsiteY14" fmla="*/ 983823 h 1805331"/>
                <a:gd name="connsiteX15" fmla="*/ 470138 w 1805390"/>
                <a:gd name="connsiteY15" fmla="*/ 821625 h 1805331"/>
                <a:gd name="connsiteX16" fmla="*/ 491294 w 1805390"/>
                <a:gd name="connsiteY16" fmla="*/ 800469 h 1805331"/>
                <a:gd name="connsiteX17" fmla="*/ 583383 w 1805390"/>
                <a:gd name="connsiteY17" fmla="*/ 800469 h 1805331"/>
                <a:gd name="connsiteX18" fmla="*/ 604715 w 1805390"/>
                <a:gd name="connsiteY18" fmla="*/ 749400 h 1805331"/>
                <a:gd name="connsiteX19" fmla="*/ 539484 w 1805390"/>
                <a:gd name="connsiteY19" fmla="*/ 684051 h 1805331"/>
                <a:gd name="connsiteX20" fmla="*/ 539484 w 1805390"/>
                <a:gd name="connsiteY20" fmla="*/ 654139 h 1805331"/>
                <a:gd name="connsiteX21" fmla="*/ 654139 w 1805390"/>
                <a:gd name="connsiteY21" fmla="*/ 539425 h 1805331"/>
                <a:gd name="connsiteX22" fmla="*/ 684051 w 1805390"/>
                <a:gd name="connsiteY22" fmla="*/ 539425 h 1805331"/>
                <a:gd name="connsiteX23" fmla="*/ 749165 w 1805390"/>
                <a:gd name="connsiteY23" fmla="*/ 604598 h 1805331"/>
                <a:gd name="connsiteX24" fmla="*/ 800410 w 1805390"/>
                <a:gd name="connsiteY24" fmla="*/ 583618 h 1805331"/>
                <a:gd name="connsiteX25" fmla="*/ 800410 w 1805390"/>
                <a:gd name="connsiteY25" fmla="*/ 491294 h 1805331"/>
                <a:gd name="connsiteX26" fmla="*/ 821567 w 1805390"/>
                <a:gd name="connsiteY26" fmla="*/ 470138 h 1805331"/>
                <a:gd name="connsiteX27" fmla="*/ 983764 w 1805390"/>
                <a:gd name="connsiteY27" fmla="*/ 470138 h 1805331"/>
                <a:gd name="connsiteX28" fmla="*/ 1004921 w 1805390"/>
                <a:gd name="connsiteY28" fmla="*/ 491294 h 1805331"/>
                <a:gd name="connsiteX29" fmla="*/ 1004921 w 1805390"/>
                <a:gd name="connsiteY29" fmla="*/ 583383 h 1805331"/>
                <a:gd name="connsiteX30" fmla="*/ 1055931 w 1805390"/>
                <a:gd name="connsiteY30" fmla="*/ 604715 h 1805331"/>
                <a:gd name="connsiteX31" fmla="*/ 1121162 w 1805390"/>
                <a:gd name="connsiteY31" fmla="*/ 539425 h 1805331"/>
                <a:gd name="connsiteX32" fmla="*/ 1151134 w 1805390"/>
                <a:gd name="connsiteY32" fmla="*/ 539425 h 1805331"/>
                <a:gd name="connsiteX33" fmla="*/ 1265847 w 1805390"/>
                <a:gd name="connsiteY33" fmla="*/ 654139 h 1805331"/>
                <a:gd name="connsiteX34" fmla="*/ 1272018 w 1805390"/>
                <a:gd name="connsiteY34" fmla="*/ 669066 h 1805331"/>
                <a:gd name="connsiteX35" fmla="*/ 1265847 w 1805390"/>
                <a:gd name="connsiteY35" fmla="*/ 683992 h 1805331"/>
                <a:gd name="connsiteX36" fmla="*/ 1200674 w 1805390"/>
                <a:gd name="connsiteY36" fmla="*/ 749107 h 1805331"/>
                <a:gd name="connsiteX37" fmla="*/ 1221654 w 1805390"/>
                <a:gd name="connsiteY37" fmla="*/ 800352 h 1805331"/>
                <a:gd name="connsiteX38" fmla="*/ 1314036 w 1805390"/>
                <a:gd name="connsiteY38" fmla="*/ 800352 h 1805331"/>
                <a:gd name="connsiteX39" fmla="*/ 1335193 w 1805390"/>
                <a:gd name="connsiteY39" fmla="*/ 821508 h 1805331"/>
                <a:gd name="connsiteX40" fmla="*/ 1335193 w 1805390"/>
                <a:gd name="connsiteY40" fmla="*/ 983706 h 1805331"/>
                <a:gd name="connsiteX41" fmla="*/ 1314036 w 1805390"/>
                <a:gd name="connsiteY41" fmla="*/ 1004862 h 1805331"/>
                <a:gd name="connsiteX42" fmla="*/ 1221948 w 1805390"/>
                <a:gd name="connsiteY42" fmla="*/ 1004862 h 1805331"/>
                <a:gd name="connsiteX43" fmla="*/ 1200616 w 1805390"/>
                <a:gd name="connsiteY43" fmla="*/ 1055872 h 1805331"/>
                <a:gd name="connsiteX44" fmla="*/ 1265906 w 1805390"/>
                <a:gd name="connsiteY44" fmla="*/ 1121103 h 1805331"/>
                <a:gd name="connsiteX45" fmla="*/ 1272077 w 1805390"/>
                <a:gd name="connsiteY45" fmla="*/ 1136089 h 1805331"/>
                <a:gd name="connsiteX46" fmla="*/ 1265906 w 1805390"/>
                <a:gd name="connsiteY46" fmla="*/ 1151075 h 1805331"/>
                <a:gd name="connsiteX47" fmla="*/ 1151192 w 1805390"/>
                <a:gd name="connsiteY47" fmla="*/ 1265789 h 1805331"/>
                <a:gd name="connsiteX48" fmla="*/ 1136207 w 1805390"/>
                <a:gd name="connsiteY48" fmla="*/ 1271959 h 1805331"/>
                <a:gd name="connsiteX49" fmla="*/ 1136207 w 1805390"/>
                <a:gd name="connsiteY49" fmla="*/ 1271959 h 1805331"/>
                <a:gd name="connsiteX50" fmla="*/ 1121221 w 1805390"/>
                <a:gd name="connsiteY50" fmla="*/ 1265789 h 1805331"/>
                <a:gd name="connsiteX51" fmla="*/ 1056166 w 1805390"/>
                <a:gd name="connsiteY51" fmla="*/ 1200616 h 1805331"/>
                <a:gd name="connsiteX52" fmla="*/ 1004979 w 1805390"/>
                <a:gd name="connsiteY52" fmla="*/ 1221596 h 1805331"/>
                <a:gd name="connsiteX53" fmla="*/ 1004979 w 1805390"/>
                <a:gd name="connsiteY53" fmla="*/ 1314036 h 1805331"/>
                <a:gd name="connsiteX54" fmla="*/ 983764 w 1805390"/>
                <a:gd name="connsiteY54" fmla="*/ 1335193 h 1805331"/>
                <a:gd name="connsiteX55" fmla="*/ 842723 w 1805390"/>
                <a:gd name="connsiteY55" fmla="*/ 1292880 h 1805331"/>
                <a:gd name="connsiteX56" fmla="*/ 962608 w 1805390"/>
                <a:gd name="connsiteY56" fmla="*/ 1292880 h 1805331"/>
                <a:gd name="connsiteX57" fmla="*/ 962608 w 1805390"/>
                <a:gd name="connsiteY57" fmla="*/ 1207550 h 1805331"/>
                <a:gd name="connsiteX58" fmla="*/ 975772 w 1805390"/>
                <a:gd name="connsiteY58" fmla="*/ 1187981 h 1805331"/>
                <a:gd name="connsiteX59" fmla="*/ 1053110 w 1805390"/>
                <a:gd name="connsiteY59" fmla="*/ 1156246 h 1805331"/>
                <a:gd name="connsiteX60" fmla="*/ 1076146 w 1805390"/>
                <a:gd name="connsiteY60" fmla="*/ 1160830 h 1805331"/>
                <a:gd name="connsiteX61" fmla="*/ 1136207 w 1805390"/>
                <a:gd name="connsiteY61" fmla="*/ 1221008 h 1805331"/>
                <a:gd name="connsiteX62" fmla="*/ 1221008 w 1805390"/>
                <a:gd name="connsiteY62" fmla="*/ 1136207 h 1805331"/>
                <a:gd name="connsiteX63" fmla="*/ 1160595 w 1805390"/>
                <a:gd name="connsiteY63" fmla="*/ 1075911 h 1805331"/>
                <a:gd name="connsiteX64" fmla="*/ 1156070 w 1805390"/>
                <a:gd name="connsiteY64" fmla="*/ 1052757 h 1805331"/>
                <a:gd name="connsiteX65" fmla="*/ 1188392 w 1805390"/>
                <a:gd name="connsiteY65" fmla="*/ 975654 h 1805331"/>
                <a:gd name="connsiteX66" fmla="*/ 1207903 w 1805390"/>
                <a:gd name="connsiteY66" fmla="*/ 962608 h 1805331"/>
                <a:gd name="connsiteX67" fmla="*/ 1292880 w 1805390"/>
                <a:gd name="connsiteY67" fmla="*/ 962608 h 1805331"/>
                <a:gd name="connsiteX68" fmla="*/ 1292880 w 1805390"/>
                <a:gd name="connsiteY68" fmla="*/ 842723 h 1805331"/>
                <a:gd name="connsiteX69" fmla="*/ 1207550 w 1805390"/>
                <a:gd name="connsiteY69" fmla="*/ 842723 h 1805331"/>
                <a:gd name="connsiteX70" fmla="*/ 1187981 w 1805390"/>
                <a:gd name="connsiteY70" fmla="*/ 829618 h 1805331"/>
                <a:gd name="connsiteX71" fmla="*/ 1156246 w 1805390"/>
                <a:gd name="connsiteY71" fmla="*/ 752280 h 1805331"/>
                <a:gd name="connsiteX72" fmla="*/ 1160830 w 1805390"/>
                <a:gd name="connsiteY72" fmla="*/ 729302 h 1805331"/>
                <a:gd name="connsiteX73" fmla="*/ 1221008 w 1805390"/>
                <a:gd name="connsiteY73" fmla="*/ 669183 h 1805331"/>
                <a:gd name="connsiteX74" fmla="*/ 1136207 w 1805390"/>
                <a:gd name="connsiteY74" fmla="*/ 584382 h 1805331"/>
                <a:gd name="connsiteX75" fmla="*/ 1075911 w 1805390"/>
                <a:gd name="connsiteY75" fmla="*/ 644736 h 1805331"/>
                <a:gd name="connsiteX76" fmla="*/ 1052757 w 1805390"/>
                <a:gd name="connsiteY76" fmla="*/ 649320 h 1805331"/>
                <a:gd name="connsiteX77" fmla="*/ 975654 w 1805390"/>
                <a:gd name="connsiteY77" fmla="*/ 617057 h 1805331"/>
                <a:gd name="connsiteX78" fmla="*/ 962608 w 1805390"/>
                <a:gd name="connsiteY78" fmla="*/ 597546 h 1805331"/>
                <a:gd name="connsiteX79" fmla="*/ 962608 w 1805390"/>
                <a:gd name="connsiteY79" fmla="*/ 512451 h 1805331"/>
                <a:gd name="connsiteX80" fmla="*/ 842723 w 1805390"/>
                <a:gd name="connsiteY80" fmla="*/ 512451 h 1805331"/>
                <a:gd name="connsiteX81" fmla="*/ 842723 w 1805390"/>
                <a:gd name="connsiteY81" fmla="*/ 597781 h 1805331"/>
                <a:gd name="connsiteX82" fmla="*/ 829618 w 1805390"/>
                <a:gd name="connsiteY82" fmla="*/ 617350 h 1805331"/>
                <a:gd name="connsiteX83" fmla="*/ 752280 w 1805390"/>
                <a:gd name="connsiteY83" fmla="*/ 649085 h 1805331"/>
                <a:gd name="connsiteX84" fmla="*/ 729302 w 1805390"/>
                <a:gd name="connsiteY84" fmla="*/ 644442 h 1805331"/>
                <a:gd name="connsiteX85" fmla="*/ 669183 w 1805390"/>
                <a:gd name="connsiteY85" fmla="*/ 584323 h 1805331"/>
                <a:gd name="connsiteX86" fmla="*/ 584441 w 1805390"/>
                <a:gd name="connsiteY86" fmla="*/ 669124 h 1805331"/>
                <a:gd name="connsiteX87" fmla="*/ 644795 w 1805390"/>
                <a:gd name="connsiteY87" fmla="*/ 729537 h 1805331"/>
                <a:gd name="connsiteX88" fmla="*/ 649320 w 1805390"/>
                <a:gd name="connsiteY88" fmla="*/ 752691 h 1805331"/>
                <a:gd name="connsiteX89" fmla="*/ 617057 w 1805390"/>
                <a:gd name="connsiteY89" fmla="*/ 829794 h 1805331"/>
                <a:gd name="connsiteX90" fmla="*/ 597546 w 1805390"/>
                <a:gd name="connsiteY90" fmla="*/ 842782 h 1805331"/>
                <a:gd name="connsiteX91" fmla="*/ 512451 w 1805390"/>
                <a:gd name="connsiteY91" fmla="*/ 842782 h 1805331"/>
                <a:gd name="connsiteX92" fmla="*/ 512451 w 1805390"/>
                <a:gd name="connsiteY92" fmla="*/ 962667 h 1805331"/>
                <a:gd name="connsiteX93" fmla="*/ 597781 w 1805390"/>
                <a:gd name="connsiteY93" fmla="*/ 962667 h 1805331"/>
                <a:gd name="connsiteX94" fmla="*/ 617350 w 1805390"/>
                <a:gd name="connsiteY94" fmla="*/ 975831 h 1805331"/>
                <a:gd name="connsiteX95" fmla="*/ 649085 w 1805390"/>
                <a:gd name="connsiteY95" fmla="*/ 1053169 h 1805331"/>
                <a:gd name="connsiteX96" fmla="*/ 644442 w 1805390"/>
                <a:gd name="connsiteY96" fmla="*/ 1076205 h 1805331"/>
                <a:gd name="connsiteX97" fmla="*/ 584382 w 1805390"/>
                <a:gd name="connsiteY97" fmla="*/ 1136265 h 1805331"/>
                <a:gd name="connsiteX98" fmla="*/ 669124 w 1805390"/>
                <a:gd name="connsiteY98" fmla="*/ 1221067 h 1805331"/>
                <a:gd name="connsiteX99" fmla="*/ 729537 w 1805390"/>
                <a:gd name="connsiteY99" fmla="*/ 1160654 h 1805331"/>
                <a:gd name="connsiteX100" fmla="*/ 752691 w 1805390"/>
                <a:gd name="connsiteY100" fmla="*/ 1156129 h 1805331"/>
                <a:gd name="connsiteX101" fmla="*/ 829794 w 1805390"/>
                <a:gd name="connsiteY101" fmla="*/ 1188451 h 1805331"/>
                <a:gd name="connsiteX102" fmla="*/ 842782 w 1805390"/>
                <a:gd name="connsiteY102" fmla="*/ 1207962 h 1805331"/>
                <a:gd name="connsiteX103" fmla="*/ 842723 w 1805390"/>
                <a:gd name="connsiteY103" fmla="*/ 1292880 h 1805331"/>
                <a:gd name="connsiteX104" fmla="*/ 842723 w 1805390"/>
                <a:gd name="connsiteY104" fmla="*/ 1292880 h 1805331"/>
                <a:gd name="connsiteX105" fmla="*/ 902665 w 1805390"/>
                <a:gd name="connsiteY105" fmla="*/ 1100124 h 1805331"/>
                <a:gd name="connsiteX106" fmla="*/ 705207 w 1805390"/>
                <a:gd name="connsiteY106" fmla="*/ 902665 h 1805331"/>
                <a:gd name="connsiteX107" fmla="*/ 902665 w 1805390"/>
                <a:gd name="connsiteY107" fmla="*/ 705207 h 1805331"/>
                <a:gd name="connsiteX108" fmla="*/ 1100124 w 1805390"/>
                <a:gd name="connsiteY108" fmla="*/ 902665 h 1805331"/>
                <a:gd name="connsiteX109" fmla="*/ 902665 w 1805390"/>
                <a:gd name="connsiteY109" fmla="*/ 1100124 h 1805331"/>
                <a:gd name="connsiteX110" fmla="*/ 902665 w 1805390"/>
                <a:gd name="connsiteY110" fmla="*/ 747520 h 1805331"/>
                <a:gd name="connsiteX111" fmla="*/ 747520 w 1805390"/>
                <a:gd name="connsiteY111" fmla="*/ 902665 h 1805331"/>
                <a:gd name="connsiteX112" fmla="*/ 902665 w 1805390"/>
                <a:gd name="connsiteY112" fmla="*/ 1057811 h 1805331"/>
                <a:gd name="connsiteX113" fmla="*/ 1057811 w 1805390"/>
                <a:gd name="connsiteY113" fmla="*/ 902665 h 1805331"/>
                <a:gd name="connsiteX114" fmla="*/ 902665 w 1805390"/>
                <a:gd name="connsiteY114" fmla="*/ 747520 h 1805331"/>
                <a:gd name="connsiteX115" fmla="*/ 902665 w 1805390"/>
                <a:gd name="connsiteY115" fmla="*/ 1805331 h 1805331"/>
                <a:gd name="connsiteX116" fmla="*/ 218614 w 1805390"/>
                <a:gd name="connsiteY116" fmla="*/ 1491631 h 1805331"/>
                <a:gd name="connsiteX117" fmla="*/ 218614 w 1805390"/>
                <a:gd name="connsiteY117" fmla="*/ 1725407 h 1805331"/>
                <a:gd name="connsiteX118" fmla="*/ 176302 w 1805390"/>
                <a:gd name="connsiteY118" fmla="*/ 1725407 h 1805331"/>
                <a:gd name="connsiteX119" fmla="*/ 176302 w 1805390"/>
                <a:gd name="connsiteY119" fmla="*/ 1410415 h 1805331"/>
                <a:gd name="connsiteX120" fmla="*/ 491294 w 1805390"/>
                <a:gd name="connsiteY120" fmla="*/ 1410415 h 1805331"/>
                <a:gd name="connsiteX121" fmla="*/ 491294 w 1805390"/>
                <a:gd name="connsiteY121" fmla="*/ 1452786 h 1805331"/>
                <a:gd name="connsiteX122" fmla="*/ 241122 w 1805390"/>
                <a:gd name="connsiteY122" fmla="*/ 1452786 h 1805331"/>
                <a:gd name="connsiteX123" fmla="*/ 902665 w 1805390"/>
                <a:gd name="connsiteY123" fmla="*/ 1763018 h 1805331"/>
                <a:gd name="connsiteX124" fmla="*/ 1805390 w 1805390"/>
                <a:gd name="connsiteY124" fmla="*/ 902665 h 1805331"/>
                <a:gd name="connsiteX125" fmla="*/ 902665 w 1805390"/>
                <a:gd name="connsiteY125" fmla="*/ 1805331 h 1805331"/>
                <a:gd name="connsiteX126" fmla="*/ 42312 w 1805390"/>
                <a:gd name="connsiteY126" fmla="*/ 902665 h 1805331"/>
                <a:gd name="connsiteX127" fmla="*/ 0 w 1805390"/>
                <a:gd name="connsiteY127" fmla="*/ 902665 h 1805331"/>
                <a:gd name="connsiteX128" fmla="*/ 902665 w 1805390"/>
                <a:gd name="connsiteY128" fmla="*/ 0 h 1805331"/>
                <a:gd name="connsiteX129" fmla="*/ 1586717 w 1805390"/>
                <a:gd name="connsiteY129" fmla="*/ 313641 h 1805331"/>
                <a:gd name="connsiteX130" fmla="*/ 1586717 w 1805390"/>
                <a:gd name="connsiteY130" fmla="*/ 79924 h 1805331"/>
                <a:gd name="connsiteX131" fmla="*/ 1629088 w 1805390"/>
                <a:gd name="connsiteY131" fmla="*/ 79924 h 1805331"/>
                <a:gd name="connsiteX132" fmla="*/ 1629088 w 1805390"/>
                <a:gd name="connsiteY132" fmla="*/ 394916 h 1805331"/>
                <a:gd name="connsiteX133" fmla="*/ 1314036 w 1805390"/>
                <a:gd name="connsiteY133" fmla="*/ 394916 h 1805331"/>
                <a:gd name="connsiteX134" fmla="*/ 1314036 w 1805390"/>
                <a:gd name="connsiteY134" fmla="*/ 352604 h 1805331"/>
                <a:gd name="connsiteX135" fmla="*/ 1564209 w 1805390"/>
                <a:gd name="connsiteY135" fmla="*/ 352604 h 1805331"/>
                <a:gd name="connsiteX136" fmla="*/ 902665 w 1805390"/>
                <a:gd name="connsiteY136" fmla="*/ 42312 h 1805331"/>
                <a:gd name="connsiteX137" fmla="*/ 42312 w 1805390"/>
                <a:gd name="connsiteY137" fmla="*/ 902665 h 1805331"/>
                <a:gd name="connsiteX0" fmla="*/ 983764 w 1629088"/>
                <a:gd name="connsiteY0" fmla="*/ 1335193 h 1827528"/>
                <a:gd name="connsiteX1" fmla="*/ 821567 w 1629088"/>
                <a:gd name="connsiteY1" fmla="*/ 1335193 h 1827528"/>
                <a:gd name="connsiteX2" fmla="*/ 800410 w 1629088"/>
                <a:gd name="connsiteY2" fmla="*/ 1314036 h 1827528"/>
                <a:gd name="connsiteX3" fmla="*/ 800410 w 1629088"/>
                <a:gd name="connsiteY3" fmla="*/ 1221948 h 1827528"/>
                <a:gd name="connsiteX4" fmla="*/ 749342 w 1629088"/>
                <a:gd name="connsiteY4" fmla="*/ 1200616 h 1827528"/>
                <a:gd name="connsiteX5" fmla="*/ 684051 w 1629088"/>
                <a:gd name="connsiteY5" fmla="*/ 1265906 h 1827528"/>
                <a:gd name="connsiteX6" fmla="*/ 669124 w 1629088"/>
                <a:gd name="connsiteY6" fmla="*/ 1272077 h 1827528"/>
                <a:gd name="connsiteX7" fmla="*/ 669124 w 1629088"/>
                <a:gd name="connsiteY7" fmla="*/ 1272077 h 1827528"/>
                <a:gd name="connsiteX8" fmla="*/ 654197 w 1629088"/>
                <a:gd name="connsiteY8" fmla="*/ 1265906 h 1827528"/>
                <a:gd name="connsiteX9" fmla="*/ 539484 w 1629088"/>
                <a:gd name="connsiteY9" fmla="*/ 1151192 h 1827528"/>
                <a:gd name="connsiteX10" fmla="*/ 539484 w 1629088"/>
                <a:gd name="connsiteY10" fmla="*/ 1121221 h 1827528"/>
                <a:gd name="connsiteX11" fmla="*/ 604598 w 1629088"/>
                <a:gd name="connsiteY11" fmla="*/ 1056166 h 1827528"/>
                <a:gd name="connsiteX12" fmla="*/ 583618 w 1629088"/>
                <a:gd name="connsiteY12" fmla="*/ 1004979 h 1827528"/>
                <a:gd name="connsiteX13" fmla="*/ 491294 w 1629088"/>
                <a:gd name="connsiteY13" fmla="*/ 1004979 h 1827528"/>
                <a:gd name="connsiteX14" fmla="*/ 470138 w 1629088"/>
                <a:gd name="connsiteY14" fmla="*/ 983823 h 1827528"/>
                <a:gd name="connsiteX15" fmla="*/ 470138 w 1629088"/>
                <a:gd name="connsiteY15" fmla="*/ 821625 h 1827528"/>
                <a:gd name="connsiteX16" fmla="*/ 491294 w 1629088"/>
                <a:gd name="connsiteY16" fmla="*/ 800469 h 1827528"/>
                <a:gd name="connsiteX17" fmla="*/ 583383 w 1629088"/>
                <a:gd name="connsiteY17" fmla="*/ 800469 h 1827528"/>
                <a:gd name="connsiteX18" fmla="*/ 604715 w 1629088"/>
                <a:gd name="connsiteY18" fmla="*/ 749400 h 1827528"/>
                <a:gd name="connsiteX19" fmla="*/ 539484 w 1629088"/>
                <a:gd name="connsiteY19" fmla="*/ 684051 h 1827528"/>
                <a:gd name="connsiteX20" fmla="*/ 539484 w 1629088"/>
                <a:gd name="connsiteY20" fmla="*/ 654139 h 1827528"/>
                <a:gd name="connsiteX21" fmla="*/ 654139 w 1629088"/>
                <a:gd name="connsiteY21" fmla="*/ 539425 h 1827528"/>
                <a:gd name="connsiteX22" fmla="*/ 684051 w 1629088"/>
                <a:gd name="connsiteY22" fmla="*/ 539425 h 1827528"/>
                <a:gd name="connsiteX23" fmla="*/ 749165 w 1629088"/>
                <a:gd name="connsiteY23" fmla="*/ 604598 h 1827528"/>
                <a:gd name="connsiteX24" fmla="*/ 800410 w 1629088"/>
                <a:gd name="connsiteY24" fmla="*/ 583618 h 1827528"/>
                <a:gd name="connsiteX25" fmla="*/ 800410 w 1629088"/>
                <a:gd name="connsiteY25" fmla="*/ 491294 h 1827528"/>
                <a:gd name="connsiteX26" fmla="*/ 821567 w 1629088"/>
                <a:gd name="connsiteY26" fmla="*/ 470138 h 1827528"/>
                <a:gd name="connsiteX27" fmla="*/ 983764 w 1629088"/>
                <a:gd name="connsiteY27" fmla="*/ 470138 h 1827528"/>
                <a:gd name="connsiteX28" fmla="*/ 1004921 w 1629088"/>
                <a:gd name="connsiteY28" fmla="*/ 491294 h 1827528"/>
                <a:gd name="connsiteX29" fmla="*/ 1004921 w 1629088"/>
                <a:gd name="connsiteY29" fmla="*/ 583383 h 1827528"/>
                <a:gd name="connsiteX30" fmla="*/ 1055931 w 1629088"/>
                <a:gd name="connsiteY30" fmla="*/ 604715 h 1827528"/>
                <a:gd name="connsiteX31" fmla="*/ 1121162 w 1629088"/>
                <a:gd name="connsiteY31" fmla="*/ 539425 h 1827528"/>
                <a:gd name="connsiteX32" fmla="*/ 1151134 w 1629088"/>
                <a:gd name="connsiteY32" fmla="*/ 539425 h 1827528"/>
                <a:gd name="connsiteX33" fmla="*/ 1265847 w 1629088"/>
                <a:gd name="connsiteY33" fmla="*/ 654139 h 1827528"/>
                <a:gd name="connsiteX34" fmla="*/ 1272018 w 1629088"/>
                <a:gd name="connsiteY34" fmla="*/ 669066 h 1827528"/>
                <a:gd name="connsiteX35" fmla="*/ 1265847 w 1629088"/>
                <a:gd name="connsiteY35" fmla="*/ 683992 h 1827528"/>
                <a:gd name="connsiteX36" fmla="*/ 1200674 w 1629088"/>
                <a:gd name="connsiteY36" fmla="*/ 749107 h 1827528"/>
                <a:gd name="connsiteX37" fmla="*/ 1221654 w 1629088"/>
                <a:gd name="connsiteY37" fmla="*/ 800352 h 1827528"/>
                <a:gd name="connsiteX38" fmla="*/ 1314036 w 1629088"/>
                <a:gd name="connsiteY38" fmla="*/ 800352 h 1827528"/>
                <a:gd name="connsiteX39" fmla="*/ 1335193 w 1629088"/>
                <a:gd name="connsiteY39" fmla="*/ 821508 h 1827528"/>
                <a:gd name="connsiteX40" fmla="*/ 1335193 w 1629088"/>
                <a:gd name="connsiteY40" fmla="*/ 983706 h 1827528"/>
                <a:gd name="connsiteX41" fmla="*/ 1314036 w 1629088"/>
                <a:gd name="connsiteY41" fmla="*/ 1004862 h 1827528"/>
                <a:gd name="connsiteX42" fmla="*/ 1221948 w 1629088"/>
                <a:gd name="connsiteY42" fmla="*/ 1004862 h 1827528"/>
                <a:gd name="connsiteX43" fmla="*/ 1200616 w 1629088"/>
                <a:gd name="connsiteY43" fmla="*/ 1055872 h 1827528"/>
                <a:gd name="connsiteX44" fmla="*/ 1265906 w 1629088"/>
                <a:gd name="connsiteY44" fmla="*/ 1121103 h 1827528"/>
                <a:gd name="connsiteX45" fmla="*/ 1272077 w 1629088"/>
                <a:gd name="connsiteY45" fmla="*/ 1136089 h 1827528"/>
                <a:gd name="connsiteX46" fmla="*/ 1265906 w 1629088"/>
                <a:gd name="connsiteY46" fmla="*/ 1151075 h 1827528"/>
                <a:gd name="connsiteX47" fmla="*/ 1151192 w 1629088"/>
                <a:gd name="connsiteY47" fmla="*/ 1265789 h 1827528"/>
                <a:gd name="connsiteX48" fmla="*/ 1136207 w 1629088"/>
                <a:gd name="connsiteY48" fmla="*/ 1271959 h 1827528"/>
                <a:gd name="connsiteX49" fmla="*/ 1136207 w 1629088"/>
                <a:gd name="connsiteY49" fmla="*/ 1271959 h 1827528"/>
                <a:gd name="connsiteX50" fmla="*/ 1121221 w 1629088"/>
                <a:gd name="connsiteY50" fmla="*/ 1265789 h 1827528"/>
                <a:gd name="connsiteX51" fmla="*/ 1056166 w 1629088"/>
                <a:gd name="connsiteY51" fmla="*/ 1200616 h 1827528"/>
                <a:gd name="connsiteX52" fmla="*/ 1004979 w 1629088"/>
                <a:gd name="connsiteY52" fmla="*/ 1221596 h 1827528"/>
                <a:gd name="connsiteX53" fmla="*/ 1004979 w 1629088"/>
                <a:gd name="connsiteY53" fmla="*/ 1314036 h 1827528"/>
                <a:gd name="connsiteX54" fmla="*/ 983764 w 1629088"/>
                <a:gd name="connsiteY54" fmla="*/ 1335193 h 1827528"/>
                <a:gd name="connsiteX55" fmla="*/ 842723 w 1629088"/>
                <a:gd name="connsiteY55" fmla="*/ 1292880 h 1827528"/>
                <a:gd name="connsiteX56" fmla="*/ 962608 w 1629088"/>
                <a:gd name="connsiteY56" fmla="*/ 1292880 h 1827528"/>
                <a:gd name="connsiteX57" fmla="*/ 962608 w 1629088"/>
                <a:gd name="connsiteY57" fmla="*/ 1207550 h 1827528"/>
                <a:gd name="connsiteX58" fmla="*/ 975772 w 1629088"/>
                <a:gd name="connsiteY58" fmla="*/ 1187981 h 1827528"/>
                <a:gd name="connsiteX59" fmla="*/ 1053110 w 1629088"/>
                <a:gd name="connsiteY59" fmla="*/ 1156246 h 1827528"/>
                <a:gd name="connsiteX60" fmla="*/ 1076146 w 1629088"/>
                <a:gd name="connsiteY60" fmla="*/ 1160830 h 1827528"/>
                <a:gd name="connsiteX61" fmla="*/ 1136207 w 1629088"/>
                <a:gd name="connsiteY61" fmla="*/ 1221008 h 1827528"/>
                <a:gd name="connsiteX62" fmla="*/ 1221008 w 1629088"/>
                <a:gd name="connsiteY62" fmla="*/ 1136207 h 1827528"/>
                <a:gd name="connsiteX63" fmla="*/ 1160595 w 1629088"/>
                <a:gd name="connsiteY63" fmla="*/ 1075911 h 1827528"/>
                <a:gd name="connsiteX64" fmla="*/ 1156070 w 1629088"/>
                <a:gd name="connsiteY64" fmla="*/ 1052757 h 1827528"/>
                <a:gd name="connsiteX65" fmla="*/ 1188392 w 1629088"/>
                <a:gd name="connsiteY65" fmla="*/ 975654 h 1827528"/>
                <a:gd name="connsiteX66" fmla="*/ 1207903 w 1629088"/>
                <a:gd name="connsiteY66" fmla="*/ 962608 h 1827528"/>
                <a:gd name="connsiteX67" fmla="*/ 1292880 w 1629088"/>
                <a:gd name="connsiteY67" fmla="*/ 962608 h 1827528"/>
                <a:gd name="connsiteX68" fmla="*/ 1292880 w 1629088"/>
                <a:gd name="connsiteY68" fmla="*/ 842723 h 1827528"/>
                <a:gd name="connsiteX69" fmla="*/ 1207550 w 1629088"/>
                <a:gd name="connsiteY69" fmla="*/ 842723 h 1827528"/>
                <a:gd name="connsiteX70" fmla="*/ 1187981 w 1629088"/>
                <a:gd name="connsiteY70" fmla="*/ 829618 h 1827528"/>
                <a:gd name="connsiteX71" fmla="*/ 1156246 w 1629088"/>
                <a:gd name="connsiteY71" fmla="*/ 752280 h 1827528"/>
                <a:gd name="connsiteX72" fmla="*/ 1160830 w 1629088"/>
                <a:gd name="connsiteY72" fmla="*/ 729302 h 1827528"/>
                <a:gd name="connsiteX73" fmla="*/ 1221008 w 1629088"/>
                <a:gd name="connsiteY73" fmla="*/ 669183 h 1827528"/>
                <a:gd name="connsiteX74" fmla="*/ 1136207 w 1629088"/>
                <a:gd name="connsiteY74" fmla="*/ 584382 h 1827528"/>
                <a:gd name="connsiteX75" fmla="*/ 1075911 w 1629088"/>
                <a:gd name="connsiteY75" fmla="*/ 644736 h 1827528"/>
                <a:gd name="connsiteX76" fmla="*/ 1052757 w 1629088"/>
                <a:gd name="connsiteY76" fmla="*/ 649320 h 1827528"/>
                <a:gd name="connsiteX77" fmla="*/ 975654 w 1629088"/>
                <a:gd name="connsiteY77" fmla="*/ 617057 h 1827528"/>
                <a:gd name="connsiteX78" fmla="*/ 962608 w 1629088"/>
                <a:gd name="connsiteY78" fmla="*/ 597546 h 1827528"/>
                <a:gd name="connsiteX79" fmla="*/ 962608 w 1629088"/>
                <a:gd name="connsiteY79" fmla="*/ 512451 h 1827528"/>
                <a:gd name="connsiteX80" fmla="*/ 842723 w 1629088"/>
                <a:gd name="connsiteY80" fmla="*/ 512451 h 1827528"/>
                <a:gd name="connsiteX81" fmla="*/ 842723 w 1629088"/>
                <a:gd name="connsiteY81" fmla="*/ 597781 h 1827528"/>
                <a:gd name="connsiteX82" fmla="*/ 829618 w 1629088"/>
                <a:gd name="connsiteY82" fmla="*/ 617350 h 1827528"/>
                <a:gd name="connsiteX83" fmla="*/ 752280 w 1629088"/>
                <a:gd name="connsiteY83" fmla="*/ 649085 h 1827528"/>
                <a:gd name="connsiteX84" fmla="*/ 729302 w 1629088"/>
                <a:gd name="connsiteY84" fmla="*/ 644442 h 1827528"/>
                <a:gd name="connsiteX85" fmla="*/ 669183 w 1629088"/>
                <a:gd name="connsiteY85" fmla="*/ 584323 h 1827528"/>
                <a:gd name="connsiteX86" fmla="*/ 584441 w 1629088"/>
                <a:gd name="connsiteY86" fmla="*/ 669124 h 1827528"/>
                <a:gd name="connsiteX87" fmla="*/ 644795 w 1629088"/>
                <a:gd name="connsiteY87" fmla="*/ 729537 h 1827528"/>
                <a:gd name="connsiteX88" fmla="*/ 649320 w 1629088"/>
                <a:gd name="connsiteY88" fmla="*/ 752691 h 1827528"/>
                <a:gd name="connsiteX89" fmla="*/ 617057 w 1629088"/>
                <a:gd name="connsiteY89" fmla="*/ 829794 h 1827528"/>
                <a:gd name="connsiteX90" fmla="*/ 597546 w 1629088"/>
                <a:gd name="connsiteY90" fmla="*/ 842782 h 1827528"/>
                <a:gd name="connsiteX91" fmla="*/ 512451 w 1629088"/>
                <a:gd name="connsiteY91" fmla="*/ 842782 h 1827528"/>
                <a:gd name="connsiteX92" fmla="*/ 512451 w 1629088"/>
                <a:gd name="connsiteY92" fmla="*/ 962667 h 1827528"/>
                <a:gd name="connsiteX93" fmla="*/ 597781 w 1629088"/>
                <a:gd name="connsiteY93" fmla="*/ 962667 h 1827528"/>
                <a:gd name="connsiteX94" fmla="*/ 617350 w 1629088"/>
                <a:gd name="connsiteY94" fmla="*/ 975831 h 1827528"/>
                <a:gd name="connsiteX95" fmla="*/ 649085 w 1629088"/>
                <a:gd name="connsiteY95" fmla="*/ 1053169 h 1827528"/>
                <a:gd name="connsiteX96" fmla="*/ 644442 w 1629088"/>
                <a:gd name="connsiteY96" fmla="*/ 1076205 h 1827528"/>
                <a:gd name="connsiteX97" fmla="*/ 584382 w 1629088"/>
                <a:gd name="connsiteY97" fmla="*/ 1136265 h 1827528"/>
                <a:gd name="connsiteX98" fmla="*/ 669124 w 1629088"/>
                <a:gd name="connsiteY98" fmla="*/ 1221067 h 1827528"/>
                <a:gd name="connsiteX99" fmla="*/ 729537 w 1629088"/>
                <a:gd name="connsiteY99" fmla="*/ 1160654 h 1827528"/>
                <a:gd name="connsiteX100" fmla="*/ 752691 w 1629088"/>
                <a:gd name="connsiteY100" fmla="*/ 1156129 h 1827528"/>
                <a:gd name="connsiteX101" fmla="*/ 829794 w 1629088"/>
                <a:gd name="connsiteY101" fmla="*/ 1188451 h 1827528"/>
                <a:gd name="connsiteX102" fmla="*/ 842782 w 1629088"/>
                <a:gd name="connsiteY102" fmla="*/ 1207962 h 1827528"/>
                <a:gd name="connsiteX103" fmla="*/ 842723 w 1629088"/>
                <a:gd name="connsiteY103" fmla="*/ 1292880 h 1827528"/>
                <a:gd name="connsiteX104" fmla="*/ 842723 w 1629088"/>
                <a:gd name="connsiteY104" fmla="*/ 1292880 h 1827528"/>
                <a:gd name="connsiteX105" fmla="*/ 902665 w 1629088"/>
                <a:gd name="connsiteY105" fmla="*/ 1100124 h 1827528"/>
                <a:gd name="connsiteX106" fmla="*/ 705207 w 1629088"/>
                <a:gd name="connsiteY106" fmla="*/ 902665 h 1827528"/>
                <a:gd name="connsiteX107" fmla="*/ 902665 w 1629088"/>
                <a:gd name="connsiteY107" fmla="*/ 705207 h 1827528"/>
                <a:gd name="connsiteX108" fmla="*/ 1100124 w 1629088"/>
                <a:gd name="connsiteY108" fmla="*/ 902665 h 1827528"/>
                <a:gd name="connsiteX109" fmla="*/ 902665 w 1629088"/>
                <a:gd name="connsiteY109" fmla="*/ 1100124 h 1827528"/>
                <a:gd name="connsiteX110" fmla="*/ 902665 w 1629088"/>
                <a:gd name="connsiteY110" fmla="*/ 747520 h 1827528"/>
                <a:gd name="connsiteX111" fmla="*/ 747520 w 1629088"/>
                <a:gd name="connsiteY111" fmla="*/ 902665 h 1827528"/>
                <a:gd name="connsiteX112" fmla="*/ 902665 w 1629088"/>
                <a:gd name="connsiteY112" fmla="*/ 1057811 h 1827528"/>
                <a:gd name="connsiteX113" fmla="*/ 1057811 w 1629088"/>
                <a:gd name="connsiteY113" fmla="*/ 902665 h 1827528"/>
                <a:gd name="connsiteX114" fmla="*/ 902665 w 1629088"/>
                <a:gd name="connsiteY114" fmla="*/ 747520 h 1827528"/>
                <a:gd name="connsiteX115" fmla="*/ 902665 w 1629088"/>
                <a:gd name="connsiteY115" fmla="*/ 1805331 h 1827528"/>
                <a:gd name="connsiteX116" fmla="*/ 218614 w 1629088"/>
                <a:gd name="connsiteY116" fmla="*/ 1491631 h 1827528"/>
                <a:gd name="connsiteX117" fmla="*/ 218614 w 1629088"/>
                <a:gd name="connsiteY117" fmla="*/ 1725407 h 1827528"/>
                <a:gd name="connsiteX118" fmla="*/ 176302 w 1629088"/>
                <a:gd name="connsiteY118" fmla="*/ 1725407 h 1827528"/>
                <a:gd name="connsiteX119" fmla="*/ 176302 w 1629088"/>
                <a:gd name="connsiteY119" fmla="*/ 1410415 h 1827528"/>
                <a:gd name="connsiteX120" fmla="*/ 491294 w 1629088"/>
                <a:gd name="connsiteY120" fmla="*/ 1410415 h 1827528"/>
                <a:gd name="connsiteX121" fmla="*/ 491294 w 1629088"/>
                <a:gd name="connsiteY121" fmla="*/ 1452786 h 1827528"/>
                <a:gd name="connsiteX122" fmla="*/ 241122 w 1629088"/>
                <a:gd name="connsiteY122" fmla="*/ 1452786 h 1827528"/>
                <a:gd name="connsiteX123" fmla="*/ 902665 w 1629088"/>
                <a:gd name="connsiteY123" fmla="*/ 1763018 h 1827528"/>
                <a:gd name="connsiteX124" fmla="*/ 902665 w 1629088"/>
                <a:gd name="connsiteY124" fmla="*/ 1805331 h 1827528"/>
                <a:gd name="connsiteX125" fmla="*/ 42312 w 1629088"/>
                <a:gd name="connsiteY125" fmla="*/ 902665 h 1827528"/>
                <a:gd name="connsiteX126" fmla="*/ 0 w 1629088"/>
                <a:gd name="connsiteY126" fmla="*/ 902665 h 1827528"/>
                <a:gd name="connsiteX127" fmla="*/ 902665 w 1629088"/>
                <a:gd name="connsiteY127" fmla="*/ 0 h 1827528"/>
                <a:gd name="connsiteX128" fmla="*/ 1586717 w 1629088"/>
                <a:gd name="connsiteY128" fmla="*/ 313641 h 1827528"/>
                <a:gd name="connsiteX129" fmla="*/ 1586717 w 1629088"/>
                <a:gd name="connsiteY129" fmla="*/ 79924 h 1827528"/>
                <a:gd name="connsiteX130" fmla="*/ 1629088 w 1629088"/>
                <a:gd name="connsiteY130" fmla="*/ 79924 h 1827528"/>
                <a:gd name="connsiteX131" fmla="*/ 1629088 w 1629088"/>
                <a:gd name="connsiteY131" fmla="*/ 394916 h 1827528"/>
                <a:gd name="connsiteX132" fmla="*/ 1314036 w 1629088"/>
                <a:gd name="connsiteY132" fmla="*/ 394916 h 1827528"/>
                <a:gd name="connsiteX133" fmla="*/ 1314036 w 1629088"/>
                <a:gd name="connsiteY133" fmla="*/ 352604 h 1827528"/>
                <a:gd name="connsiteX134" fmla="*/ 1564209 w 1629088"/>
                <a:gd name="connsiteY134" fmla="*/ 352604 h 1827528"/>
                <a:gd name="connsiteX135" fmla="*/ 902665 w 1629088"/>
                <a:gd name="connsiteY135" fmla="*/ 42312 h 1827528"/>
                <a:gd name="connsiteX136" fmla="*/ 42312 w 1629088"/>
                <a:gd name="connsiteY136" fmla="*/ 902665 h 1827528"/>
                <a:gd name="connsiteX0" fmla="*/ 983764 w 1629088"/>
                <a:gd name="connsiteY0" fmla="*/ 1335193 h 1763131"/>
                <a:gd name="connsiteX1" fmla="*/ 821567 w 1629088"/>
                <a:gd name="connsiteY1" fmla="*/ 1335193 h 1763131"/>
                <a:gd name="connsiteX2" fmla="*/ 800410 w 1629088"/>
                <a:gd name="connsiteY2" fmla="*/ 1314036 h 1763131"/>
                <a:gd name="connsiteX3" fmla="*/ 800410 w 1629088"/>
                <a:gd name="connsiteY3" fmla="*/ 1221948 h 1763131"/>
                <a:gd name="connsiteX4" fmla="*/ 749342 w 1629088"/>
                <a:gd name="connsiteY4" fmla="*/ 1200616 h 1763131"/>
                <a:gd name="connsiteX5" fmla="*/ 684051 w 1629088"/>
                <a:gd name="connsiteY5" fmla="*/ 1265906 h 1763131"/>
                <a:gd name="connsiteX6" fmla="*/ 669124 w 1629088"/>
                <a:gd name="connsiteY6" fmla="*/ 1272077 h 1763131"/>
                <a:gd name="connsiteX7" fmla="*/ 669124 w 1629088"/>
                <a:gd name="connsiteY7" fmla="*/ 1272077 h 1763131"/>
                <a:gd name="connsiteX8" fmla="*/ 654197 w 1629088"/>
                <a:gd name="connsiteY8" fmla="*/ 1265906 h 1763131"/>
                <a:gd name="connsiteX9" fmla="*/ 539484 w 1629088"/>
                <a:gd name="connsiteY9" fmla="*/ 1151192 h 1763131"/>
                <a:gd name="connsiteX10" fmla="*/ 539484 w 1629088"/>
                <a:gd name="connsiteY10" fmla="*/ 1121221 h 1763131"/>
                <a:gd name="connsiteX11" fmla="*/ 604598 w 1629088"/>
                <a:gd name="connsiteY11" fmla="*/ 1056166 h 1763131"/>
                <a:gd name="connsiteX12" fmla="*/ 583618 w 1629088"/>
                <a:gd name="connsiteY12" fmla="*/ 1004979 h 1763131"/>
                <a:gd name="connsiteX13" fmla="*/ 491294 w 1629088"/>
                <a:gd name="connsiteY13" fmla="*/ 1004979 h 1763131"/>
                <a:gd name="connsiteX14" fmla="*/ 470138 w 1629088"/>
                <a:gd name="connsiteY14" fmla="*/ 983823 h 1763131"/>
                <a:gd name="connsiteX15" fmla="*/ 470138 w 1629088"/>
                <a:gd name="connsiteY15" fmla="*/ 821625 h 1763131"/>
                <a:gd name="connsiteX16" fmla="*/ 491294 w 1629088"/>
                <a:gd name="connsiteY16" fmla="*/ 800469 h 1763131"/>
                <a:gd name="connsiteX17" fmla="*/ 583383 w 1629088"/>
                <a:gd name="connsiteY17" fmla="*/ 800469 h 1763131"/>
                <a:gd name="connsiteX18" fmla="*/ 604715 w 1629088"/>
                <a:gd name="connsiteY18" fmla="*/ 749400 h 1763131"/>
                <a:gd name="connsiteX19" fmla="*/ 539484 w 1629088"/>
                <a:gd name="connsiteY19" fmla="*/ 684051 h 1763131"/>
                <a:gd name="connsiteX20" fmla="*/ 539484 w 1629088"/>
                <a:gd name="connsiteY20" fmla="*/ 654139 h 1763131"/>
                <a:gd name="connsiteX21" fmla="*/ 654139 w 1629088"/>
                <a:gd name="connsiteY21" fmla="*/ 539425 h 1763131"/>
                <a:gd name="connsiteX22" fmla="*/ 684051 w 1629088"/>
                <a:gd name="connsiteY22" fmla="*/ 539425 h 1763131"/>
                <a:gd name="connsiteX23" fmla="*/ 749165 w 1629088"/>
                <a:gd name="connsiteY23" fmla="*/ 604598 h 1763131"/>
                <a:gd name="connsiteX24" fmla="*/ 800410 w 1629088"/>
                <a:gd name="connsiteY24" fmla="*/ 583618 h 1763131"/>
                <a:gd name="connsiteX25" fmla="*/ 800410 w 1629088"/>
                <a:gd name="connsiteY25" fmla="*/ 491294 h 1763131"/>
                <a:gd name="connsiteX26" fmla="*/ 821567 w 1629088"/>
                <a:gd name="connsiteY26" fmla="*/ 470138 h 1763131"/>
                <a:gd name="connsiteX27" fmla="*/ 983764 w 1629088"/>
                <a:gd name="connsiteY27" fmla="*/ 470138 h 1763131"/>
                <a:gd name="connsiteX28" fmla="*/ 1004921 w 1629088"/>
                <a:gd name="connsiteY28" fmla="*/ 491294 h 1763131"/>
                <a:gd name="connsiteX29" fmla="*/ 1004921 w 1629088"/>
                <a:gd name="connsiteY29" fmla="*/ 583383 h 1763131"/>
                <a:gd name="connsiteX30" fmla="*/ 1055931 w 1629088"/>
                <a:gd name="connsiteY30" fmla="*/ 604715 h 1763131"/>
                <a:gd name="connsiteX31" fmla="*/ 1121162 w 1629088"/>
                <a:gd name="connsiteY31" fmla="*/ 539425 h 1763131"/>
                <a:gd name="connsiteX32" fmla="*/ 1151134 w 1629088"/>
                <a:gd name="connsiteY32" fmla="*/ 539425 h 1763131"/>
                <a:gd name="connsiteX33" fmla="*/ 1265847 w 1629088"/>
                <a:gd name="connsiteY33" fmla="*/ 654139 h 1763131"/>
                <a:gd name="connsiteX34" fmla="*/ 1272018 w 1629088"/>
                <a:gd name="connsiteY34" fmla="*/ 669066 h 1763131"/>
                <a:gd name="connsiteX35" fmla="*/ 1265847 w 1629088"/>
                <a:gd name="connsiteY35" fmla="*/ 683992 h 1763131"/>
                <a:gd name="connsiteX36" fmla="*/ 1200674 w 1629088"/>
                <a:gd name="connsiteY36" fmla="*/ 749107 h 1763131"/>
                <a:gd name="connsiteX37" fmla="*/ 1221654 w 1629088"/>
                <a:gd name="connsiteY37" fmla="*/ 800352 h 1763131"/>
                <a:gd name="connsiteX38" fmla="*/ 1314036 w 1629088"/>
                <a:gd name="connsiteY38" fmla="*/ 800352 h 1763131"/>
                <a:gd name="connsiteX39" fmla="*/ 1335193 w 1629088"/>
                <a:gd name="connsiteY39" fmla="*/ 821508 h 1763131"/>
                <a:gd name="connsiteX40" fmla="*/ 1335193 w 1629088"/>
                <a:gd name="connsiteY40" fmla="*/ 983706 h 1763131"/>
                <a:gd name="connsiteX41" fmla="*/ 1314036 w 1629088"/>
                <a:gd name="connsiteY41" fmla="*/ 1004862 h 1763131"/>
                <a:gd name="connsiteX42" fmla="*/ 1221948 w 1629088"/>
                <a:gd name="connsiteY42" fmla="*/ 1004862 h 1763131"/>
                <a:gd name="connsiteX43" fmla="*/ 1200616 w 1629088"/>
                <a:gd name="connsiteY43" fmla="*/ 1055872 h 1763131"/>
                <a:gd name="connsiteX44" fmla="*/ 1265906 w 1629088"/>
                <a:gd name="connsiteY44" fmla="*/ 1121103 h 1763131"/>
                <a:gd name="connsiteX45" fmla="*/ 1272077 w 1629088"/>
                <a:gd name="connsiteY45" fmla="*/ 1136089 h 1763131"/>
                <a:gd name="connsiteX46" fmla="*/ 1265906 w 1629088"/>
                <a:gd name="connsiteY46" fmla="*/ 1151075 h 1763131"/>
                <a:gd name="connsiteX47" fmla="*/ 1151192 w 1629088"/>
                <a:gd name="connsiteY47" fmla="*/ 1265789 h 1763131"/>
                <a:gd name="connsiteX48" fmla="*/ 1136207 w 1629088"/>
                <a:gd name="connsiteY48" fmla="*/ 1271959 h 1763131"/>
                <a:gd name="connsiteX49" fmla="*/ 1136207 w 1629088"/>
                <a:gd name="connsiteY49" fmla="*/ 1271959 h 1763131"/>
                <a:gd name="connsiteX50" fmla="*/ 1121221 w 1629088"/>
                <a:gd name="connsiteY50" fmla="*/ 1265789 h 1763131"/>
                <a:gd name="connsiteX51" fmla="*/ 1056166 w 1629088"/>
                <a:gd name="connsiteY51" fmla="*/ 1200616 h 1763131"/>
                <a:gd name="connsiteX52" fmla="*/ 1004979 w 1629088"/>
                <a:gd name="connsiteY52" fmla="*/ 1221596 h 1763131"/>
                <a:gd name="connsiteX53" fmla="*/ 1004979 w 1629088"/>
                <a:gd name="connsiteY53" fmla="*/ 1314036 h 1763131"/>
                <a:gd name="connsiteX54" fmla="*/ 983764 w 1629088"/>
                <a:gd name="connsiteY54" fmla="*/ 1335193 h 1763131"/>
                <a:gd name="connsiteX55" fmla="*/ 842723 w 1629088"/>
                <a:gd name="connsiteY55" fmla="*/ 1292880 h 1763131"/>
                <a:gd name="connsiteX56" fmla="*/ 962608 w 1629088"/>
                <a:gd name="connsiteY56" fmla="*/ 1292880 h 1763131"/>
                <a:gd name="connsiteX57" fmla="*/ 962608 w 1629088"/>
                <a:gd name="connsiteY57" fmla="*/ 1207550 h 1763131"/>
                <a:gd name="connsiteX58" fmla="*/ 975772 w 1629088"/>
                <a:gd name="connsiteY58" fmla="*/ 1187981 h 1763131"/>
                <a:gd name="connsiteX59" fmla="*/ 1053110 w 1629088"/>
                <a:gd name="connsiteY59" fmla="*/ 1156246 h 1763131"/>
                <a:gd name="connsiteX60" fmla="*/ 1076146 w 1629088"/>
                <a:gd name="connsiteY60" fmla="*/ 1160830 h 1763131"/>
                <a:gd name="connsiteX61" fmla="*/ 1136207 w 1629088"/>
                <a:gd name="connsiteY61" fmla="*/ 1221008 h 1763131"/>
                <a:gd name="connsiteX62" fmla="*/ 1221008 w 1629088"/>
                <a:gd name="connsiteY62" fmla="*/ 1136207 h 1763131"/>
                <a:gd name="connsiteX63" fmla="*/ 1160595 w 1629088"/>
                <a:gd name="connsiteY63" fmla="*/ 1075911 h 1763131"/>
                <a:gd name="connsiteX64" fmla="*/ 1156070 w 1629088"/>
                <a:gd name="connsiteY64" fmla="*/ 1052757 h 1763131"/>
                <a:gd name="connsiteX65" fmla="*/ 1188392 w 1629088"/>
                <a:gd name="connsiteY65" fmla="*/ 975654 h 1763131"/>
                <a:gd name="connsiteX66" fmla="*/ 1207903 w 1629088"/>
                <a:gd name="connsiteY66" fmla="*/ 962608 h 1763131"/>
                <a:gd name="connsiteX67" fmla="*/ 1292880 w 1629088"/>
                <a:gd name="connsiteY67" fmla="*/ 962608 h 1763131"/>
                <a:gd name="connsiteX68" fmla="*/ 1292880 w 1629088"/>
                <a:gd name="connsiteY68" fmla="*/ 842723 h 1763131"/>
                <a:gd name="connsiteX69" fmla="*/ 1207550 w 1629088"/>
                <a:gd name="connsiteY69" fmla="*/ 842723 h 1763131"/>
                <a:gd name="connsiteX70" fmla="*/ 1187981 w 1629088"/>
                <a:gd name="connsiteY70" fmla="*/ 829618 h 1763131"/>
                <a:gd name="connsiteX71" fmla="*/ 1156246 w 1629088"/>
                <a:gd name="connsiteY71" fmla="*/ 752280 h 1763131"/>
                <a:gd name="connsiteX72" fmla="*/ 1160830 w 1629088"/>
                <a:gd name="connsiteY72" fmla="*/ 729302 h 1763131"/>
                <a:gd name="connsiteX73" fmla="*/ 1221008 w 1629088"/>
                <a:gd name="connsiteY73" fmla="*/ 669183 h 1763131"/>
                <a:gd name="connsiteX74" fmla="*/ 1136207 w 1629088"/>
                <a:gd name="connsiteY74" fmla="*/ 584382 h 1763131"/>
                <a:gd name="connsiteX75" fmla="*/ 1075911 w 1629088"/>
                <a:gd name="connsiteY75" fmla="*/ 644736 h 1763131"/>
                <a:gd name="connsiteX76" fmla="*/ 1052757 w 1629088"/>
                <a:gd name="connsiteY76" fmla="*/ 649320 h 1763131"/>
                <a:gd name="connsiteX77" fmla="*/ 975654 w 1629088"/>
                <a:gd name="connsiteY77" fmla="*/ 617057 h 1763131"/>
                <a:gd name="connsiteX78" fmla="*/ 962608 w 1629088"/>
                <a:gd name="connsiteY78" fmla="*/ 597546 h 1763131"/>
                <a:gd name="connsiteX79" fmla="*/ 962608 w 1629088"/>
                <a:gd name="connsiteY79" fmla="*/ 512451 h 1763131"/>
                <a:gd name="connsiteX80" fmla="*/ 842723 w 1629088"/>
                <a:gd name="connsiteY80" fmla="*/ 512451 h 1763131"/>
                <a:gd name="connsiteX81" fmla="*/ 842723 w 1629088"/>
                <a:gd name="connsiteY81" fmla="*/ 597781 h 1763131"/>
                <a:gd name="connsiteX82" fmla="*/ 829618 w 1629088"/>
                <a:gd name="connsiteY82" fmla="*/ 617350 h 1763131"/>
                <a:gd name="connsiteX83" fmla="*/ 752280 w 1629088"/>
                <a:gd name="connsiteY83" fmla="*/ 649085 h 1763131"/>
                <a:gd name="connsiteX84" fmla="*/ 729302 w 1629088"/>
                <a:gd name="connsiteY84" fmla="*/ 644442 h 1763131"/>
                <a:gd name="connsiteX85" fmla="*/ 669183 w 1629088"/>
                <a:gd name="connsiteY85" fmla="*/ 584323 h 1763131"/>
                <a:gd name="connsiteX86" fmla="*/ 584441 w 1629088"/>
                <a:gd name="connsiteY86" fmla="*/ 669124 h 1763131"/>
                <a:gd name="connsiteX87" fmla="*/ 644795 w 1629088"/>
                <a:gd name="connsiteY87" fmla="*/ 729537 h 1763131"/>
                <a:gd name="connsiteX88" fmla="*/ 649320 w 1629088"/>
                <a:gd name="connsiteY88" fmla="*/ 752691 h 1763131"/>
                <a:gd name="connsiteX89" fmla="*/ 617057 w 1629088"/>
                <a:gd name="connsiteY89" fmla="*/ 829794 h 1763131"/>
                <a:gd name="connsiteX90" fmla="*/ 597546 w 1629088"/>
                <a:gd name="connsiteY90" fmla="*/ 842782 h 1763131"/>
                <a:gd name="connsiteX91" fmla="*/ 512451 w 1629088"/>
                <a:gd name="connsiteY91" fmla="*/ 842782 h 1763131"/>
                <a:gd name="connsiteX92" fmla="*/ 512451 w 1629088"/>
                <a:gd name="connsiteY92" fmla="*/ 962667 h 1763131"/>
                <a:gd name="connsiteX93" fmla="*/ 597781 w 1629088"/>
                <a:gd name="connsiteY93" fmla="*/ 962667 h 1763131"/>
                <a:gd name="connsiteX94" fmla="*/ 617350 w 1629088"/>
                <a:gd name="connsiteY94" fmla="*/ 975831 h 1763131"/>
                <a:gd name="connsiteX95" fmla="*/ 649085 w 1629088"/>
                <a:gd name="connsiteY95" fmla="*/ 1053169 h 1763131"/>
                <a:gd name="connsiteX96" fmla="*/ 644442 w 1629088"/>
                <a:gd name="connsiteY96" fmla="*/ 1076205 h 1763131"/>
                <a:gd name="connsiteX97" fmla="*/ 584382 w 1629088"/>
                <a:gd name="connsiteY97" fmla="*/ 1136265 h 1763131"/>
                <a:gd name="connsiteX98" fmla="*/ 669124 w 1629088"/>
                <a:gd name="connsiteY98" fmla="*/ 1221067 h 1763131"/>
                <a:gd name="connsiteX99" fmla="*/ 729537 w 1629088"/>
                <a:gd name="connsiteY99" fmla="*/ 1160654 h 1763131"/>
                <a:gd name="connsiteX100" fmla="*/ 752691 w 1629088"/>
                <a:gd name="connsiteY100" fmla="*/ 1156129 h 1763131"/>
                <a:gd name="connsiteX101" fmla="*/ 829794 w 1629088"/>
                <a:gd name="connsiteY101" fmla="*/ 1188451 h 1763131"/>
                <a:gd name="connsiteX102" fmla="*/ 842782 w 1629088"/>
                <a:gd name="connsiteY102" fmla="*/ 1207962 h 1763131"/>
                <a:gd name="connsiteX103" fmla="*/ 842723 w 1629088"/>
                <a:gd name="connsiteY103" fmla="*/ 1292880 h 1763131"/>
                <a:gd name="connsiteX104" fmla="*/ 842723 w 1629088"/>
                <a:gd name="connsiteY104" fmla="*/ 1292880 h 1763131"/>
                <a:gd name="connsiteX105" fmla="*/ 902665 w 1629088"/>
                <a:gd name="connsiteY105" fmla="*/ 1100124 h 1763131"/>
                <a:gd name="connsiteX106" fmla="*/ 705207 w 1629088"/>
                <a:gd name="connsiteY106" fmla="*/ 902665 h 1763131"/>
                <a:gd name="connsiteX107" fmla="*/ 902665 w 1629088"/>
                <a:gd name="connsiteY107" fmla="*/ 705207 h 1763131"/>
                <a:gd name="connsiteX108" fmla="*/ 1100124 w 1629088"/>
                <a:gd name="connsiteY108" fmla="*/ 902665 h 1763131"/>
                <a:gd name="connsiteX109" fmla="*/ 902665 w 1629088"/>
                <a:gd name="connsiteY109" fmla="*/ 1100124 h 1763131"/>
                <a:gd name="connsiteX110" fmla="*/ 902665 w 1629088"/>
                <a:gd name="connsiteY110" fmla="*/ 747520 h 1763131"/>
                <a:gd name="connsiteX111" fmla="*/ 747520 w 1629088"/>
                <a:gd name="connsiteY111" fmla="*/ 902665 h 1763131"/>
                <a:gd name="connsiteX112" fmla="*/ 902665 w 1629088"/>
                <a:gd name="connsiteY112" fmla="*/ 1057811 h 1763131"/>
                <a:gd name="connsiteX113" fmla="*/ 1057811 w 1629088"/>
                <a:gd name="connsiteY113" fmla="*/ 902665 h 1763131"/>
                <a:gd name="connsiteX114" fmla="*/ 902665 w 1629088"/>
                <a:gd name="connsiteY114" fmla="*/ 747520 h 1763131"/>
                <a:gd name="connsiteX115" fmla="*/ 902665 w 1629088"/>
                <a:gd name="connsiteY115" fmla="*/ 1763018 h 1763131"/>
                <a:gd name="connsiteX116" fmla="*/ 218614 w 1629088"/>
                <a:gd name="connsiteY116" fmla="*/ 1491631 h 1763131"/>
                <a:gd name="connsiteX117" fmla="*/ 218614 w 1629088"/>
                <a:gd name="connsiteY117" fmla="*/ 1725407 h 1763131"/>
                <a:gd name="connsiteX118" fmla="*/ 176302 w 1629088"/>
                <a:gd name="connsiteY118" fmla="*/ 1725407 h 1763131"/>
                <a:gd name="connsiteX119" fmla="*/ 176302 w 1629088"/>
                <a:gd name="connsiteY119" fmla="*/ 1410415 h 1763131"/>
                <a:gd name="connsiteX120" fmla="*/ 491294 w 1629088"/>
                <a:gd name="connsiteY120" fmla="*/ 1410415 h 1763131"/>
                <a:gd name="connsiteX121" fmla="*/ 491294 w 1629088"/>
                <a:gd name="connsiteY121" fmla="*/ 1452786 h 1763131"/>
                <a:gd name="connsiteX122" fmla="*/ 241122 w 1629088"/>
                <a:gd name="connsiteY122" fmla="*/ 1452786 h 1763131"/>
                <a:gd name="connsiteX123" fmla="*/ 902665 w 1629088"/>
                <a:gd name="connsiteY123" fmla="*/ 1763018 h 1763131"/>
                <a:gd name="connsiteX124" fmla="*/ 42312 w 1629088"/>
                <a:gd name="connsiteY124" fmla="*/ 902665 h 1763131"/>
                <a:gd name="connsiteX125" fmla="*/ 0 w 1629088"/>
                <a:gd name="connsiteY125" fmla="*/ 902665 h 1763131"/>
                <a:gd name="connsiteX126" fmla="*/ 902665 w 1629088"/>
                <a:gd name="connsiteY126" fmla="*/ 0 h 1763131"/>
                <a:gd name="connsiteX127" fmla="*/ 1586717 w 1629088"/>
                <a:gd name="connsiteY127" fmla="*/ 313641 h 1763131"/>
                <a:gd name="connsiteX128" fmla="*/ 1586717 w 1629088"/>
                <a:gd name="connsiteY128" fmla="*/ 79924 h 1763131"/>
                <a:gd name="connsiteX129" fmla="*/ 1629088 w 1629088"/>
                <a:gd name="connsiteY129" fmla="*/ 79924 h 1763131"/>
                <a:gd name="connsiteX130" fmla="*/ 1629088 w 1629088"/>
                <a:gd name="connsiteY130" fmla="*/ 394916 h 1763131"/>
                <a:gd name="connsiteX131" fmla="*/ 1314036 w 1629088"/>
                <a:gd name="connsiteY131" fmla="*/ 394916 h 1763131"/>
                <a:gd name="connsiteX132" fmla="*/ 1314036 w 1629088"/>
                <a:gd name="connsiteY132" fmla="*/ 352604 h 1763131"/>
                <a:gd name="connsiteX133" fmla="*/ 1564209 w 1629088"/>
                <a:gd name="connsiteY133" fmla="*/ 352604 h 1763131"/>
                <a:gd name="connsiteX134" fmla="*/ 902665 w 1629088"/>
                <a:gd name="connsiteY134" fmla="*/ 42312 h 1763131"/>
                <a:gd name="connsiteX135" fmla="*/ 42312 w 1629088"/>
                <a:gd name="connsiteY135" fmla="*/ 902665 h 1763131"/>
                <a:gd name="connsiteX0" fmla="*/ 983764 w 1629088"/>
                <a:gd name="connsiteY0" fmla="*/ 1335193 h 1725407"/>
                <a:gd name="connsiteX1" fmla="*/ 821567 w 1629088"/>
                <a:gd name="connsiteY1" fmla="*/ 1335193 h 1725407"/>
                <a:gd name="connsiteX2" fmla="*/ 800410 w 1629088"/>
                <a:gd name="connsiteY2" fmla="*/ 1314036 h 1725407"/>
                <a:gd name="connsiteX3" fmla="*/ 800410 w 1629088"/>
                <a:gd name="connsiteY3" fmla="*/ 1221948 h 1725407"/>
                <a:gd name="connsiteX4" fmla="*/ 749342 w 1629088"/>
                <a:gd name="connsiteY4" fmla="*/ 1200616 h 1725407"/>
                <a:gd name="connsiteX5" fmla="*/ 684051 w 1629088"/>
                <a:gd name="connsiteY5" fmla="*/ 1265906 h 1725407"/>
                <a:gd name="connsiteX6" fmla="*/ 669124 w 1629088"/>
                <a:gd name="connsiteY6" fmla="*/ 1272077 h 1725407"/>
                <a:gd name="connsiteX7" fmla="*/ 669124 w 1629088"/>
                <a:gd name="connsiteY7" fmla="*/ 1272077 h 1725407"/>
                <a:gd name="connsiteX8" fmla="*/ 654197 w 1629088"/>
                <a:gd name="connsiteY8" fmla="*/ 1265906 h 1725407"/>
                <a:gd name="connsiteX9" fmla="*/ 539484 w 1629088"/>
                <a:gd name="connsiteY9" fmla="*/ 1151192 h 1725407"/>
                <a:gd name="connsiteX10" fmla="*/ 539484 w 1629088"/>
                <a:gd name="connsiteY10" fmla="*/ 1121221 h 1725407"/>
                <a:gd name="connsiteX11" fmla="*/ 604598 w 1629088"/>
                <a:gd name="connsiteY11" fmla="*/ 1056166 h 1725407"/>
                <a:gd name="connsiteX12" fmla="*/ 583618 w 1629088"/>
                <a:gd name="connsiteY12" fmla="*/ 1004979 h 1725407"/>
                <a:gd name="connsiteX13" fmla="*/ 491294 w 1629088"/>
                <a:gd name="connsiteY13" fmla="*/ 1004979 h 1725407"/>
                <a:gd name="connsiteX14" fmla="*/ 470138 w 1629088"/>
                <a:gd name="connsiteY14" fmla="*/ 983823 h 1725407"/>
                <a:gd name="connsiteX15" fmla="*/ 470138 w 1629088"/>
                <a:gd name="connsiteY15" fmla="*/ 821625 h 1725407"/>
                <a:gd name="connsiteX16" fmla="*/ 491294 w 1629088"/>
                <a:gd name="connsiteY16" fmla="*/ 800469 h 1725407"/>
                <a:gd name="connsiteX17" fmla="*/ 583383 w 1629088"/>
                <a:gd name="connsiteY17" fmla="*/ 800469 h 1725407"/>
                <a:gd name="connsiteX18" fmla="*/ 604715 w 1629088"/>
                <a:gd name="connsiteY18" fmla="*/ 749400 h 1725407"/>
                <a:gd name="connsiteX19" fmla="*/ 539484 w 1629088"/>
                <a:gd name="connsiteY19" fmla="*/ 684051 h 1725407"/>
                <a:gd name="connsiteX20" fmla="*/ 539484 w 1629088"/>
                <a:gd name="connsiteY20" fmla="*/ 654139 h 1725407"/>
                <a:gd name="connsiteX21" fmla="*/ 654139 w 1629088"/>
                <a:gd name="connsiteY21" fmla="*/ 539425 h 1725407"/>
                <a:gd name="connsiteX22" fmla="*/ 684051 w 1629088"/>
                <a:gd name="connsiteY22" fmla="*/ 539425 h 1725407"/>
                <a:gd name="connsiteX23" fmla="*/ 749165 w 1629088"/>
                <a:gd name="connsiteY23" fmla="*/ 604598 h 1725407"/>
                <a:gd name="connsiteX24" fmla="*/ 800410 w 1629088"/>
                <a:gd name="connsiteY24" fmla="*/ 583618 h 1725407"/>
                <a:gd name="connsiteX25" fmla="*/ 800410 w 1629088"/>
                <a:gd name="connsiteY25" fmla="*/ 491294 h 1725407"/>
                <a:gd name="connsiteX26" fmla="*/ 821567 w 1629088"/>
                <a:gd name="connsiteY26" fmla="*/ 470138 h 1725407"/>
                <a:gd name="connsiteX27" fmla="*/ 983764 w 1629088"/>
                <a:gd name="connsiteY27" fmla="*/ 470138 h 1725407"/>
                <a:gd name="connsiteX28" fmla="*/ 1004921 w 1629088"/>
                <a:gd name="connsiteY28" fmla="*/ 491294 h 1725407"/>
                <a:gd name="connsiteX29" fmla="*/ 1004921 w 1629088"/>
                <a:gd name="connsiteY29" fmla="*/ 583383 h 1725407"/>
                <a:gd name="connsiteX30" fmla="*/ 1055931 w 1629088"/>
                <a:gd name="connsiteY30" fmla="*/ 604715 h 1725407"/>
                <a:gd name="connsiteX31" fmla="*/ 1121162 w 1629088"/>
                <a:gd name="connsiteY31" fmla="*/ 539425 h 1725407"/>
                <a:gd name="connsiteX32" fmla="*/ 1151134 w 1629088"/>
                <a:gd name="connsiteY32" fmla="*/ 539425 h 1725407"/>
                <a:gd name="connsiteX33" fmla="*/ 1265847 w 1629088"/>
                <a:gd name="connsiteY33" fmla="*/ 654139 h 1725407"/>
                <a:gd name="connsiteX34" fmla="*/ 1272018 w 1629088"/>
                <a:gd name="connsiteY34" fmla="*/ 669066 h 1725407"/>
                <a:gd name="connsiteX35" fmla="*/ 1265847 w 1629088"/>
                <a:gd name="connsiteY35" fmla="*/ 683992 h 1725407"/>
                <a:gd name="connsiteX36" fmla="*/ 1200674 w 1629088"/>
                <a:gd name="connsiteY36" fmla="*/ 749107 h 1725407"/>
                <a:gd name="connsiteX37" fmla="*/ 1221654 w 1629088"/>
                <a:gd name="connsiteY37" fmla="*/ 800352 h 1725407"/>
                <a:gd name="connsiteX38" fmla="*/ 1314036 w 1629088"/>
                <a:gd name="connsiteY38" fmla="*/ 800352 h 1725407"/>
                <a:gd name="connsiteX39" fmla="*/ 1335193 w 1629088"/>
                <a:gd name="connsiteY39" fmla="*/ 821508 h 1725407"/>
                <a:gd name="connsiteX40" fmla="*/ 1335193 w 1629088"/>
                <a:gd name="connsiteY40" fmla="*/ 983706 h 1725407"/>
                <a:gd name="connsiteX41" fmla="*/ 1314036 w 1629088"/>
                <a:gd name="connsiteY41" fmla="*/ 1004862 h 1725407"/>
                <a:gd name="connsiteX42" fmla="*/ 1221948 w 1629088"/>
                <a:gd name="connsiteY42" fmla="*/ 1004862 h 1725407"/>
                <a:gd name="connsiteX43" fmla="*/ 1200616 w 1629088"/>
                <a:gd name="connsiteY43" fmla="*/ 1055872 h 1725407"/>
                <a:gd name="connsiteX44" fmla="*/ 1265906 w 1629088"/>
                <a:gd name="connsiteY44" fmla="*/ 1121103 h 1725407"/>
                <a:gd name="connsiteX45" fmla="*/ 1272077 w 1629088"/>
                <a:gd name="connsiteY45" fmla="*/ 1136089 h 1725407"/>
                <a:gd name="connsiteX46" fmla="*/ 1265906 w 1629088"/>
                <a:gd name="connsiteY46" fmla="*/ 1151075 h 1725407"/>
                <a:gd name="connsiteX47" fmla="*/ 1151192 w 1629088"/>
                <a:gd name="connsiteY47" fmla="*/ 1265789 h 1725407"/>
                <a:gd name="connsiteX48" fmla="*/ 1136207 w 1629088"/>
                <a:gd name="connsiteY48" fmla="*/ 1271959 h 1725407"/>
                <a:gd name="connsiteX49" fmla="*/ 1136207 w 1629088"/>
                <a:gd name="connsiteY49" fmla="*/ 1271959 h 1725407"/>
                <a:gd name="connsiteX50" fmla="*/ 1121221 w 1629088"/>
                <a:gd name="connsiteY50" fmla="*/ 1265789 h 1725407"/>
                <a:gd name="connsiteX51" fmla="*/ 1056166 w 1629088"/>
                <a:gd name="connsiteY51" fmla="*/ 1200616 h 1725407"/>
                <a:gd name="connsiteX52" fmla="*/ 1004979 w 1629088"/>
                <a:gd name="connsiteY52" fmla="*/ 1221596 h 1725407"/>
                <a:gd name="connsiteX53" fmla="*/ 1004979 w 1629088"/>
                <a:gd name="connsiteY53" fmla="*/ 1314036 h 1725407"/>
                <a:gd name="connsiteX54" fmla="*/ 983764 w 1629088"/>
                <a:gd name="connsiteY54" fmla="*/ 1335193 h 1725407"/>
                <a:gd name="connsiteX55" fmla="*/ 842723 w 1629088"/>
                <a:gd name="connsiteY55" fmla="*/ 1292880 h 1725407"/>
                <a:gd name="connsiteX56" fmla="*/ 962608 w 1629088"/>
                <a:gd name="connsiteY56" fmla="*/ 1292880 h 1725407"/>
                <a:gd name="connsiteX57" fmla="*/ 962608 w 1629088"/>
                <a:gd name="connsiteY57" fmla="*/ 1207550 h 1725407"/>
                <a:gd name="connsiteX58" fmla="*/ 975772 w 1629088"/>
                <a:gd name="connsiteY58" fmla="*/ 1187981 h 1725407"/>
                <a:gd name="connsiteX59" fmla="*/ 1053110 w 1629088"/>
                <a:gd name="connsiteY59" fmla="*/ 1156246 h 1725407"/>
                <a:gd name="connsiteX60" fmla="*/ 1076146 w 1629088"/>
                <a:gd name="connsiteY60" fmla="*/ 1160830 h 1725407"/>
                <a:gd name="connsiteX61" fmla="*/ 1136207 w 1629088"/>
                <a:gd name="connsiteY61" fmla="*/ 1221008 h 1725407"/>
                <a:gd name="connsiteX62" fmla="*/ 1221008 w 1629088"/>
                <a:gd name="connsiteY62" fmla="*/ 1136207 h 1725407"/>
                <a:gd name="connsiteX63" fmla="*/ 1160595 w 1629088"/>
                <a:gd name="connsiteY63" fmla="*/ 1075911 h 1725407"/>
                <a:gd name="connsiteX64" fmla="*/ 1156070 w 1629088"/>
                <a:gd name="connsiteY64" fmla="*/ 1052757 h 1725407"/>
                <a:gd name="connsiteX65" fmla="*/ 1188392 w 1629088"/>
                <a:gd name="connsiteY65" fmla="*/ 975654 h 1725407"/>
                <a:gd name="connsiteX66" fmla="*/ 1207903 w 1629088"/>
                <a:gd name="connsiteY66" fmla="*/ 962608 h 1725407"/>
                <a:gd name="connsiteX67" fmla="*/ 1292880 w 1629088"/>
                <a:gd name="connsiteY67" fmla="*/ 962608 h 1725407"/>
                <a:gd name="connsiteX68" fmla="*/ 1292880 w 1629088"/>
                <a:gd name="connsiteY68" fmla="*/ 842723 h 1725407"/>
                <a:gd name="connsiteX69" fmla="*/ 1207550 w 1629088"/>
                <a:gd name="connsiteY69" fmla="*/ 842723 h 1725407"/>
                <a:gd name="connsiteX70" fmla="*/ 1187981 w 1629088"/>
                <a:gd name="connsiteY70" fmla="*/ 829618 h 1725407"/>
                <a:gd name="connsiteX71" fmla="*/ 1156246 w 1629088"/>
                <a:gd name="connsiteY71" fmla="*/ 752280 h 1725407"/>
                <a:gd name="connsiteX72" fmla="*/ 1160830 w 1629088"/>
                <a:gd name="connsiteY72" fmla="*/ 729302 h 1725407"/>
                <a:gd name="connsiteX73" fmla="*/ 1221008 w 1629088"/>
                <a:gd name="connsiteY73" fmla="*/ 669183 h 1725407"/>
                <a:gd name="connsiteX74" fmla="*/ 1136207 w 1629088"/>
                <a:gd name="connsiteY74" fmla="*/ 584382 h 1725407"/>
                <a:gd name="connsiteX75" fmla="*/ 1075911 w 1629088"/>
                <a:gd name="connsiteY75" fmla="*/ 644736 h 1725407"/>
                <a:gd name="connsiteX76" fmla="*/ 1052757 w 1629088"/>
                <a:gd name="connsiteY76" fmla="*/ 649320 h 1725407"/>
                <a:gd name="connsiteX77" fmla="*/ 975654 w 1629088"/>
                <a:gd name="connsiteY77" fmla="*/ 617057 h 1725407"/>
                <a:gd name="connsiteX78" fmla="*/ 962608 w 1629088"/>
                <a:gd name="connsiteY78" fmla="*/ 597546 h 1725407"/>
                <a:gd name="connsiteX79" fmla="*/ 962608 w 1629088"/>
                <a:gd name="connsiteY79" fmla="*/ 512451 h 1725407"/>
                <a:gd name="connsiteX80" fmla="*/ 842723 w 1629088"/>
                <a:gd name="connsiteY80" fmla="*/ 512451 h 1725407"/>
                <a:gd name="connsiteX81" fmla="*/ 842723 w 1629088"/>
                <a:gd name="connsiteY81" fmla="*/ 597781 h 1725407"/>
                <a:gd name="connsiteX82" fmla="*/ 829618 w 1629088"/>
                <a:gd name="connsiteY82" fmla="*/ 617350 h 1725407"/>
                <a:gd name="connsiteX83" fmla="*/ 752280 w 1629088"/>
                <a:gd name="connsiteY83" fmla="*/ 649085 h 1725407"/>
                <a:gd name="connsiteX84" fmla="*/ 729302 w 1629088"/>
                <a:gd name="connsiteY84" fmla="*/ 644442 h 1725407"/>
                <a:gd name="connsiteX85" fmla="*/ 669183 w 1629088"/>
                <a:gd name="connsiteY85" fmla="*/ 584323 h 1725407"/>
                <a:gd name="connsiteX86" fmla="*/ 584441 w 1629088"/>
                <a:gd name="connsiteY86" fmla="*/ 669124 h 1725407"/>
                <a:gd name="connsiteX87" fmla="*/ 644795 w 1629088"/>
                <a:gd name="connsiteY87" fmla="*/ 729537 h 1725407"/>
                <a:gd name="connsiteX88" fmla="*/ 649320 w 1629088"/>
                <a:gd name="connsiteY88" fmla="*/ 752691 h 1725407"/>
                <a:gd name="connsiteX89" fmla="*/ 617057 w 1629088"/>
                <a:gd name="connsiteY89" fmla="*/ 829794 h 1725407"/>
                <a:gd name="connsiteX90" fmla="*/ 597546 w 1629088"/>
                <a:gd name="connsiteY90" fmla="*/ 842782 h 1725407"/>
                <a:gd name="connsiteX91" fmla="*/ 512451 w 1629088"/>
                <a:gd name="connsiteY91" fmla="*/ 842782 h 1725407"/>
                <a:gd name="connsiteX92" fmla="*/ 512451 w 1629088"/>
                <a:gd name="connsiteY92" fmla="*/ 962667 h 1725407"/>
                <a:gd name="connsiteX93" fmla="*/ 597781 w 1629088"/>
                <a:gd name="connsiteY93" fmla="*/ 962667 h 1725407"/>
                <a:gd name="connsiteX94" fmla="*/ 617350 w 1629088"/>
                <a:gd name="connsiteY94" fmla="*/ 975831 h 1725407"/>
                <a:gd name="connsiteX95" fmla="*/ 649085 w 1629088"/>
                <a:gd name="connsiteY95" fmla="*/ 1053169 h 1725407"/>
                <a:gd name="connsiteX96" fmla="*/ 644442 w 1629088"/>
                <a:gd name="connsiteY96" fmla="*/ 1076205 h 1725407"/>
                <a:gd name="connsiteX97" fmla="*/ 584382 w 1629088"/>
                <a:gd name="connsiteY97" fmla="*/ 1136265 h 1725407"/>
                <a:gd name="connsiteX98" fmla="*/ 669124 w 1629088"/>
                <a:gd name="connsiteY98" fmla="*/ 1221067 h 1725407"/>
                <a:gd name="connsiteX99" fmla="*/ 729537 w 1629088"/>
                <a:gd name="connsiteY99" fmla="*/ 1160654 h 1725407"/>
                <a:gd name="connsiteX100" fmla="*/ 752691 w 1629088"/>
                <a:gd name="connsiteY100" fmla="*/ 1156129 h 1725407"/>
                <a:gd name="connsiteX101" fmla="*/ 829794 w 1629088"/>
                <a:gd name="connsiteY101" fmla="*/ 1188451 h 1725407"/>
                <a:gd name="connsiteX102" fmla="*/ 842782 w 1629088"/>
                <a:gd name="connsiteY102" fmla="*/ 1207962 h 1725407"/>
                <a:gd name="connsiteX103" fmla="*/ 842723 w 1629088"/>
                <a:gd name="connsiteY103" fmla="*/ 1292880 h 1725407"/>
                <a:gd name="connsiteX104" fmla="*/ 842723 w 1629088"/>
                <a:gd name="connsiteY104" fmla="*/ 1292880 h 1725407"/>
                <a:gd name="connsiteX105" fmla="*/ 902665 w 1629088"/>
                <a:gd name="connsiteY105" fmla="*/ 1100124 h 1725407"/>
                <a:gd name="connsiteX106" fmla="*/ 705207 w 1629088"/>
                <a:gd name="connsiteY106" fmla="*/ 902665 h 1725407"/>
                <a:gd name="connsiteX107" fmla="*/ 902665 w 1629088"/>
                <a:gd name="connsiteY107" fmla="*/ 705207 h 1725407"/>
                <a:gd name="connsiteX108" fmla="*/ 1100124 w 1629088"/>
                <a:gd name="connsiteY108" fmla="*/ 902665 h 1725407"/>
                <a:gd name="connsiteX109" fmla="*/ 902665 w 1629088"/>
                <a:gd name="connsiteY109" fmla="*/ 1100124 h 1725407"/>
                <a:gd name="connsiteX110" fmla="*/ 902665 w 1629088"/>
                <a:gd name="connsiteY110" fmla="*/ 747520 h 1725407"/>
                <a:gd name="connsiteX111" fmla="*/ 747520 w 1629088"/>
                <a:gd name="connsiteY111" fmla="*/ 902665 h 1725407"/>
                <a:gd name="connsiteX112" fmla="*/ 902665 w 1629088"/>
                <a:gd name="connsiteY112" fmla="*/ 1057811 h 1725407"/>
                <a:gd name="connsiteX113" fmla="*/ 1057811 w 1629088"/>
                <a:gd name="connsiteY113" fmla="*/ 902665 h 1725407"/>
                <a:gd name="connsiteX114" fmla="*/ 902665 w 1629088"/>
                <a:gd name="connsiteY114" fmla="*/ 747520 h 1725407"/>
                <a:gd name="connsiteX115" fmla="*/ 241122 w 1629088"/>
                <a:gd name="connsiteY115" fmla="*/ 1452786 h 1725407"/>
                <a:gd name="connsiteX116" fmla="*/ 218614 w 1629088"/>
                <a:gd name="connsiteY116" fmla="*/ 1491631 h 1725407"/>
                <a:gd name="connsiteX117" fmla="*/ 218614 w 1629088"/>
                <a:gd name="connsiteY117" fmla="*/ 1725407 h 1725407"/>
                <a:gd name="connsiteX118" fmla="*/ 176302 w 1629088"/>
                <a:gd name="connsiteY118" fmla="*/ 1725407 h 1725407"/>
                <a:gd name="connsiteX119" fmla="*/ 176302 w 1629088"/>
                <a:gd name="connsiteY119" fmla="*/ 1410415 h 1725407"/>
                <a:gd name="connsiteX120" fmla="*/ 491294 w 1629088"/>
                <a:gd name="connsiteY120" fmla="*/ 1410415 h 1725407"/>
                <a:gd name="connsiteX121" fmla="*/ 491294 w 1629088"/>
                <a:gd name="connsiteY121" fmla="*/ 1452786 h 1725407"/>
                <a:gd name="connsiteX122" fmla="*/ 241122 w 1629088"/>
                <a:gd name="connsiteY122" fmla="*/ 1452786 h 1725407"/>
                <a:gd name="connsiteX123" fmla="*/ 42312 w 1629088"/>
                <a:gd name="connsiteY123" fmla="*/ 902665 h 1725407"/>
                <a:gd name="connsiteX124" fmla="*/ 0 w 1629088"/>
                <a:gd name="connsiteY124" fmla="*/ 902665 h 1725407"/>
                <a:gd name="connsiteX125" fmla="*/ 902665 w 1629088"/>
                <a:gd name="connsiteY125" fmla="*/ 0 h 1725407"/>
                <a:gd name="connsiteX126" fmla="*/ 1586717 w 1629088"/>
                <a:gd name="connsiteY126" fmla="*/ 313641 h 1725407"/>
                <a:gd name="connsiteX127" fmla="*/ 1586717 w 1629088"/>
                <a:gd name="connsiteY127" fmla="*/ 79924 h 1725407"/>
                <a:gd name="connsiteX128" fmla="*/ 1629088 w 1629088"/>
                <a:gd name="connsiteY128" fmla="*/ 79924 h 1725407"/>
                <a:gd name="connsiteX129" fmla="*/ 1629088 w 1629088"/>
                <a:gd name="connsiteY129" fmla="*/ 394916 h 1725407"/>
                <a:gd name="connsiteX130" fmla="*/ 1314036 w 1629088"/>
                <a:gd name="connsiteY130" fmla="*/ 394916 h 1725407"/>
                <a:gd name="connsiteX131" fmla="*/ 1314036 w 1629088"/>
                <a:gd name="connsiteY131" fmla="*/ 352604 h 1725407"/>
                <a:gd name="connsiteX132" fmla="*/ 1564209 w 1629088"/>
                <a:gd name="connsiteY132" fmla="*/ 352604 h 1725407"/>
                <a:gd name="connsiteX133" fmla="*/ 902665 w 1629088"/>
                <a:gd name="connsiteY133" fmla="*/ 42312 h 1725407"/>
                <a:gd name="connsiteX134" fmla="*/ 42312 w 1629088"/>
                <a:gd name="connsiteY134" fmla="*/ 902665 h 1725407"/>
                <a:gd name="connsiteX0" fmla="*/ 983764 w 1629088"/>
                <a:gd name="connsiteY0" fmla="*/ 1335193 h 1725407"/>
                <a:gd name="connsiteX1" fmla="*/ 821567 w 1629088"/>
                <a:gd name="connsiteY1" fmla="*/ 1335193 h 1725407"/>
                <a:gd name="connsiteX2" fmla="*/ 800410 w 1629088"/>
                <a:gd name="connsiteY2" fmla="*/ 1314036 h 1725407"/>
                <a:gd name="connsiteX3" fmla="*/ 800410 w 1629088"/>
                <a:gd name="connsiteY3" fmla="*/ 1221948 h 1725407"/>
                <a:gd name="connsiteX4" fmla="*/ 749342 w 1629088"/>
                <a:gd name="connsiteY4" fmla="*/ 1200616 h 1725407"/>
                <a:gd name="connsiteX5" fmla="*/ 684051 w 1629088"/>
                <a:gd name="connsiteY5" fmla="*/ 1265906 h 1725407"/>
                <a:gd name="connsiteX6" fmla="*/ 669124 w 1629088"/>
                <a:gd name="connsiteY6" fmla="*/ 1272077 h 1725407"/>
                <a:gd name="connsiteX7" fmla="*/ 669124 w 1629088"/>
                <a:gd name="connsiteY7" fmla="*/ 1272077 h 1725407"/>
                <a:gd name="connsiteX8" fmla="*/ 654197 w 1629088"/>
                <a:gd name="connsiteY8" fmla="*/ 1265906 h 1725407"/>
                <a:gd name="connsiteX9" fmla="*/ 539484 w 1629088"/>
                <a:gd name="connsiteY9" fmla="*/ 1151192 h 1725407"/>
                <a:gd name="connsiteX10" fmla="*/ 539484 w 1629088"/>
                <a:gd name="connsiteY10" fmla="*/ 1121221 h 1725407"/>
                <a:gd name="connsiteX11" fmla="*/ 604598 w 1629088"/>
                <a:gd name="connsiteY11" fmla="*/ 1056166 h 1725407"/>
                <a:gd name="connsiteX12" fmla="*/ 583618 w 1629088"/>
                <a:gd name="connsiteY12" fmla="*/ 1004979 h 1725407"/>
                <a:gd name="connsiteX13" fmla="*/ 491294 w 1629088"/>
                <a:gd name="connsiteY13" fmla="*/ 1004979 h 1725407"/>
                <a:gd name="connsiteX14" fmla="*/ 470138 w 1629088"/>
                <a:gd name="connsiteY14" fmla="*/ 983823 h 1725407"/>
                <a:gd name="connsiteX15" fmla="*/ 470138 w 1629088"/>
                <a:gd name="connsiteY15" fmla="*/ 821625 h 1725407"/>
                <a:gd name="connsiteX16" fmla="*/ 491294 w 1629088"/>
                <a:gd name="connsiteY16" fmla="*/ 800469 h 1725407"/>
                <a:gd name="connsiteX17" fmla="*/ 583383 w 1629088"/>
                <a:gd name="connsiteY17" fmla="*/ 800469 h 1725407"/>
                <a:gd name="connsiteX18" fmla="*/ 604715 w 1629088"/>
                <a:gd name="connsiteY18" fmla="*/ 749400 h 1725407"/>
                <a:gd name="connsiteX19" fmla="*/ 539484 w 1629088"/>
                <a:gd name="connsiteY19" fmla="*/ 684051 h 1725407"/>
                <a:gd name="connsiteX20" fmla="*/ 539484 w 1629088"/>
                <a:gd name="connsiteY20" fmla="*/ 654139 h 1725407"/>
                <a:gd name="connsiteX21" fmla="*/ 654139 w 1629088"/>
                <a:gd name="connsiteY21" fmla="*/ 539425 h 1725407"/>
                <a:gd name="connsiteX22" fmla="*/ 684051 w 1629088"/>
                <a:gd name="connsiteY22" fmla="*/ 539425 h 1725407"/>
                <a:gd name="connsiteX23" fmla="*/ 749165 w 1629088"/>
                <a:gd name="connsiteY23" fmla="*/ 604598 h 1725407"/>
                <a:gd name="connsiteX24" fmla="*/ 800410 w 1629088"/>
                <a:gd name="connsiteY24" fmla="*/ 583618 h 1725407"/>
                <a:gd name="connsiteX25" fmla="*/ 800410 w 1629088"/>
                <a:gd name="connsiteY25" fmla="*/ 491294 h 1725407"/>
                <a:gd name="connsiteX26" fmla="*/ 821567 w 1629088"/>
                <a:gd name="connsiteY26" fmla="*/ 470138 h 1725407"/>
                <a:gd name="connsiteX27" fmla="*/ 983764 w 1629088"/>
                <a:gd name="connsiteY27" fmla="*/ 470138 h 1725407"/>
                <a:gd name="connsiteX28" fmla="*/ 1004921 w 1629088"/>
                <a:gd name="connsiteY28" fmla="*/ 491294 h 1725407"/>
                <a:gd name="connsiteX29" fmla="*/ 1004921 w 1629088"/>
                <a:gd name="connsiteY29" fmla="*/ 583383 h 1725407"/>
                <a:gd name="connsiteX30" fmla="*/ 1055931 w 1629088"/>
                <a:gd name="connsiteY30" fmla="*/ 604715 h 1725407"/>
                <a:gd name="connsiteX31" fmla="*/ 1121162 w 1629088"/>
                <a:gd name="connsiteY31" fmla="*/ 539425 h 1725407"/>
                <a:gd name="connsiteX32" fmla="*/ 1151134 w 1629088"/>
                <a:gd name="connsiteY32" fmla="*/ 539425 h 1725407"/>
                <a:gd name="connsiteX33" fmla="*/ 1265847 w 1629088"/>
                <a:gd name="connsiteY33" fmla="*/ 654139 h 1725407"/>
                <a:gd name="connsiteX34" fmla="*/ 1272018 w 1629088"/>
                <a:gd name="connsiteY34" fmla="*/ 669066 h 1725407"/>
                <a:gd name="connsiteX35" fmla="*/ 1265847 w 1629088"/>
                <a:gd name="connsiteY35" fmla="*/ 683992 h 1725407"/>
                <a:gd name="connsiteX36" fmla="*/ 1200674 w 1629088"/>
                <a:gd name="connsiteY36" fmla="*/ 749107 h 1725407"/>
                <a:gd name="connsiteX37" fmla="*/ 1221654 w 1629088"/>
                <a:gd name="connsiteY37" fmla="*/ 800352 h 1725407"/>
                <a:gd name="connsiteX38" fmla="*/ 1314036 w 1629088"/>
                <a:gd name="connsiteY38" fmla="*/ 800352 h 1725407"/>
                <a:gd name="connsiteX39" fmla="*/ 1335193 w 1629088"/>
                <a:gd name="connsiteY39" fmla="*/ 821508 h 1725407"/>
                <a:gd name="connsiteX40" fmla="*/ 1335193 w 1629088"/>
                <a:gd name="connsiteY40" fmla="*/ 983706 h 1725407"/>
                <a:gd name="connsiteX41" fmla="*/ 1314036 w 1629088"/>
                <a:gd name="connsiteY41" fmla="*/ 1004862 h 1725407"/>
                <a:gd name="connsiteX42" fmla="*/ 1221948 w 1629088"/>
                <a:gd name="connsiteY42" fmla="*/ 1004862 h 1725407"/>
                <a:gd name="connsiteX43" fmla="*/ 1200616 w 1629088"/>
                <a:gd name="connsiteY43" fmla="*/ 1055872 h 1725407"/>
                <a:gd name="connsiteX44" fmla="*/ 1265906 w 1629088"/>
                <a:gd name="connsiteY44" fmla="*/ 1121103 h 1725407"/>
                <a:gd name="connsiteX45" fmla="*/ 1272077 w 1629088"/>
                <a:gd name="connsiteY45" fmla="*/ 1136089 h 1725407"/>
                <a:gd name="connsiteX46" fmla="*/ 1265906 w 1629088"/>
                <a:gd name="connsiteY46" fmla="*/ 1151075 h 1725407"/>
                <a:gd name="connsiteX47" fmla="*/ 1151192 w 1629088"/>
                <a:gd name="connsiteY47" fmla="*/ 1265789 h 1725407"/>
                <a:gd name="connsiteX48" fmla="*/ 1136207 w 1629088"/>
                <a:gd name="connsiteY48" fmla="*/ 1271959 h 1725407"/>
                <a:gd name="connsiteX49" fmla="*/ 1136207 w 1629088"/>
                <a:gd name="connsiteY49" fmla="*/ 1271959 h 1725407"/>
                <a:gd name="connsiteX50" fmla="*/ 1121221 w 1629088"/>
                <a:gd name="connsiteY50" fmla="*/ 1265789 h 1725407"/>
                <a:gd name="connsiteX51" fmla="*/ 1056166 w 1629088"/>
                <a:gd name="connsiteY51" fmla="*/ 1200616 h 1725407"/>
                <a:gd name="connsiteX52" fmla="*/ 1004979 w 1629088"/>
                <a:gd name="connsiteY52" fmla="*/ 1221596 h 1725407"/>
                <a:gd name="connsiteX53" fmla="*/ 1004979 w 1629088"/>
                <a:gd name="connsiteY53" fmla="*/ 1314036 h 1725407"/>
                <a:gd name="connsiteX54" fmla="*/ 983764 w 1629088"/>
                <a:gd name="connsiteY54" fmla="*/ 1335193 h 1725407"/>
                <a:gd name="connsiteX55" fmla="*/ 842723 w 1629088"/>
                <a:gd name="connsiteY55" fmla="*/ 1292880 h 1725407"/>
                <a:gd name="connsiteX56" fmla="*/ 962608 w 1629088"/>
                <a:gd name="connsiteY56" fmla="*/ 1292880 h 1725407"/>
                <a:gd name="connsiteX57" fmla="*/ 962608 w 1629088"/>
                <a:gd name="connsiteY57" fmla="*/ 1207550 h 1725407"/>
                <a:gd name="connsiteX58" fmla="*/ 975772 w 1629088"/>
                <a:gd name="connsiteY58" fmla="*/ 1187981 h 1725407"/>
                <a:gd name="connsiteX59" fmla="*/ 1053110 w 1629088"/>
                <a:gd name="connsiteY59" fmla="*/ 1156246 h 1725407"/>
                <a:gd name="connsiteX60" fmla="*/ 1076146 w 1629088"/>
                <a:gd name="connsiteY60" fmla="*/ 1160830 h 1725407"/>
                <a:gd name="connsiteX61" fmla="*/ 1136207 w 1629088"/>
                <a:gd name="connsiteY61" fmla="*/ 1221008 h 1725407"/>
                <a:gd name="connsiteX62" fmla="*/ 1221008 w 1629088"/>
                <a:gd name="connsiteY62" fmla="*/ 1136207 h 1725407"/>
                <a:gd name="connsiteX63" fmla="*/ 1160595 w 1629088"/>
                <a:gd name="connsiteY63" fmla="*/ 1075911 h 1725407"/>
                <a:gd name="connsiteX64" fmla="*/ 1156070 w 1629088"/>
                <a:gd name="connsiteY64" fmla="*/ 1052757 h 1725407"/>
                <a:gd name="connsiteX65" fmla="*/ 1188392 w 1629088"/>
                <a:gd name="connsiteY65" fmla="*/ 975654 h 1725407"/>
                <a:gd name="connsiteX66" fmla="*/ 1207903 w 1629088"/>
                <a:gd name="connsiteY66" fmla="*/ 962608 h 1725407"/>
                <a:gd name="connsiteX67" fmla="*/ 1292880 w 1629088"/>
                <a:gd name="connsiteY67" fmla="*/ 962608 h 1725407"/>
                <a:gd name="connsiteX68" fmla="*/ 1292880 w 1629088"/>
                <a:gd name="connsiteY68" fmla="*/ 842723 h 1725407"/>
                <a:gd name="connsiteX69" fmla="*/ 1207550 w 1629088"/>
                <a:gd name="connsiteY69" fmla="*/ 842723 h 1725407"/>
                <a:gd name="connsiteX70" fmla="*/ 1187981 w 1629088"/>
                <a:gd name="connsiteY70" fmla="*/ 829618 h 1725407"/>
                <a:gd name="connsiteX71" fmla="*/ 1156246 w 1629088"/>
                <a:gd name="connsiteY71" fmla="*/ 752280 h 1725407"/>
                <a:gd name="connsiteX72" fmla="*/ 1160830 w 1629088"/>
                <a:gd name="connsiteY72" fmla="*/ 729302 h 1725407"/>
                <a:gd name="connsiteX73" fmla="*/ 1221008 w 1629088"/>
                <a:gd name="connsiteY73" fmla="*/ 669183 h 1725407"/>
                <a:gd name="connsiteX74" fmla="*/ 1136207 w 1629088"/>
                <a:gd name="connsiteY74" fmla="*/ 584382 h 1725407"/>
                <a:gd name="connsiteX75" fmla="*/ 1075911 w 1629088"/>
                <a:gd name="connsiteY75" fmla="*/ 644736 h 1725407"/>
                <a:gd name="connsiteX76" fmla="*/ 1052757 w 1629088"/>
                <a:gd name="connsiteY76" fmla="*/ 649320 h 1725407"/>
                <a:gd name="connsiteX77" fmla="*/ 975654 w 1629088"/>
                <a:gd name="connsiteY77" fmla="*/ 617057 h 1725407"/>
                <a:gd name="connsiteX78" fmla="*/ 962608 w 1629088"/>
                <a:gd name="connsiteY78" fmla="*/ 597546 h 1725407"/>
                <a:gd name="connsiteX79" fmla="*/ 962608 w 1629088"/>
                <a:gd name="connsiteY79" fmla="*/ 512451 h 1725407"/>
                <a:gd name="connsiteX80" fmla="*/ 842723 w 1629088"/>
                <a:gd name="connsiteY80" fmla="*/ 512451 h 1725407"/>
                <a:gd name="connsiteX81" fmla="*/ 842723 w 1629088"/>
                <a:gd name="connsiteY81" fmla="*/ 597781 h 1725407"/>
                <a:gd name="connsiteX82" fmla="*/ 829618 w 1629088"/>
                <a:gd name="connsiteY82" fmla="*/ 617350 h 1725407"/>
                <a:gd name="connsiteX83" fmla="*/ 752280 w 1629088"/>
                <a:gd name="connsiteY83" fmla="*/ 649085 h 1725407"/>
                <a:gd name="connsiteX84" fmla="*/ 729302 w 1629088"/>
                <a:gd name="connsiteY84" fmla="*/ 644442 h 1725407"/>
                <a:gd name="connsiteX85" fmla="*/ 669183 w 1629088"/>
                <a:gd name="connsiteY85" fmla="*/ 584323 h 1725407"/>
                <a:gd name="connsiteX86" fmla="*/ 584441 w 1629088"/>
                <a:gd name="connsiteY86" fmla="*/ 669124 h 1725407"/>
                <a:gd name="connsiteX87" fmla="*/ 644795 w 1629088"/>
                <a:gd name="connsiteY87" fmla="*/ 729537 h 1725407"/>
                <a:gd name="connsiteX88" fmla="*/ 649320 w 1629088"/>
                <a:gd name="connsiteY88" fmla="*/ 752691 h 1725407"/>
                <a:gd name="connsiteX89" fmla="*/ 617057 w 1629088"/>
                <a:gd name="connsiteY89" fmla="*/ 829794 h 1725407"/>
                <a:gd name="connsiteX90" fmla="*/ 597546 w 1629088"/>
                <a:gd name="connsiteY90" fmla="*/ 842782 h 1725407"/>
                <a:gd name="connsiteX91" fmla="*/ 512451 w 1629088"/>
                <a:gd name="connsiteY91" fmla="*/ 842782 h 1725407"/>
                <a:gd name="connsiteX92" fmla="*/ 512451 w 1629088"/>
                <a:gd name="connsiteY92" fmla="*/ 962667 h 1725407"/>
                <a:gd name="connsiteX93" fmla="*/ 597781 w 1629088"/>
                <a:gd name="connsiteY93" fmla="*/ 962667 h 1725407"/>
                <a:gd name="connsiteX94" fmla="*/ 617350 w 1629088"/>
                <a:gd name="connsiteY94" fmla="*/ 975831 h 1725407"/>
                <a:gd name="connsiteX95" fmla="*/ 649085 w 1629088"/>
                <a:gd name="connsiteY95" fmla="*/ 1053169 h 1725407"/>
                <a:gd name="connsiteX96" fmla="*/ 644442 w 1629088"/>
                <a:gd name="connsiteY96" fmla="*/ 1076205 h 1725407"/>
                <a:gd name="connsiteX97" fmla="*/ 584382 w 1629088"/>
                <a:gd name="connsiteY97" fmla="*/ 1136265 h 1725407"/>
                <a:gd name="connsiteX98" fmla="*/ 669124 w 1629088"/>
                <a:gd name="connsiteY98" fmla="*/ 1221067 h 1725407"/>
                <a:gd name="connsiteX99" fmla="*/ 729537 w 1629088"/>
                <a:gd name="connsiteY99" fmla="*/ 1160654 h 1725407"/>
                <a:gd name="connsiteX100" fmla="*/ 752691 w 1629088"/>
                <a:gd name="connsiteY100" fmla="*/ 1156129 h 1725407"/>
                <a:gd name="connsiteX101" fmla="*/ 829794 w 1629088"/>
                <a:gd name="connsiteY101" fmla="*/ 1188451 h 1725407"/>
                <a:gd name="connsiteX102" fmla="*/ 842782 w 1629088"/>
                <a:gd name="connsiteY102" fmla="*/ 1207962 h 1725407"/>
                <a:gd name="connsiteX103" fmla="*/ 842723 w 1629088"/>
                <a:gd name="connsiteY103" fmla="*/ 1292880 h 1725407"/>
                <a:gd name="connsiteX104" fmla="*/ 842723 w 1629088"/>
                <a:gd name="connsiteY104" fmla="*/ 1292880 h 1725407"/>
                <a:gd name="connsiteX105" fmla="*/ 902665 w 1629088"/>
                <a:gd name="connsiteY105" fmla="*/ 1100124 h 1725407"/>
                <a:gd name="connsiteX106" fmla="*/ 705207 w 1629088"/>
                <a:gd name="connsiteY106" fmla="*/ 902665 h 1725407"/>
                <a:gd name="connsiteX107" fmla="*/ 902665 w 1629088"/>
                <a:gd name="connsiteY107" fmla="*/ 705207 h 1725407"/>
                <a:gd name="connsiteX108" fmla="*/ 1100124 w 1629088"/>
                <a:gd name="connsiteY108" fmla="*/ 902665 h 1725407"/>
                <a:gd name="connsiteX109" fmla="*/ 902665 w 1629088"/>
                <a:gd name="connsiteY109" fmla="*/ 1100124 h 1725407"/>
                <a:gd name="connsiteX110" fmla="*/ 902665 w 1629088"/>
                <a:gd name="connsiteY110" fmla="*/ 747520 h 1725407"/>
                <a:gd name="connsiteX111" fmla="*/ 747520 w 1629088"/>
                <a:gd name="connsiteY111" fmla="*/ 902665 h 1725407"/>
                <a:gd name="connsiteX112" fmla="*/ 902665 w 1629088"/>
                <a:gd name="connsiteY112" fmla="*/ 1057811 h 1725407"/>
                <a:gd name="connsiteX113" fmla="*/ 1057811 w 1629088"/>
                <a:gd name="connsiteY113" fmla="*/ 902665 h 1725407"/>
                <a:gd name="connsiteX114" fmla="*/ 902665 w 1629088"/>
                <a:gd name="connsiteY114" fmla="*/ 747520 h 1725407"/>
                <a:gd name="connsiteX115" fmla="*/ 241122 w 1629088"/>
                <a:gd name="connsiteY115" fmla="*/ 1452786 h 1725407"/>
                <a:gd name="connsiteX116" fmla="*/ 218614 w 1629088"/>
                <a:gd name="connsiteY116" fmla="*/ 1725407 h 1725407"/>
                <a:gd name="connsiteX117" fmla="*/ 176302 w 1629088"/>
                <a:gd name="connsiteY117" fmla="*/ 1725407 h 1725407"/>
                <a:gd name="connsiteX118" fmla="*/ 176302 w 1629088"/>
                <a:gd name="connsiteY118" fmla="*/ 1410415 h 1725407"/>
                <a:gd name="connsiteX119" fmla="*/ 491294 w 1629088"/>
                <a:gd name="connsiteY119" fmla="*/ 1410415 h 1725407"/>
                <a:gd name="connsiteX120" fmla="*/ 491294 w 1629088"/>
                <a:gd name="connsiteY120" fmla="*/ 1452786 h 1725407"/>
                <a:gd name="connsiteX121" fmla="*/ 241122 w 1629088"/>
                <a:gd name="connsiteY121" fmla="*/ 1452786 h 1725407"/>
                <a:gd name="connsiteX122" fmla="*/ 42312 w 1629088"/>
                <a:gd name="connsiteY122" fmla="*/ 902665 h 1725407"/>
                <a:gd name="connsiteX123" fmla="*/ 0 w 1629088"/>
                <a:gd name="connsiteY123" fmla="*/ 902665 h 1725407"/>
                <a:gd name="connsiteX124" fmla="*/ 902665 w 1629088"/>
                <a:gd name="connsiteY124" fmla="*/ 0 h 1725407"/>
                <a:gd name="connsiteX125" fmla="*/ 1586717 w 1629088"/>
                <a:gd name="connsiteY125" fmla="*/ 313641 h 1725407"/>
                <a:gd name="connsiteX126" fmla="*/ 1586717 w 1629088"/>
                <a:gd name="connsiteY126" fmla="*/ 79924 h 1725407"/>
                <a:gd name="connsiteX127" fmla="*/ 1629088 w 1629088"/>
                <a:gd name="connsiteY127" fmla="*/ 79924 h 1725407"/>
                <a:gd name="connsiteX128" fmla="*/ 1629088 w 1629088"/>
                <a:gd name="connsiteY128" fmla="*/ 394916 h 1725407"/>
                <a:gd name="connsiteX129" fmla="*/ 1314036 w 1629088"/>
                <a:gd name="connsiteY129" fmla="*/ 394916 h 1725407"/>
                <a:gd name="connsiteX130" fmla="*/ 1314036 w 1629088"/>
                <a:gd name="connsiteY130" fmla="*/ 352604 h 1725407"/>
                <a:gd name="connsiteX131" fmla="*/ 1564209 w 1629088"/>
                <a:gd name="connsiteY131" fmla="*/ 352604 h 1725407"/>
                <a:gd name="connsiteX132" fmla="*/ 902665 w 1629088"/>
                <a:gd name="connsiteY132" fmla="*/ 42312 h 1725407"/>
                <a:gd name="connsiteX133" fmla="*/ 42312 w 1629088"/>
                <a:gd name="connsiteY133" fmla="*/ 902665 h 1725407"/>
                <a:gd name="connsiteX0" fmla="*/ 983764 w 1629088"/>
                <a:gd name="connsiteY0" fmla="*/ 1335193 h 1725407"/>
                <a:gd name="connsiteX1" fmla="*/ 821567 w 1629088"/>
                <a:gd name="connsiteY1" fmla="*/ 1335193 h 1725407"/>
                <a:gd name="connsiteX2" fmla="*/ 800410 w 1629088"/>
                <a:gd name="connsiteY2" fmla="*/ 1314036 h 1725407"/>
                <a:gd name="connsiteX3" fmla="*/ 800410 w 1629088"/>
                <a:gd name="connsiteY3" fmla="*/ 1221948 h 1725407"/>
                <a:gd name="connsiteX4" fmla="*/ 749342 w 1629088"/>
                <a:gd name="connsiteY4" fmla="*/ 1200616 h 1725407"/>
                <a:gd name="connsiteX5" fmla="*/ 684051 w 1629088"/>
                <a:gd name="connsiteY5" fmla="*/ 1265906 h 1725407"/>
                <a:gd name="connsiteX6" fmla="*/ 669124 w 1629088"/>
                <a:gd name="connsiteY6" fmla="*/ 1272077 h 1725407"/>
                <a:gd name="connsiteX7" fmla="*/ 669124 w 1629088"/>
                <a:gd name="connsiteY7" fmla="*/ 1272077 h 1725407"/>
                <a:gd name="connsiteX8" fmla="*/ 654197 w 1629088"/>
                <a:gd name="connsiteY8" fmla="*/ 1265906 h 1725407"/>
                <a:gd name="connsiteX9" fmla="*/ 539484 w 1629088"/>
                <a:gd name="connsiteY9" fmla="*/ 1151192 h 1725407"/>
                <a:gd name="connsiteX10" fmla="*/ 539484 w 1629088"/>
                <a:gd name="connsiteY10" fmla="*/ 1121221 h 1725407"/>
                <a:gd name="connsiteX11" fmla="*/ 604598 w 1629088"/>
                <a:gd name="connsiteY11" fmla="*/ 1056166 h 1725407"/>
                <a:gd name="connsiteX12" fmla="*/ 583618 w 1629088"/>
                <a:gd name="connsiteY12" fmla="*/ 1004979 h 1725407"/>
                <a:gd name="connsiteX13" fmla="*/ 491294 w 1629088"/>
                <a:gd name="connsiteY13" fmla="*/ 1004979 h 1725407"/>
                <a:gd name="connsiteX14" fmla="*/ 470138 w 1629088"/>
                <a:gd name="connsiteY14" fmla="*/ 983823 h 1725407"/>
                <a:gd name="connsiteX15" fmla="*/ 470138 w 1629088"/>
                <a:gd name="connsiteY15" fmla="*/ 821625 h 1725407"/>
                <a:gd name="connsiteX16" fmla="*/ 491294 w 1629088"/>
                <a:gd name="connsiteY16" fmla="*/ 800469 h 1725407"/>
                <a:gd name="connsiteX17" fmla="*/ 583383 w 1629088"/>
                <a:gd name="connsiteY17" fmla="*/ 800469 h 1725407"/>
                <a:gd name="connsiteX18" fmla="*/ 604715 w 1629088"/>
                <a:gd name="connsiteY18" fmla="*/ 749400 h 1725407"/>
                <a:gd name="connsiteX19" fmla="*/ 539484 w 1629088"/>
                <a:gd name="connsiteY19" fmla="*/ 684051 h 1725407"/>
                <a:gd name="connsiteX20" fmla="*/ 539484 w 1629088"/>
                <a:gd name="connsiteY20" fmla="*/ 654139 h 1725407"/>
                <a:gd name="connsiteX21" fmla="*/ 654139 w 1629088"/>
                <a:gd name="connsiteY21" fmla="*/ 539425 h 1725407"/>
                <a:gd name="connsiteX22" fmla="*/ 684051 w 1629088"/>
                <a:gd name="connsiteY22" fmla="*/ 539425 h 1725407"/>
                <a:gd name="connsiteX23" fmla="*/ 749165 w 1629088"/>
                <a:gd name="connsiteY23" fmla="*/ 604598 h 1725407"/>
                <a:gd name="connsiteX24" fmla="*/ 800410 w 1629088"/>
                <a:gd name="connsiteY24" fmla="*/ 583618 h 1725407"/>
                <a:gd name="connsiteX25" fmla="*/ 800410 w 1629088"/>
                <a:gd name="connsiteY25" fmla="*/ 491294 h 1725407"/>
                <a:gd name="connsiteX26" fmla="*/ 821567 w 1629088"/>
                <a:gd name="connsiteY26" fmla="*/ 470138 h 1725407"/>
                <a:gd name="connsiteX27" fmla="*/ 983764 w 1629088"/>
                <a:gd name="connsiteY27" fmla="*/ 470138 h 1725407"/>
                <a:gd name="connsiteX28" fmla="*/ 1004921 w 1629088"/>
                <a:gd name="connsiteY28" fmla="*/ 491294 h 1725407"/>
                <a:gd name="connsiteX29" fmla="*/ 1004921 w 1629088"/>
                <a:gd name="connsiteY29" fmla="*/ 583383 h 1725407"/>
                <a:gd name="connsiteX30" fmla="*/ 1055931 w 1629088"/>
                <a:gd name="connsiteY30" fmla="*/ 604715 h 1725407"/>
                <a:gd name="connsiteX31" fmla="*/ 1121162 w 1629088"/>
                <a:gd name="connsiteY31" fmla="*/ 539425 h 1725407"/>
                <a:gd name="connsiteX32" fmla="*/ 1151134 w 1629088"/>
                <a:gd name="connsiteY32" fmla="*/ 539425 h 1725407"/>
                <a:gd name="connsiteX33" fmla="*/ 1265847 w 1629088"/>
                <a:gd name="connsiteY33" fmla="*/ 654139 h 1725407"/>
                <a:gd name="connsiteX34" fmla="*/ 1272018 w 1629088"/>
                <a:gd name="connsiteY34" fmla="*/ 669066 h 1725407"/>
                <a:gd name="connsiteX35" fmla="*/ 1265847 w 1629088"/>
                <a:gd name="connsiteY35" fmla="*/ 683992 h 1725407"/>
                <a:gd name="connsiteX36" fmla="*/ 1200674 w 1629088"/>
                <a:gd name="connsiteY36" fmla="*/ 749107 h 1725407"/>
                <a:gd name="connsiteX37" fmla="*/ 1221654 w 1629088"/>
                <a:gd name="connsiteY37" fmla="*/ 800352 h 1725407"/>
                <a:gd name="connsiteX38" fmla="*/ 1314036 w 1629088"/>
                <a:gd name="connsiteY38" fmla="*/ 800352 h 1725407"/>
                <a:gd name="connsiteX39" fmla="*/ 1335193 w 1629088"/>
                <a:gd name="connsiteY39" fmla="*/ 821508 h 1725407"/>
                <a:gd name="connsiteX40" fmla="*/ 1335193 w 1629088"/>
                <a:gd name="connsiteY40" fmla="*/ 983706 h 1725407"/>
                <a:gd name="connsiteX41" fmla="*/ 1314036 w 1629088"/>
                <a:gd name="connsiteY41" fmla="*/ 1004862 h 1725407"/>
                <a:gd name="connsiteX42" fmla="*/ 1221948 w 1629088"/>
                <a:gd name="connsiteY42" fmla="*/ 1004862 h 1725407"/>
                <a:gd name="connsiteX43" fmla="*/ 1200616 w 1629088"/>
                <a:gd name="connsiteY43" fmla="*/ 1055872 h 1725407"/>
                <a:gd name="connsiteX44" fmla="*/ 1265906 w 1629088"/>
                <a:gd name="connsiteY44" fmla="*/ 1121103 h 1725407"/>
                <a:gd name="connsiteX45" fmla="*/ 1272077 w 1629088"/>
                <a:gd name="connsiteY45" fmla="*/ 1136089 h 1725407"/>
                <a:gd name="connsiteX46" fmla="*/ 1265906 w 1629088"/>
                <a:gd name="connsiteY46" fmla="*/ 1151075 h 1725407"/>
                <a:gd name="connsiteX47" fmla="*/ 1151192 w 1629088"/>
                <a:gd name="connsiteY47" fmla="*/ 1265789 h 1725407"/>
                <a:gd name="connsiteX48" fmla="*/ 1136207 w 1629088"/>
                <a:gd name="connsiteY48" fmla="*/ 1271959 h 1725407"/>
                <a:gd name="connsiteX49" fmla="*/ 1136207 w 1629088"/>
                <a:gd name="connsiteY49" fmla="*/ 1271959 h 1725407"/>
                <a:gd name="connsiteX50" fmla="*/ 1121221 w 1629088"/>
                <a:gd name="connsiteY50" fmla="*/ 1265789 h 1725407"/>
                <a:gd name="connsiteX51" fmla="*/ 1056166 w 1629088"/>
                <a:gd name="connsiteY51" fmla="*/ 1200616 h 1725407"/>
                <a:gd name="connsiteX52" fmla="*/ 1004979 w 1629088"/>
                <a:gd name="connsiteY52" fmla="*/ 1221596 h 1725407"/>
                <a:gd name="connsiteX53" fmla="*/ 1004979 w 1629088"/>
                <a:gd name="connsiteY53" fmla="*/ 1314036 h 1725407"/>
                <a:gd name="connsiteX54" fmla="*/ 983764 w 1629088"/>
                <a:gd name="connsiteY54" fmla="*/ 1335193 h 1725407"/>
                <a:gd name="connsiteX55" fmla="*/ 842723 w 1629088"/>
                <a:gd name="connsiteY55" fmla="*/ 1292880 h 1725407"/>
                <a:gd name="connsiteX56" fmla="*/ 962608 w 1629088"/>
                <a:gd name="connsiteY56" fmla="*/ 1292880 h 1725407"/>
                <a:gd name="connsiteX57" fmla="*/ 962608 w 1629088"/>
                <a:gd name="connsiteY57" fmla="*/ 1207550 h 1725407"/>
                <a:gd name="connsiteX58" fmla="*/ 975772 w 1629088"/>
                <a:gd name="connsiteY58" fmla="*/ 1187981 h 1725407"/>
                <a:gd name="connsiteX59" fmla="*/ 1053110 w 1629088"/>
                <a:gd name="connsiteY59" fmla="*/ 1156246 h 1725407"/>
                <a:gd name="connsiteX60" fmla="*/ 1076146 w 1629088"/>
                <a:gd name="connsiteY60" fmla="*/ 1160830 h 1725407"/>
                <a:gd name="connsiteX61" fmla="*/ 1136207 w 1629088"/>
                <a:gd name="connsiteY61" fmla="*/ 1221008 h 1725407"/>
                <a:gd name="connsiteX62" fmla="*/ 1221008 w 1629088"/>
                <a:gd name="connsiteY62" fmla="*/ 1136207 h 1725407"/>
                <a:gd name="connsiteX63" fmla="*/ 1160595 w 1629088"/>
                <a:gd name="connsiteY63" fmla="*/ 1075911 h 1725407"/>
                <a:gd name="connsiteX64" fmla="*/ 1156070 w 1629088"/>
                <a:gd name="connsiteY64" fmla="*/ 1052757 h 1725407"/>
                <a:gd name="connsiteX65" fmla="*/ 1188392 w 1629088"/>
                <a:gd name="connsiteY65" fmla="*/ 975654 h 1725407"/>
                <a:gd name="connsiteX66" fmla="*/ 1207903 w 1629088"/>
                <a:gd name="connsiteY66" fmla="*/ 962608 h 1725407"/>
                <a:gd name="connsiteX67" fmla="*/ 1292880 w 1629088"/>
                <a:gd name="connsiteY67" fmla="*/ 962608 h 1725407"/>
                <a:gd name="connsiteX68" fmla="*/ 1292880 w 1629088"/>
                <a:gd name="connsiteY68" fmla="*/ 842723 h 1725407"/>
                <a:gd name="connsiteX69" fmla="*/ 1207550 w 1629088"/>
                <a:gd name="connsiteY69" fmla="*/ 842723 h 1725407"/>
                <a:gd name="connsiteX70" fmla="*/ 1187981 w 1629088"/>
                <a:gd name="connsiteY70" fmla="*/ 829618 h 1725407"/>
                <a:gd name="connsiteX71" fmla="*/ 1156246 w 1629088"/>
                <a:gd name="connsiteY71" fmla="*/ 752280 h 1725407"/>
                <a:gd name="connsiteX72" fmla="*/ 1160830 w 1629088"/>
                <a:gd name="connsiteY72" fmla="*/ 729302 h 1725407"/>
                <a:gd name="connsiteX73" fmla="*/ 1221008 w 1629088"/>
                <a:gd name="connsiteY73" fmla="*/ 669183 h 1725407"/>
                <a:gd name="connsiteX74" fmla="*/ 1136207 w 1629088"/>
                <a:gd name="connsiteY74" fmla="*/ 584382 h 1725407"/>
                <a:gd name="connsiteX75" fmla="*/ 1075911 w 1629088"/>
                <a:gd name="connsiteY75" fmla="*/ 644736 h 1725407"/>
                <a:gd name="connsiteX76" fmla="*/ 1052757 w 1629088"/>
                <a:gd name="connsiteY76" fmla="*/ 649320 h 1725407"/>
                <a:gd name="connsiteX77" fmla="*/ 975654 w 1629088"/>
                <a:gd name="connsiteY77" fmla="*/ 617057 h 1725407"/>
                <a:gd name="connsiteX78" fmla="*/ 962608 w 1629088"/>
                <a:gd name="connsiteY78" fmla="*/ 597546 h 1725407"/>
                <a:gd name="connsiteX79" fmla="*/ 962608 w 1629088"/>
                <a:gd name="connsiteY79" fmla="*/ 512451 h 1725407"/>
                <a:gd name="connsiteX80" fmla="*/ 842723 w 1629088"/>
                <a:gd name="connsiteY80" fmla="*/ 512451 h 1725407"/>
                <a:gd name="connsiteX81" fmla="*/ 842723 w 1629088"/>
                <a:gd name="connsiteY81" fmla="*/ 597781 h 1725407"/>
                <a:gd name="connsiteX82" fmla="*/ 829618 w 1629088"/>
                <a:gd name="connsiteY82" fmla="*/ 617350 h 1725407"/>
                <a:gd name="connsiteX83" fmla="*/ 752280 w 1629088"/>
                <a:gd name="connsiteY83" fmla="*/ 649085 h 1725407"/>
                <a:gd name="connsiteX84" fmla="*/ 729302 w 1629088"/>
                <a:gd name="connsiteY84" fmla="*/ 644442 h 1725407"/>
                <a:gd name="connsiteX85" fmla="*/ 669183 w 1629088"/>
                <a:gd name="connsiteY85" fmla="*/ 584323 h 1725407"/>
                <a:gd name="connsiteX86" fmla="*/ 584441 w 1629088"/>
                <a:gd name="connsiteY86" fmla="*/ 669124 h 1725407"/>
                <a:gd name="connsiteX87" fmla="*/ 644795 w 1629088"/>
                <a:gd name="connsiteY87" fmla="*/ 729537 h 1725407"/>
                <a:gd name="connsiteX88" fmla="*/ 649320 w 1629088"/>
                <a:gd name="connsiteY88" fmla="*/ 752691 h 1725407"/>
                <a:gd name="connsiteX89" fmla="*/ 617057 w 1629088"/>
                <a:gd name="connsiteY89" fmla="*/ 829794 h 1725407"/>
                <a:gd name="connsiteX90" fmla="*/ 597546 w 1629088"/>
                <a:gd name="connsiteY90" fmla="*/ 842782 h 1725407"/>
                <a:gd name="connsiteX91" fmla="*/ 512451 w 1629088"/>
                <a:gd name="connsiteY91" fmla="*/ 842782 h 1725407"/>
                <a:gd name="connsiteX92" fmla="*/ 512451 w 1629088"/>
                <a:gd name="connsiteY92" fmla="*/ 962667 h 1725407"/>
                <a:gd name="connsiteX93" fmla="*/ 597781 w 1629088"/>
                <a:gd name="connsiteY93" fmla="*/ 962667 h 1725407"/>
                <a:gd name="connsiteX94" fmla="*/ 617350 w 1629088"/>
                <a:gd name="connsiteY94" fmla="*/ 975831 h 1725407"/>
                <a:gd name="connsiteX95" fmla="*/ 649085 w 1629088"/>
                <a:gd name="connsiteY95" fmla="*/ 1053169 h 1725407"/>
                <a:gd name="connsiteX96" fmla="*/ 644442 w 1629088"/>
                <a:gd name="connsiteY96" fmla="*/ 1076205 h 1725407"/>
                <a:gd name="connsiteX97" fmla="*/ 584382 w 1629088"/>
                <a:gd name="connsiteY97" fmla="*/ 1136265 h 1725407"/>
                <a:gd name="connsiteX98" fmla="*/ 669124 w 1629088"/>
                <a:gd name="connsiteY98" fmla="*/ 1221067 h 1725407"/>
                <a:gd name="connsiteX99" fmla="*/ 729537 w 1629088"/>
                <a:gd name="connsiteY99" fmla="*/ 1160654 h 1725407"/>
                <a:gd name="connsiteX100" fmla="*/ 752691 w 1629088"/>
                <a:gd name="connsiteY100" fmla="*/ 1156129 h 1725407"/>
                <a:gd name="connsiteX101" fmla="*/ 829794 w 1629088"/>
                <a:gd name="connsiteY101" fmla="*/ 1188451 h 1725407"/>
                <a:gd name="connsiteX102" fmla="*/ 842782 w 1629088"/>
                <a:gd name="connsiteY102" fmla="*/ 1207962 h 1725407"/>
                <a:gd name="connsiteX103" fmla="*/ 842723 w 1629088"/>
                <a:gd name="connsiteY103" fmla="*/ 1292880 h 1725407"/>
                <a:gd name="connsiteX104" fmla="*/ 842723 w 1629088"/>
                <a:gd name="connsiteY104" fmla="*/ 1292880 h 1725407"/>
                <a:gd name="connsiteX105" fmla="*/ 902665 w 1629088"/>
                <a:gd name="connsiteY105" fmla="*/ 1100124 h 1725407"/>
                <a:gd name="connsiteX106" fmla="*/ 705207 w 1629088"/>
                <a:gd name="connsiteY106" fmla="*/ 902665 h 1725407"/>
                <a:gd name="connsiteX107" fmla="*/ 902665 w 1629088"/>
                <a:gd name="connsiteY107" fmla="*/ 705207 h 1725407"/>
                <a:gd name="connsiteX108" fmla="*/ 1100124 w 1629088"/>
                <a:gd name="connsiteY108" fmla="*/ 902665 h 1725407"/>
                <a:gd name="connsiteX109" fmla="*/ 902665 w 1629088"/>
                <a:gd name="connsiteY109" fmla="*/ 1100124 h 1725407"/>
                <a:gd name="connsiteX110" fmla="*/ 902665 w 1629088"/>
                <a:gd name="connsiteY110" fmla="*/ 747520 h 1725407"/>
                <a:gd name="connsiteX111" fmla="*/ 747520 w 1629088"/>
                <a:gd name="connsiteY111" fmla="*/ 902665 h 1725407"/>
                <a:gd name="connsiteX112" fmla="*/ 902665 w 1629088"/>
                <a:gd name="connsiteY112" fmla="*/ 1057811 h 1725407"/>
                <a:gd name="connsiteX113" fmla="*/ 1057811 w 1629088"/>
                <a:gd name="connsiteY113" fmla="*/ 902665 h 1725407"/>
                <a:gd name="connsiteX114" fmla="*/ 902665 w 1629088"/>
                <a:gd name="connsiteY114" fmla="*/ 747520 h 1725407"/>
                <a:gd name="connsiteX115" fmla="*/ 491294 w 1629088"/>
                <a:gd name="connsiteY115" fmla="*/ 1452786 h 1725407"/>
                <a:gd name="connsiteX116" fmla="*/ 218614 w 1629088"/>
                <a:gd name="connsiteY116" fmla="*/ 1725407 h 1725407"/>
                <a:gd name="connsiteX117" fmla="*/ 176302 w 1629088"/>
                <a:gd name="connsiteY117" fmla="*/ 1725407 h 1725407"/>
                <a:gd name="connsiteX118" fmla="*/ 176302 w 1629088"/>
                <a:gd name="connsiteY118" fmla="*/ 1410415 h 1725407"/>
                <a:gd name="connsiteX119" fmla="*/ 491294 w 1629088"/>
                <a:gd name="connsiteY119" fmla="*/ 1410415 h 1725407"/>
                <a:gd name="connsiteX120" fmla="*/ 491294 w 1629088"/>
                <a:gd name="connsiteY120" fmla="*/ 1452786 h 1725407"/>
                <a:gd name="connsiteX121" fmla="*/ 42312 w 1629088"/>
                <a:gd name="connsiteY121" fmla="*/ 902665 h 1725407"/>
                <a:gd name="connsiteX122" fmla="*/ 0 w 1629088"/>
                <a:gd name="connsiteY122" fmla="*/ 902665 h 1725407"/>
                <a:gd name="connsiteX123" fmla="*/ 902665 w 1629088"/>
                <a:gd name="connsiteY123" fmla="*/ 0 h 1725407"/>
                <a:gd name="connsiteX124" fmla="*/ 1586717 w 1629088"/>
                <a:gd name="connsiteY124" fmla="*/ 313641 h 1725407"/>
                <a:gd name="connsiteX125" fmla="*/ 1586717 w 1629088"/>
                <a:gd name="connsiteY125" fmla="*/ 79924 h 1725407"/>
                <a:gd name="connsiteX126" fmla="*/ 1629088 w 1629088"/>
                <a:gd name="connsiteY126" fmla="*/ 79924 h 1725407"/>
                <a:gd name="connsiteX127" fmla="*/ 1629088 w 1629088"/>
                <a:gd name="connsiteY127" fmla="*/ 394916 h 1725407"/>
                <a:gd name="connsiteX128" fmla="*/ 1314036 w 1629088"/>
                <a:gd name="connsiteY128" fmla="*/ 394916 h 1725407"/>
                <a:gd name="connsiteX129" fmla="*/ 1314036 w 1629088"/>
                <a:gd name="connsiteY129" fmla="*/ 352604 h 1725407"/>
                <a:gd name="connsiteX130" fmla="*/ 1564209 w 1629088"/>
                <a:gd name="connsiteY130" fmla="*/ 352604 h 1725407"/>
                <a:gd name="connsiteX131" fmla="*/ 902665 w 1629088"/>
                <a:gd name="connsiteY131" fmla="*/ 42312 h 1725407"/>
                <a:gd name="connsiteX132" fmla="*/ 42312 w 1629088"/>
                <a:gd name="connsiteY132" fmla="*/ 902665 h 1725407"/>
                <a:gd name="connsiteX0" fmla="*/ 983764 w 1629088"/>
                <a:gd name="connsiteY0" fmla="*/ 1335193 h 1725407"/>
                <a:gd name="connsiteX1" fmla="*/ 821567 w 1629088"/>
                <a:gd name="connsiteY1" fmla="*/ 1335193 h 1725407"/>
                <a:gd name="connsiteX2" fmla="*/ 800410 w 1629088"/>
                <a:gd name="connsiteY2" fmla="*/ 1314036 h 1725407"/>
                <a:gd name="connsiteX3" fmla="*/ 800410 w 1629088"/>
                <a:gd name="connsiteY3" fmla="*/ 1221948 h 1725407"/>
                <a:gd name="connsiteX4" fmla="*/ 749342 w 1629088"/>
                <a:gd name="connsiteY4" fmla="*/ 1200616 h 1725407"/>
                <a:gd name="connsiteX5" fmla="*/ 684051 w 1629088"/>
                <a:gd name="connsiteY5" fmla="*/ 1265906 h 1725407"/>
                <a:gd name="connsiteX6" fmla="*/ 669124 w 1629088"/>
                <a:gd name="connsiteY6" fmla="*/ 1272077 h 1725407"/>
                <a:gd name="connsiteX7" fmla="*/ 669124 w 1629088"/>
                <a:gd name="connsiteY7" fmla="*/ 1272077 h 1725407"/>
                <a:gd name="connsiteX8" fmla="*/ 654197 w 1629088"/>
                <a:gd name="connsiteY8" fmla="*/ 1265906 h 1725407"/>
                <a:gd name="connsiteX9" fmla="*/ 539484 w 1629088"/>
                <a:gd name="connsiteY9" fmla="*/ 1151192 h 1725407"/>
                <a:gd name="connsiteX10" fmla="*/ 539484 w 1629088"/>
                <a:gd name="connsiteY10" fmla="*/ 1121221 h 1725407"/>
                <a:gd name="connsiteX11" fmla="*/ 604598 w 1629088"/>
                <a:gd name="connsiteY11" fmla="*/ 1056166 h 1725407"/>
                <a:gd name="connsiteX12" fmla="*/ 583618 w 1629088"/>
                <a:gd name="connsiteY12" fmla="*/ 1004979 h 1725407"/>
                <a:gd name="connsiteX13" fmla="*/ 491294 w 1629088"/>
                <a:gd name="connsiteY13" fmla="*/ 1004979 h 1725407"/>
                <a:gd name="connsiteX14" fmla="*/ 470138 w 1629088"/>
                <a:gd name="connsiteY14" fmla="*/ 983823 h 1725407"/>
                <a:gd name="connsiteX15" fmla="*/ 470138 w 1629088"/>
                <a:gd name="connsiteY15" fmla="*/ 821625 h 1725407"/>
                <a:gd name="connsiteX16" fmla="*/ 491294 w 1629088"/>
                <a:gd name="connsiteY16" fmla="*/ 800469 h 1725407"/>
                <a:gd name="connsiteX17" fmla="*/ 583383 w 1629088"/>
                <a:gd name="connsiteY17" fmla="*/ 800469 h 1725407"/>
                <a:gd name="connsiteX18" fmla="*/ 604715 w 1629088"/>
                <a:gd name="connsiteY18" fmla="*/ 749400 h 1725407"/>
                <a:gd name="connsiteX19" fmla="*/ 539484 w 1629088"/>
                <a:gd name="connsiteY19" fmla="*/ 684051 h 1725407"/>
                <a:gd name="connsiteX20" fmla="*/ 539484 w 1629088"/>
                <a:gd name="connsiteY20" fmla="*/ 654139 h 1725407"/>
                <a:gd name="connsiteX21" fmla="*/ 654139 w 1629088"/>
                <a:gd name="connsiteY21" fmla="*/ 539425 h 1725407"/>
                <a:gd name="connsiteX22" fmla="*/ 684051 w 1629088"/>
                <a:gd name="connsiteY22" fmla="*/ 539425 h 1725407"/>
                <a:gd name="connsiteX23" fmla="*/ 749165 w 1629088"/>
                <a:gd name="connsiteY23" fmla="*/ 604598 h 1725407"/>
                <a:gd name="connsiteX24" fmla="*/ 800410 w 1629088"/>
                <a:gd name="connsiteY24" fmla="*/ 583618 h 1725407"/>
                <a:gd name="connsiteX25" fmla="*/ 800410 w 1629088"/>
                <a:gd name="connsiteY25" fmla="*/ 491294 h 1725407"/>
                <a:gd name="connsiteX26" fmla="*/ 821567 w 1629088"/>
                <a:gd name="connsiteY26" fmla="*/ 470138 h 1725407"/>
                <a:gd name="connsiteX27" fmla="*/ 983764 w 1629088"/>
                <a:gd name="connsiteY27" fmla="*/ 470138 h 1725407"/>
                <a:gd name="connsiteX28" fmla="*/ 1004921 w 1629088"/>
                <a:gd name="connsiteY28" fmla="*/ 491294 h 1725407"/>
                <a:gd name="connsiteX29" fmla="*/ 1004921 w 1629088"/>
                <a:gd name="connsiteY29" fmla="*/ 583383 h 1725407"/>
                <a:gd name="connsiteX30" fmla="*/ 1055931 w 1629088"/>
                <a:gd name="connsiteY30" fmla="*/ 604715 h 1725407"/>
                <a:gd name="connsiteX31" fmla="*/ 1121162 w 1629088"/>
                <a:gd name="connsiteY31" fmla="*/ 539425 h 1725407"/>
                <a:gd name="connsiteX32" fmla="*/ 1151134 w 1629088"/>
                <a:gd name="connsiteY32" fmla="*/ 539425 h 1725407"/>
                <a:gd name="connsiteX33" fmla="*/ 1265847 w 1629088"/>
                <a:gd name="connsiteY33" fmla="*/ 654139 h 1725407"/>
                <a:gd name="connsiteX34" fmla="*/ 1272018 w 1629088"/>
                <a:gd name="connsiteY34" fmla="*/ 669066 h 1725407"/>
                <a:gd name="connsiteX35" fmla="*/ 1265847 w 1629088"/>
                <a:gd name="connsiteY35" fmla="*/ 683992 h 1725407"/>
                <a:gd name="connsiteX36" fmla="*/ 1200674 w 1629088"/>
                <a:gd name="connsiteY36" fmla="*/ 749107 h 1725407"/>
                <a:gd name="connsiteX37" fmla="*/ 1221654 w 1629088"/>
                <a:gd name="connsiteY37" fmla="*/ 800352 h 1725407"/>
                <a:gd name="connsiteX38" fmla="*/ 1314036 w 1629088"/>
                <a:gd name="connsiteY38" fmla="*/ 800352 h 1725407"/>
                <a:gd name="connsiteX39" fmla="*/ 1335193 w 1629088"/>
                <a:gd name="connsiteY39" fmla="*/ 821508 h 1725407"/>
                <a:gd name="connsiteX40" fmla="*/ 1335193 w 1629088"/>
                <a:gd name="connsiteY40" fmla="*/ 983706 h 1725407"/>
                <a:gd name="connsiteX41" fmla="*/ 1314036 w 1629088"/>
                <a:gd name="connsiteY41" fmla="*/ 1004862 h 1725407"/>
                <a:gd name="connsiteX42" fmla="*/ 1221948 w 1629088"/>
                <a:gd name="connsiteY42" fmla="*/ 1004862 h 1725407"/>
                <a:gd name="connsiteX43" fmla="*/ 1200616 w 1629088"/>
                <a:gd name="connsiteY43" fmla="*/ 1055872 h 1725407"/>
                <a:gd name="connsiteX44" fmla="*/ 1265906 w 1629088"/>
                <a:gd name="connsiteY44" fmla="*/ 1121103 h 1725407"/>
                <a:gd name="connsiteX45" fmla="*/ 1272077 w 1629088"/>
                <a:gd name="connsiteY45" fmla="*/ 1136089 h 1725407"/>
                <a:gd name="connsiteX46" fmla="*/ 1265906 w 1629088"/>
                <a:gd name="connsiteY46" fmla="*/ 1151075 h 1725407"/>
                <a:gd name="connsiteX47" fmla="*/ 1151192 w 1629088"/>
                <a:gd name="connsiteY47" fmla="*/ 1265789 h 1725407"/>
                <a:gd name="connsiteX48" fmla="*/ 1136207 w 1629088"/>
                <a:gd name="connsiteY48" fmla="*/ 1271959 h 1725407"/>
                <a:gd name="connsiteX49" fmla="*/ 1136207 w 1629088"/>
                <a:gd name="connsiteY49" fmla="*/ 1271959 h 1725407"/>
                <a:gd name="connsiteX50" fmla="*/ 1121221 w 1629088"/>
                <a:gd name="connsiteY50" fmla="*/ 1265789 h 1725407"/>
                <a:gd name="connsiteX51" fmla="*/ 1056166 w 1629088"/>
                <a:gd name="connsiteY51" fmla="*/ 1200616 h 1725407"/>
                <a:gd name="connsiteX52" fmla="*/ 1004979 w 1629088"/>
                <a:gd name="connsiteY52" fmla="*/ 1221596 h 1725407"/>
                <a:gd name="connsiteX53" fmla="*/ 1004979 w 1629088"/>
                <a:gd name="connsiteY53" fmla="*/ 1314036 h 1725407"/>
                <a:gd name="connsiteX54" fmla="*/ 983764 w 1629088"/>
                <a:gd name="connsiteY54" fmla="*/ 1335193 h 1725407"/>
                <a:gd name="connsiteX55" fmla="*/ 842723 w 1629088"/>
                <a:gd name="connsiteY55" fmla="*/ 1292880 h 1725407"/>
                <a:gd name="connsiteX56" fmla="*/ 962608 w 1629088"/>
                <a:gd name="connsiteY56" fmla="*/ 1292880 h 1725407"/>
                <a:gd name="connsiteX57" fmla="*/ 962608 w 1629088"/>
                <a:gd name="connsiteY57" fmla="*/ 1207550 h 1725407"/>
                <a:gd name="connsiteX58" fmla="*/ 975772 w 1629088"/>
                <a:gd name="connsiteY58" fmla="*/ 1187981 h 1725407"/>
                <a:gd name="connsiteX59" fmla="*/ 1053110 w 1629088"/>
                <a:gd name="connsiteY59" fmla="*/ 1156246 h 1725407"/>
                <a:gd name="connsiteX60" fmla="*/ 1076146 w 1629088"/>
                <a:gd name="connsiteY60" fmla="*/ 1160830 h 1725407"/>
                <a:gd name="connsiteX61" fmla="*/ 1136207 w 1629088"/>
                <a:gd name="connsiteY61" fmla="*/ 1221008 h 1725407"/>
                <a:gd name="connsiteX62" fmla="*/ 1221008 w 1629088"/>
                <a:gd name="connsiteY62" fmla="*/ 1136207 h 1725407"/>
                <a:gd name="connsiteX63" fmla="*/ 1160595 w 1629088"/>
                <a:gd name="connsiteY63" fmla="*/ 1075911 h 1725407"/>
                <a:gd name="connsiteX64" fmla="*/ 1156070 w 1629088"/>
                <a:gd name="connsiteY64" fmla="*/ 1052757 h 1725407"/>
                <a:gd name="connsiteX65" fmla="*/ 1188392 w 1629088"/>
                <a:gd name="connsiteY65" fmla="*/ 975654 h 1725407"/>
                <a:gd name="connsiteX66" fmla="*/ 1207903 w 1629088"/>
                <a:gd name="connsiteY66" fmla="*/ 962608 h 1725407"/>
                <a:gd name="connsiteX67" fmla="*/ 1292880 w 1629088"/>
                <a:gd name="connsiteY67" fmla="*/ 962608 h 1725407"/>
                <a:gd name="connsiteX68" fmla="*/ 1292880 w 1629088"/>
                <a:gd name="connsiteY68" fmla="*/ 842723 h 1725407"/>
                <a:gd name="connsiteX69" fmla="*/ 1207550 w 1629088"/>
                <a:gd name="connsiteY69" fmla="*/ 842723 h 1725407"/>
                <a:gd name="connsiteX70" fmla="*/ 1187981 w 1629088"/>
                <a:gd name="connsiteY70" fmla="*/ 829618 h 1725407"/>
                <a:gd name="connsiteX71" fmla="*/ 1156246 w 1629088"/>
                <a:gd name="connsiteY71" fmla="*/ 752280 h 1725407"/>
                <a:gd name="connsiteX72" fmla="*/ 1160830 w 1629088"/>
                <a:gd name="connsiteY72" fmla="*/ 729302 h 1725407"/>
                <a:gd name="connsiteX73" fmla="*/ 1221008 w 1629088"/>
                <a:gd name="connsiteY73" fmla="*/ 669183 h 1725407"/>
                <a:gd name="connsiteX74" fmla="*/ 1136207 w 1629088"/>
                <a:gd name="connsiteY74" fmla="*/ 584382 h 1725407"/>
                <a:gd name="connsiteX75" fmla="*/ 1075911 w 1629088"/>
                <a:gd name="connsiteY75" fmla="*/ 644736 h 1725407"/>
                <a:gd name="connsiteX76" fmla="*/ 1052757 w 1629088"/>
                <a:gd name="connsiteY76" fmla="*/ 649320 h 1725407"/>
                <a:gd name="connsiteX77" fmla="*/ 975654 w 1629088"/>
                <a:gd name="connsiteY77" fmla="*/ 617057 h 1725407"/>
                <a:gd name="connsiteX78" fmla="*/ 962608 w 1629088"/>
                <a:gd name="connsiteY78" fmla="*/ 597546 h 1725407"/>
                <a:gd name="connsiteX79" fmla="*/ 962608 w 1629088"/>
                <a:gd name="connsiteY79" fmla="*/ 512451 h 1725407"/>
                <a:gd name="connsiteX80" fmla="*/ 842723 w 1629088"/>
                <a:gd name="connsiteY80" fmla="*/ 512451 h 1725407"/>
                <a:gd name="connsiteX81" fmla="*/ 842723 w 1629088"/>
                <a:gd name="connsiteY81" fmla="*/ 597781 h 1725407"/>
                <a:gd name="connsiteX82" fmla="*/ 829618 w 1629088"/>
                <a:gd name="connsiteY82" fmla="*/ 617350 h 1725407"/>
                <a:gd name="connsiteX83" fmla="*/ 752280 w 1629088"/>
                <a:gd name="connsiteY83" fmla="*/ 649085 h 1725407"/>
                <a:gd name="connsiteX84" fmla="*/ 729302 w 1629088"/>
                <a:gd name="connsiteY84" fmla="*/ 644442 h 1725407"/>
                <a:gd name="connsiteX85" fmla="*/ 669183 w 1629088"/>
                <a:gd name="connsiteY85" fmla="*/ 584323 h 1725407"/>
                <a:gd name="connsiteX86" fmla="*/ 584441 w 1629088"/>
                <a:gd name="connsiteY86" fmla="*/ 669124 h 1725407"/>
                <a:gd name="connsiteX87" fmla="*/ 644795 w 1629088"/>
                <a:gd name="connsiteY87" fmla="*/ 729537 h 1725407"/>
                <a:gd name="connsiteX88" fmla="*/ 649320 w 1629088"/>
                <a:gd name="connsiteY88" fmla="*/ 752691 h 1725407"/>
                <a:gd name="connsiteX89" fmla="*/ 617057 w 1629088"/>
                <a:gd name="connsiteY89" fmla="*/ 829794 h 1725407"/>
                <a:gd name="connsiteX90" fmla="*/ 597546 w 1629088"/>
                <a:gd name="connsiteY90" fmla="*/ 842782 h 1725407"/>
                <a:gd name="connsiteX91" fmla="*/ 512451 w 1629088"/>
                <a:gd name="connsiteY91" fmla="*/ 842782 h 1725407"/>
                <a:gd name="connsiteX92" fmla="*/ 512451 w 1629088"/>
                <a:gd name="connsiteY92" fmla="*/ 962667 h 1725407"/>
                <a:gd name="connsiteX93" fmla="*/ 597781 w 1629088"/>
                <a:gd name="connsiteY93" fmla="*/ 962667 h 1725407"/>
                <a:gd name="connsiteX94" fmla="*/ 617350 w 1629088"/>
                <a:gd name="connsiteY94" fmla="*/ 975831 h 1725407"/>
                <a:gd name="connsiteX95" fmla="*/ 649085 w 1629088"/>
                <a:gd name="connsiteY95" fmla="*/ 1053169 h 1725407"/>
                <a:gd name="connsiteX96" fmla="*/ 644442 w 1629088"/>
                <a:gd name="connsiteY96" fmla="*/ 1076205 h 1725407"/>
                <a:gd name="connsiteX97" fmla="*/ 584382 w 1629088"/>
                <a:gd name="connsiteY97" fmla="*/ 1136265 h 1725407"/>
                <a:gd name="connsiteX98" fmla="*/ 669124 w 1629088"/>
                <a:gd name="connsiteY98" fmla="*/ 1221067 h 1725407"/>
                <a:gd name="connsiteX99" fmla="*/ 729537 w 1629088"/>
                <a:gd name="connsiteY99" fmla="*/ 1160654 h 1725407"/>
                <a:gd name="connsiteX100" fmla="*/ 752691 w 1629088"/>
                <a:gd name="connsiteY100" fmla="*/ 1156129 h 1725407"/>
                <a:gd name="connsiteX101" fmla="*/ 829794 w 1629088"/>
                <a:gd name="connsiteY101" fmla="*/ 1188451 h 1725407"/>
                <a:gd name="connsiteX102" fmla="*/ 842782 w 1629088"/>
                <a:gd name="connsiteY102" fmla="*/ 1207962 h 1725407"/>
                <a:gd name="connsiteX103" fmla="*/ 842723 w 1629088"/>
                <a:gd name="connsiteY103" fmla="*/ 1292880 h 1725407"/>
                <a:gd name="connsiteX104" fmla="*/ 842723 w 1629088"/>
                <a:gd name="connsiteY104" fmla="*/ 1292880 h 1725407"/>
                <a:gd name="connsiteX105" fmla="*/ 902665 w 1629088"/>
                <a:gd name="connsiteY105" fmla="*/ 1100124 h 1725407"/>
                <a:gd name="connsiteX106" fmla="*/ 705207 w 1629088"/>
                <a:gd name="connsiteY106" fmla="*/ 902665 h 1725407"/>
                <a:gd name="connsiteX107" fmla="*/ 902665 w 1629088"/>
                <a:gd name="connsiteY107" fmla="*/ 705207 h 1725407"/>
                <a:gd name="connsiteX108" fmla="*/ 1100124 w 1629088"/>
                <a:gd name="connsiteY108" fmla="*/ 902665 h 1725407"/>
                <a:gd name="connsiteX109" fmla="*/ 902665 w 1629088"/>
                <a:gd name="connsiteY109" fmla="*/ 1100124 h 1725407"/>
                <a:gd name="connsiteX110" fmla="*/ 902665 w 1629088"/>
                <a:gd name="connsiteY110" fmla="*/ 747520 h 1725407"/>
                <a:gd name="connsiteX111" fmla="*/ 747520 w 1629088"/>
                <a:gd name="connsiteY111" fmla="*/ 902665 h 1725407"/>
                <a:gd name="connsiteX112" fmla="*/ 902665 w 1629088"/>
                <a:gd name="connsiteY112" fmla="*/ 1057811 h 1725407"/>
                <a:gd name="connsiteX113" fmla="*/ 1057811 w 1629088"/>
                <a:gd name="connsiteY113" fmla="*/ 902665 h 1725407"/>
                <a:gd name="connsiteX114" fmla="*/ 902665 w 1629088"/>
                <a:gd name="connsiteY114" fmla="*/ 747520 h 1725407"/>
                <a:gd name="connsiteX115" fmla="*/ 491294 w 1629088"/>
                <a:gd name="connsiteY115" fmla="*/ 1410415 h 1725407"/>
                <a:gd name="connsiteX116" fmla="*/ 218614 w 1629088"/>
                <a:gd name="connsiteY116" fmla="*/ 1725407 h 1725407"/>
                <a:gd name="connsiteX117" fmla="*/ 176302 w 1629088"/>
                <a:gd name="connsiteY117" fmla="*/ 1725407 h 1725407"/>
                <a:gd name="connsiteX118" fmla="*/ 176302 w 1629088"/>
                <a:gd name="connsiteY118" fmla="*/ 1410415 h 1725407"/>
                <a:gd name="connsiteX119" fmla="*/ 491294 w 1629088"/>
                <a:gd name="connsiteY119" fmla="*/ 1410415 h 1725407"/>
                <a:gd name="connsiteX120" fmla="*/ 42312 w 1629088"/>
                <a:gd name="connsiteY120" fmla="*/ 902665 h 1725407"/>
                <a:gd name="connsiteX121" fmla="*/ 0 w 1629088"/>
                <a:gd name="connsiteY121" fmla="*/ 902665 h 1725407"/>
                <a:gd name="connsiteX122" fmla="*/ 902665 w 1629088"/>
                <a:gd name="connsiteY122" fmla="*/ 0 h 1725407"/>
                <a:gd name="connsiteX123" fmla="*/ 1586717 w 1629088"/>
                <a:gd name="connsiteY123" fmla="*/ 313641 h 1725407"/>
                <a:gd name="connsiteX124" fmla="*/ 1586717 w 1629088"/>
                <a:gd name="connsiteY124" fmla="*/ 79924 h 1725407"/>
                <a:gd name="connsiteX125" fmla="*/ 1629088 w 1629088"/>
                <a:gd name="connsiteY125" fmla="*/ 79924 h 1725407"/>
                <a:gd name="connsiteX126" fmla="*/ 1629088 w 1629088"/>
                <a:gd name="connsiteY126" fmla="*/ 394916 h 1725407"/>
                <a:gd name="connsiteX127" fmla="*/ 1314036 w 1629088"/>
                <a:gd name="connsiteY127" fmla="*/ 394916 h 1725407"/>
                <a:gd name="connsiteX128" fmla="*/ 1314036 w 1629088"/>
                <a:gd name="connsiteY128" fmla="*/ 352604 h 1725407"/>
                <a:gd name="connsiteX129" fmla="*/ 1564209 w 1629088"/>
                <a:gd name="connsiteY129" fmla="*/ 352604 h 1725407"/>
                <a:gd name="connsiteX130" fmla="*/ 902665 w 1629088"/>
                <a:gd name="connsiteY130" fmla="*/ 42312 h 1725407"/>
                <a:gd name="connsiteX131" fmla="*/ 42312 w 1629088"/>
                <a:gd name="connsiteY131" fmla="*/ 902665 h 1725407"/>
                <a:gd name="connsiteX0" fmla="*/ 983764 w 1629088"/>
                <a:gd name="connsiteY0" fmla="*/ 1335193 h 1725407"/>
                <a:gd name="connsiteX1" fmla="*/ 821567 w 1629088"/>
                <a:gd name="connsiteY1" fmla="*/ 1335193 h 1725407"/>
                <a:gd name="connsiteX2" fmla="*/ 800410 w 1629088"/>
                <a:gd name="connsiteY2" fmla="*/ 1314036 h 1725407"/>
                <a:gd name="connsiteX3" fmla="*/ 800410 w 1629088"/>
                <a:gd name="connsiteY3" fmla="*/ 1221948 h 1725407"/>
                <a:gd name="connsiteX4" fmla="*/ 749342 w 1629088"/>
                <a:gd name="connsiteY4" fmla="*/ 1200616 h 1725407"/>
                <a:gd name="connsiteX5" fmla="*/ 684051 w 1629088"/>
                <a:gd name="connsiteY5" fmla="*/ 1265906 h 1725407"/>
                <a:gd name="connsiteX6" fmla="*/ 669124 w 1629088"/>
                <a:gd name="connsiteY6" fmla="*/ 1272077 h 1725407"/>
                <a:gd name="connsiteX7" fmla="*/ 669124 w 1629088"/>
                <a:gd name="connsiteY7" fmla="*/ 1272077 h 1725407"/>
                <a:gd name="connsiteX8" fmla="*/ 654197 w 1629088"/>
                <a:gd name="connsiteY8" fmla="*/ 1265906 h 1725407"/>
                <a:gd name="connsiteX9" fmla="*/ 539484 w 1629088"/>
                <a:gd name="connsiteY9" fmla="*/ 1151192 h 1725407"/>
                <a:gd name="connsiteX10" fmla="*/ 539484 w 1629088"/>
                <a:gd name="connsiteY10" fmla="*/ 1121221 h 1725407"/>
                <a:gd name="connsiteX11" fmla="*/ 604598 w 1629088"/>
                <a:gd name="connsiteY11" fmla="*/ 1056166 h 1725407"/>
                <a:gd name="connsiteX12" fmla="*/ 583618 w 1629088"/>
                <a:gd name="connsiteY12" fmla="*/ 1004979 h 1725407"/>
                <a:gd name="connsiteX13" fmla="*/ 491294 w 1629088"/>
                <a:gd name="connsiteY13" fmla="*/ 1004979 h 1725407"/>
                <a:gd name="connsiteX14" fmla="*/ 470138 w 1629088"/>
                <a:gd name="connsiteY14" fmla="*/ 983823 h 1725407"/>
                <a:gd name="connsiteX15" fmla="*/ 470138 w 1629088"/>
                <a:gd name="connsiteY15" fmla="*/ 821625 h 1725407"/>
                <a:gd name="connsiteX16" fmla="*/ 491294 w 1629088"/>
                <a:gd name="connsiteY16" fmla="*/ 800469 h 1725407"/>
                <a:gd name="connsiteX17" fmla="*/ 583383 w 1629088"/>
                <a:gd name="connsiteY17" fmla="*/ 800469 h 1725407"/>
                <a:gd name="connsiteX18" fmla="*/ 604715 w 1629088"/>
                <a:gd name="connsiteY18" fmla="*/ 749400 h 1725407"/>
                <a:gd name="connsiteX19" fmla="*/ 539484 w 1629088"/>
                <a:gd name="connsiteY19" fmla="*/ 684051 h 1725407"/>
                <a:gd name="connsiteX20" fmla="*/ 539484 w 1629088"/>
                <a:gd name="connsiteY20" fmla="*/ 654139 h 1725407"/>
                <a:gd name="connsiteX21" fmla="*/ 654139 w 1629088"/>
                <a:gd name="connsiteY21" fmla="*/ 539425 h 1725407"/>
                <a:gd name="connsiteX22" fmla="*/ 684051 w 1629088"/>
                <a:gd name="connsiteY22" fmla="*/ 539425 h 1725407"/>
                <a:gd name="connsiteX23" fmla="*/ 749165 w 1629088"/>
                <a:gd name="connsiteY23" fmla="*/ 604598 h 1725407"/>
                <a:gd name="connsiteX24" fmla="*/ 800410 w 1629088"/>
                <a:gd name="connsiteY24" fmla="*/ 583618 h 1725407"/>
                <a:gd name="connsiteX25" fmla="*/ 800410 w 1629088"/>
                <a:gd name="connsiteY25" fmla="*/ 491294 h 1725407"/>
                <a:gd name="connsiteX26" fmla="*/ 821567 w 1629088"/>
                <a:gd name="connsiteY26" fmla="*/ 470138 h 1725407"/>
                <a:gd name="connsiteX27" fmla="*/ 983764 w 1629088"/>
                <a:gd name="connsiteY27" fmla="*/ 470138 h 1725407"/>
                <a:gd name="connsiteX28" fmla="*/ 1004921 w 1629088"/>
                <a:gd name="connsiteY28" fmla="*/ 491294 h 1725407"/>
                <a:gd name="connsiteX29" fmla="*/ 1004921 w 1629088"/>
                <a:gd name="connsiteY29" fmla="*/ 583383 h 1725407"/>
                <a:gd name="connsiteX30" fmla="*/ 1055931 w 1629088"/>
                <a:gd name="connsiteY30" fmla="*/ 604715 h 1725407"/>
                <a:gd name="connsiteX31" fmla="*/ 1121162 w 1629088"/>
                <a:gd name="connsiteY31" fmla="*/ 539425 h 1725407"/>
                <a:gd name="connsiteX32" fmla="*/ 1151134 w 1629088"/>
                <a:gd name="connsiteY32" fmla="*/ 539425 h 1725407"/>
                <a:gd name="connsiteX33" fmla="*/ 1265847 w 1629088"/>
                <a:gd name="connsiteY33" fmla="*/ 654139 h 1725407"/>
                <a:gd name="connsiteX34" fmla="*/ 1272018 w 1629088"/>
                <a:gd name="connsiteY34" fmla="*/ 669066 h 1725407"/>
                <a:gd name="connsiteX35" fmla="*/ 1265847 w 1629088"/>
                <a:gd name="connsiteY35" fmla="*/ 683992 h 1725407"/>
                <a:gd name="connsiteX36" fmla="*/ 1200674 w 1629088"/>
                <a:gd name="connsiteY36" fmla="*/ 749107 h 1725407"/>
                <a:gd name="connsiteX37" fmla="*/ 1221654 w 1629088"/>
                <a:gd name="connsiteY37" fmla="*/ 800352 h 1725407"/>
                <a:gd name="connsiteX38" fmla="*/ 1314036 w 1629088"/>
                <a:gd name="connsiteY38" fmla="*/ 800352 h 1725407"/>
                <a:gd name="connsiteX39" fmla="*/ 1335193 w 1629088"/>
                <a:gd name="connsiteY39" fmla="*/ 821508 h 1725407"/>
                <a:gd name="connsiteX40" fmla="*/ 1335193 w 1629088"/>
                <a:gd name="connsiteY40" fmla="*/ 983706 h 1725407"/>
                <a:gd name="connsiteX41" fmla="*/ 1314036 w 1629088"/>
                <a:gd name="connsiteY41" fmla="*/ 1004862 h 1725407"/>
                <a:gd name="connsiteX42" fmla="*/ 1221948 w 1629088"/>
                <a:gd name="connsiteY42" fmla="*/ 1004862 h 1725407"/>
                <a:gd name="connsiteX43" fmla="*/ 1200616 w 1629088"/>
                <a:gd name="connsiteY43" fmla="*/ 1055872 h 1725407"/>
                <a:gd name="connsiteX44" fmla="*/ 1265906 w 1629088"/>
                <a:gd name="connsiteY44" fmla="*/ 1121103 h 1725407"/>
                <a:gd name="connsiteX45" fmla="*/ 1272077 w 1629088"/>
                <a:gd name="connsiteY45" fmla="*/ 1136089 h 1725407"/>
                <a:gd name="connsiteX46" fmla="*/ 1265906 w 1629088"/>
                <a:gd name="connsiteY46" fmla="*/ 1151075 h 1725407"/>
                <a:gd name="connsiteX47" fmla="*/ 1151192 w 1629088"/>
                <a:gd name="connsiteY47" fmla="*/ 1265789 h 1725407"/>
                <a:gd name="connsiteX48" fmla="*/ 1136207 w 1629088"/>
                <a:gd name="connsiteY48" fmla="*/ 1271959 h 1725407"/>
                <a:gd name="connsiteX49" fmla="*/ 1136207 w 1629088"/>
                <a:gd name="connsiteY49" fmla="*/ 1271959 h 1725407"/>
                <a:gd name="connsiteX50" fmla="*/ 1121221 w 1629088"/>
                <a:gd name="connsiteY50" fmla="*/ 1265789 h 1725407"/>
                <a:gd name="connsiteX51" fmla="*/ 1056166 w 1629088"/>
                <a:gd name="connsiteY51" fmla="*/ 1200616 h 1725407"/>
                <a:gd name="connsiteX52" fmla="*/ 1004979 w 1629088"/>
                <a:gd name="connsiteY52" fmla="*/ 1221596 h 1725407"/>
                <a:gd name="connsiteX53" fmla="*/ 1004979 w 1629088"/>
                <a:gd name="connsiteY53" fmla="*/ 1314036 h 1725407"/>
                <a:gd name="connsiteX54" fmla="*/ 983764 w 1629088"/>
                <a:gd name="connsiteY54" fmla="*/ 1335193 h 1725407"/>
                <a:gd name="connsiteX55" fmla="*/ 842723 w 1629088"/>
                <a:gd name="connsiteY55" fmla="*/ 1292880 h 1725407"/>
                <a:gd name="connsiteX56" fmla="*/ 962608 w 1629088"/>
                <a:gd name="connsiteY56" fmla="*/ 1292880 h 1725407"/>
                <a:gd name="connsiteX57" fmla="*/ 962608 w 1629088"/>
                <a:gd name="connsiteY57" fmla="*/ 1207550 h 1725407"/>
                <a:gd name="connsiteX58" fmla="*/ 975772 w 1629088"/>
                <a:gd name="connsiteY58" fmla="*/ 1187981 h 1725407"/>
                <a:gd name="connsiteX59" fmla="*/ 1053110 w 1629088"/>
                <a:gd name="connsiteY59" fmla="*/ 1156246 h 1725407"/>
                <a:gd name="connsiteX60" fmla="*/ 1076146 w 1629088"/>
                <a:gd name="connsiteY60" fmla="*/ 1160830 h 1725407"/>
                <a:gd name="connsiteX61" fmla="*/ 1136207 w 1629088"/>
                <a:gd name="connsiteY61" fmla="*/ 1221008 h 1725407"/>
                <a:gd name="connsiteX62" fmla="*/ 1221008 w 1629088"/>
                <a:gd name="connsiteY62" fmla="*/ 1136207 h 1725407"/>
                <a:gd name="connsiteX63" fmla="*/ 1160595 w 1629088"/>
                <a:gd name="connsiteY63" fmla="*/ 1075911 h 1725407"/>
                <a:gd name="connsiteX64" fmla="*/ 1156070 w 1629088"/>
                <a:gd name="connsiteY64" fmla="*/ 1052757 h 1725407"/>
                <a:gd name="connsiteX65" fmla="*/ 1188392 w 1629088"/>
                <a:gd name="connsiteY65" fmla="*/ 975654 h 1725407"/>
                <a:gd name="connsiteX66" fmla="*/ 1207903 w 1629088"/>
                <a:gd name="connsiteY66" fmla="*/ 962608 h 1725407"/>
                <a:gd name="connsiteX67" fmla="*/ 1292880 w 1629088"/>
                <a:gd name="connsiteY67" fmla="*/ 962608 h 1725407"/>
                <a:gd name="connsiteX68" fmla="*/ 1292880 w 1629088"/>
                <a:gd name="connsiteY68" fmla="*/ 842723 h 1725407"/>
                <a:gd name="connsiteX69" fmla="*/ 1207550 w 1629088"/>
                <a:gd name="connsiteY69" fmla="*/ 842723 h 1725407"/>
                <a:gd name="connsiteX70" fmla="*/ 1187981 w 1629088"/>
                <a:gd name="connsiteY70" fmla="*/ 829618 h 1725407"/>
                <a:gd name="connsiteX71" fmla="*/ 1156246 w 1629088"/>
                <a:gd name="connsiteY71" fmla="*/ 752280 h 1725407"/>
                <a:gd name="connsiteX72" fmla="*/ 1160830 w 1629088"/>
                <a:gd name="connsiteY72" fmla="*/ 729302 h 1725407"/>
                <a:gd name="connsiteX73" fmla="*/ 1221008 w 1629088"/>
                <a:gd name="connsiteY73" fmla="*/ 669183 h 1725407"/>
                <a:gd name="connsiteX74" fmla="*/ 1136207 w 1629088"/>
                <a:gd name="connsiteY74" fmla="*/ 584382 h 1725407"/>
                <a:gd name="connsiteX75" fmla="*/ 1075911 w 1629088"/>
                <a:gd name="connsiteY75" fmla="*/ 644736 h 1725407"/>
                <a:gd name="connsiteX76" fmla="*/ 1052757 w 1629088"/>
                <a:gd name="connsiteY76" fmla="*/ 649320 h 1725407"/>
                <a:gd name="connsiteX77" fmla="*/ 975654 w 1629088"/>
                <a:gd name="connsiteY77" fmla="*/ 617057 h 1725407"/>
                <a:gd name="connsiteX78" fmla="*/ 962608 w 1629088"/>
                <a:gd name="connsiteY78" fmla="*/ 597546 h 1725407"/>
                <a:gd name="connsiteX79" fmla="*/ 962608 w 1629088"/>
                <a:gd name="connsiteY79" fmla="*/ 512451 h 1725407"/>
                <a:gd name="connsiteX80" fmla="*/ 842723 w 1629088"/>
                <a:gd name="connsiteY80" fmla="*/ 512451 h 1725407"/>
                <a:gd name="connsiteX81" fmla="*/ 842723 w 1629088"/>
                <a:gd name="connsiteY81" fmla="*/ 597781 h 1725407"/>
                <a:gd name="connsiteX82" fmla="*/ 829618 w 1629088"/>
                <a:gd name="connsiteY82" fmla="*/ 617350 h 1725407"/>
                <a:gd name="connsiteX83" fmla="*/ 752280 w 1629088"/>
                <a:gd name="connsiteY83" fmla="*/ 649085 h 1725407"/>
                <a:gd name="connsiteX84" fmla="*/ 729302 w 1629088"/>
                <a:gd name="connsiteY84" fmla="*/ 644442 h 1725407"/>
                <a:gd name="connsiteX85" fmla="*/ 669183 w 1629088"/>
                <a:gd name="connsiteY85" fmla="*/ 584323 h 1725407"/>
                <a:gd name="connsiteX86" fmla="*/ 584441 w 1629088"/>
                <a:gd name="connsiteY86" fmla="*/ 669124 h 1725407"/>
                <a:gd name="connsiteX87" fmla="*/ 644795 w 1629088"/>
                <a:gd name="connsiteY87" fmla="*/ 729537 h 1725407"/>
                <a:gd name="connsiteX88" fmla="*/ 649320 w 1629088"/>
                <a:gd name="connsiteY88" fmla="*/ 752691 h 1725407"/>
                <a:gd name="connsiteX89" fmla="*/ 617057 w 1629088"/>
                <a:gd name="connsiteY89" fmla="*/ 829794 h 1725407"/>
                <a:gd name="connsiteX90" fmla="*/ 597546 w 1629088"/>
                <a:gd name="connsiteY90" fmla="*/ 842782 h 1725407"/>
                <a:gd name="connsiteX91" fmla="*/ 512451 w 1629088"/>
                <a:gd name="connsiteY91" fmla="*/ 842782 h 1725407"/>
                <a:gd name="connsiteX92" fmla="*/ 512451 w 1629088"/>
                <a:gd name="connsiteY92" fmla="*/ 962667 h 1725407"/>
                <a:gd name="connsiteX93" fmla="*/ 597781 w 1629088"/>
                <a:gd name="connsiteY93" fmla="*/ 962667 h 1725407"/>
                <a:gd name="connsiteX94" fmla="*/ 617350 w 1629088"/>
                <a:gd name="connsiteY94" fmla="*/ 975831 h 1725407"/>
                <a:gd name="connsiteX95" fmla="*/ 649085 w 1629088"/>
                <a:gd name="connsiteY95" fmla="*/ 1053169 h 1725407"/>
                <a:gd name="connsiteX96" fmla="*/ 644442 w 1629088"/>
                <a:gd name="connsiteY96" fmla="*/ 1076205 h 1725407"/>
                <a:gd name="connsiteX97" fmla="*/ 584382 w 1629088"/>
                <a:gd name="connsiteY97" fmla="*/ 1136265 h 1725407"/>
                <a:gd name="connsiteX98" fmla="*/ 669124 w 1629088"/>
                <a:gd name="connsiteY98" fmla="*/ 1221067 h 1725407"/>
                <a:gd name="connsiteX99" fmla="*/ 729537 w 1629088"/>
                <a:gd name="connsiteY99" fmla="*/ 1160654 h 1725407"/>
                <a:gd name="connsiteX100" fmla="*/ 752691 w 1629088"/>
                <a:gd name="connsiteY100" fmla="*/ 1156129 h 1725407"/>
                <a:gd name="connsiteX101" fmla="*/ 829794 w 1629088"/>
                <a:gd name="connsiteY101" fmla="*/ 1188451 h 1725407"/>
                <a:gd name="connsiteX102" fmla="*/ 842782 w 1629088"/>
                <a:gd name="connsiteY102" fmla="*/ 1207962 h 1725407"/>
                <a:gd name="connsiteX103" fmla="*/ 842723 w 1629088"/>
                <a:gd name="connsiteY103" fmla="*/ 1292880 h 1725407"/>
                <a:gd name="connsiteX104" fmla="*/ 842723 w 1629088"/>
                <a:gd name="connsiteY104" fmla="*/ 1292880 h 1725407"/>
                <a:gd name="connsiteX105" fmla="*/ 902665 w 1629088"/>
                <a:gd name="connsiteY105" fmla="*/ 1100124 h 1725407"/>
                <a:gd name="connsiteX106" fmla="*/ 705207 w 1629088"/>
                <a:gd name="connsiteY106" fmla="*/ 902665 h 1725407"/>
                <a:gd name="connsiteX107" fmla="*/ 902665 w 1629088"/>
                <a:gd name="connsiteY107" fmla="*/ 705207 h 1725407"/>
                <a:gd name="connsiteX108" fmla="*/ 1100124 w 1629088"/>
                <a:gd name="connsiteY108" fmla="*/ 902665 h 1725407"/>
                <a:gd name="connsiteX109" fmla="*/ 902665 w 1629088"/>
                <a:gd name="connsiteY109" fmla="*/ 1100124 h 1725407"/>
                <a:gd name="connsiteX110" fmla="*/ 902665 w 1629088"/>
                <a:gd name="connsiteY110" fmla="*/ 747520 h 1725407"/>
                <a:gd name="connsiteX111" fmla="*/ 747520 w 1629088"/>
                <a:gd name="connsiteY111" fmla="*/ 902665 h 1725407"/>
                <a:gd name="connsiteX112" fmla="*/ 902665 w 1629088"/>
                <a:gd name="connsiteY112" fmla="*/ 1057811 h 1725407"/>
                <a:gd name="connsiteX113" fmla="*/ 1057811 w 1629088"/>
                <a:gd name="connsiteY113" fmla="*/ 902665 h 1725407"/>
                <a:gd name="connsiteX114" fmla="*/ 902665 w 1629088"/>
                <a:gd name="connsiteY114" fmla="*/ 747520 h 1725407"/>
                <a:gd name="connsiteX115" fmla="*/ 176302 w 1629088"/>
                <a:gd name="connsiteY115" fmla="*/ 1410415 h 1725407"/>
                <a:gd name="connsiteX116" fmla="*/ 218614 w 1629088"/>
                <a:gd name="connsiteY116" fmla="*/ 1725407 h 1725407"/>
                <a:gd name="connsiteX117" fmla="*/ 176302 w 1629088"/>
                <a:gd name="connsiteY117" fmla="*/ 1725407 h 1725407"/>
                <a:gd name="connsiteX118" fmla="*/ 176302 w 1629088"/>
                <a:gd name="connsiteY118" fmla="*/ 1410415 h 1725407"/>
                <a:gd name="connsiteX119" fmla="*/ 42312 w 1629088"/>
                <a:gd name="connsiteY119" fmla="*/ 902665 h 1725407"/>
                <a:gd name="connsiteX120" fmla="*/ 0 w 1629088"/>
                <a:gd name="connsiteY120" fmla="*/ 902665 h 1725407"/>
                <a:gd name="connsiteX121" fmla="*/ 902665 w 1629088"/>
                <a:gd name="connsiteY121" fmla="*/ 0 h 1725407"/>
                <a:gd name="connsiteX122" fmla="*/ 1586717 w 1629088"/>
                <a:gd name="connsiteY122" fmla="*/ 313641 h 1725407"/>
                <a:gd name="connsiteX123" fmla="*/ 1586717 w 1629088"/>
                <a:gd name="connsiteY123" fmla="*/ 79924 h 1725407"/>
                <a:gd name="connsiteX124" fmla="*/ 1629088 w 1629088"/>
                <a:gd name="connsiteY124" fmla="*/ 79924 h 1725407"/>
                <a:gd name="connsiteX125" fmla="*/ 1629088 w 1629088"/>
                <a:gd name="connsiteY125" fmla="*/ 394916 h 1725407"/>
                <a:gd name="connsiteX126" fmla="*/ 1314036 w 1629088"/>
                <a:gd name="connsiteY126" fmla="*/ 394916 h 1725407"/>
                <a:gd name="connsiteX127" fmla="*/ 1314036 w 1629088"/>
                <a:gd name="connsiteY127" fmla="*/ 352604 h 1725407"/>
                <a:gd name="connsiteX128" fmla="*/ 1564209 w 1629088"/>
                <a:gd name="connsiteY128" fmla="*/ 352604 h 1725407"/>
                <a:gd name="connsiteX129" fmla="*/ 902665 w 1629088"/>
                <a:gd name="connsiteY129" fmla="*/ 42312 h 1725407"/>
                <a:gd name="connsiteX130" fmla="*/ 42312 w 1629088"/>
                <a:gd name="connsiteY130" fmla="*/ 902665 h 1725407"/>
                <a:gd name="connsiteX0" fmla="*/ 983764 w 1629088"/>
                <a:gd name="connsiteY0" fmla="*/ 1335193 h 1725407"/>
                <a:gd name="connsiteX1" fmla="*/ 821567 w 1629088"/>
                <a:gd name="connsiteY1" fmla="*/ 1335193 h 1725407"/>
                <a:gd name="connsiteX2" fmla="*/ 800410 w 1629088"/>
                <a:gd name="connsiteY2" fmla="*/ 1314036 h 1725407"/>
                <a:gd name="connsiteX3" fmla="*/ 800410 w 1629088"/>
                <a:gd name="connsiteY3" fmla="*/ 1221948 h 1725407"/>
                <a:gd name="connsiteX4" fmla="*/ 749342 w 1629088"/>
                <a:gd name="connsiteY4" fmla="*/ 1200616 h 1725407"/>
                <a:gd name="connsiteX5" fmla="*/ 684051 w 1629088"/>
                <a:gd name="connsiteY5" fmla="*/ 1265906 h 1725407"/>
                <a:gd name="connsiteX6" fmla="*/ 669124 w 1629088"/>
                <a:gd name="connsiteY6" fmla="*/ 1272077 h 1725407"/>
                <a:gd name="connsiteX7" fmla="*/ 669124 w 1629088"/>
                <a:gd name="connsiteY7" fmla="*/ 1272077 h 1725407"/>
                <a:gd name="connsiteX8" fmla="*/ 654197 w 1629088"/>
                <a:gd name="connsiteY8" fmla="*/ 1265906 h 1725407"/>
                <a:gd name="connsiteX9" fmla="*/ 539484 w 1629088"/>
                <a:gd name="connsiteY9" fmla="*/ 1151192 h 1725407"/>
                <a:gd name="connsiteX10" fmla="*/ 539484 w 1629088"/>
                <a:gd name="connsiteY10" fmla="*/ 1121221 h 1725407"/>
                <a:gd name="connsiteX11" fmla="*/ 604598 w 1629088"/>
                <a:gd name="connsiteY11" fmla="*/ 1056166 h 1725407"/>
                <a:gd name="connsiteX12" fmla="*/ 583618 w 1629088"/>
                <a:gd name="connsiteY12" fmla="*/ 1004979 h 1725407"/>
                <a:gd name="connsiteX13" fmla="*/ 491294 w 1629088"/>
                <a:gd name="connsiteY13" fmla="*/ 1004979 h 1725407"/>
                <a:gd name="connsiteX14" fmla="*/ 470138 w 1629088"/>
                <a:gd name="connsiteY14" fmla="*/ 983823 h 1725407"/>
                <a:gd name="connsiteX15" fmla="*/ 470138 w 1629088"/>
                <a:gd name="connsiteY15" fmla="*/ 821625 h 1725407"/>
                <a:gd name="connsiteX16" fmla="*/ 491294 w 1629088"/>
                <a:gd name="connsiteY16" fmla="*/ 800469 h 1725407"/>
                <a:gd name="connsiteX17" fmla="*/ 583383 w 1629088"/>
                <a:gd name="connsiteY17" fmla="*/ 800469 h 1725407"/>
                <a:gd name="connsiteX18" fmla="*/ 604715 w 1629088"/>
                <a:gd name="connsiteY18" fmla="*/ 749400 h 1725407"/>
                <a:gd name="connsiteX19" fmla="*/ 539484 w 1629088"/>
                <a:gd name="connsiteY19" fmla="*/ 684051 h 1725407"/>
                <a:gd name="connsiteX20" fmla="*/ 539484 w 1629088"/>
                <a:gd name="connsiteY20" fmla="*/ 654139 h 1725407"/>
                <a:gd name="connsiteX21" fmla="*/ 654139 w 1629088"/>
                <a:gd name="connsiteY21" fmla="*/ 539425 h 1725407"/>
                <a:gd name="connsiteX22" fmla="*/ 684051 w 1629088"/>
                <a:gd name="connsiteY22" fmla="*/ 539425 h 1725407"/>
                <a:gd name="connsiteX23" fmla="*/ 749165 w 1629088"/>
                <a:gd name="connsiteY23" fmla="*/ 604598 h 1725407"/>
                <a:gd name="connsiteX24" fmla="*/ 800410 w 1629088"/>
                <a:gd name="connsiteY24" fmla="*/ 583618 h 1725407"/>
                <a:gd name="connsiteX25" fmla="*/ 800410 w 1629088"/>
                <a:gd name="connsiteY25" fmla="*/ 491294 h 1725407"/>
                <a:gd name="connsiteX26" fmla="*/ 821567 w 1629088"/>
                <a:gd name="connsiteY26" fmla="*/ 470138 h 1725407"/>
                <a:gd name="connsiteX27" fmla="*/ 983764 w 1629088"/>
                <a:gd name="connsiteY27" fmla="*/ 470138 h 1725407"/>
                <a:gd name="connsiteX28" fmla="*/ 1004921 w 1629088"/>
                <a:gd name="connsiteY28" fmla="*/ 491294 h 1725407"/>
                <a:gd name="connsiteX29" fmla="*/ 1004921 w 1629088"/>
                <a:gd name="connsiteY29" fmla="*/ 583383 h 1725407"/>
                <a:gd name="connsiteX30" fmla="*/ 1055931 w 1629088"/>
                <a:gd name="connsiteY30" fmla="*/ 604715 h 1725407"/>
                <a:gd name="connsiteX31" fmla="*/ 1121162 w 1629088"/>
                <a:gd name="connsiteY31" fmla="*/ 539425 h 1725407"/>
                <a:gd name="connsiteX32" fmla="*/ 1151134 w 1629088"/>
                <a:gd name="connsiteY32" fmla="*/ 539425 h 1725407"/>
                <a:gd name="connsiteX33" fmla="*/ 1265847 w 1629088"/>
                <a:gd name="connsiteY33" fmla="*/ 654139 h 1725407"/>
                <a:gd name="connsiteX34" fmla="*/ 1272018 w 1629088"/>
                <a:gd name="connsiteY34" fmla="*/ 669066 h 1725407"/>
                <a:gd name="connsiteX35" fmla="*/ 1265847 w 1629088"/>
                <a:gd name="connsiteY35" fmla="*/ 683992 h 1725407"/>
                <a:gd name="connsiteX36" fmla="*/ 1200674 w 1629088"/>
                <a:gd name="connsiteY36" fmla="*/ 749107 h 1725407"/>
                <a:gd name="connsiteX37" fmla="*/ 1221654 w 1629088"/>
                <a:gd name="connsiteY37" fmla="*/ 800352 h 1725407"/>
                <a:gd name="connsiteX38" fmla="*/ 1314036 w 1629088"/>
                <a:gd name="connsiteY38" fmla="*/ 800352 h 1725407"/>
                <a:gd name="connsiteX39" fmla="*/ 1335193 w 1629088"/>
                <a:gd name="connsiteY39" fmla="*/ 821508 h 1725407"/>
                <a:gd name="connsiteX40" fmla="*/ 1335193 w 1629088"/>
                <a:gd name="connsiteY40" fmla="*/ 983706 h 1725407"/>
                <a:gd name="connsiteX41" fmla="*/ 1314036 w 1629088"/>
                <a:gd name="connsiteY41" fmla="*/ 1004862 h 1725407"/>
                <a:gd name="connsiteX42" fmla="*/ 1221948 w 1629088"/>
                <a:gd name="connsiteY42" fmla="*/ 1004862 h 1725407"/>
                <a:gd name="connsiteX43" fmla="*/ 1200616 w 1629088"/>
                <a:gd name="connsiteY43" fmla="*/ 1055872 h 1725407"/>
                <a:gd name="connsiteX44" fmla="*/ 1265906 w 1629088"/>
                <a:gd name="connsiteY44" fmla="*/ 1121103 h 1725407"/>
                <a:gd name="connsiteX45" fmla="*/ 1272077 w 1629088"/>
                <a:gd name="connsiteY45" fmla="*/ 1136089 h 1725407"/>
                <a:gd name="connsiteX46" fmla="*/ 1265906 w 1629088"/>
                <a:gd name="connsiteY46" fmla="*/ 1151075 h 1725407"/>
                <a:gd name="connsiteX47" fmla="*/ 1151192 w 1629088"/>
                <a:gd name="connsiteY47" fmla="*/ 1265789 h 1725407"/>
                <a:gd name="connsiteX48" fmla="*/ 1136207 w 1629088"/>
                <a:gd name="connsiteY48" fmla="*/ 1271959 h 1725407"/>
                <a:gd name="connsiteX49" fmla="*/ 1136207 w 1629088"/>
                <a:gd name="connsiteY49" fmla="*/ 1271959 h 1725407"/>
                <a:gd name="connsiteX50" fmla="*/ 1121221 w 1629088"/>
                <a:gd name="connsiteY50" fmla="*/ 1265789 h 1725407"/>
                <a:gd name="connsiteX51" fmla="*/ 1056166 w 1629088"/>
                <a:gd name="connsiteY51" fmla="*/ 1200616 h 1725407"/>
                <a:gd name="connsiteX52" fmla="*/ 1004979 w 1629088"/>
                <a:gd name="connsiteY52" fmla="*/ 1221596 h 1725407"/>
                <a:gd name="connsiteX53" fmla="*/ 1004979 w 1629088"/>
                <a:gd name="connsiteY53" fmla="*/ 1314036 h 1725407"/>
                <a:gd name="connsiteX54" fmla="*/ 983764 w 1629088"/>
                <a:gd name="connsiteY54" fmla="*/ 1335193 h 1725407"/>
                <a:gd name="connsiteX55" fmla="*/ 842723 w 1629088"/>
                <a:gd name="connsiteY55" fmla="*/ 1292880 h 1725407"/>
                <a:gd name="connsiteX56" fmla="*/ 962608 w 1629088"/>
                <a:gd name="connsiteY56" fmla="*/ 1292880 h 1725407"/>
                <a:gd name="connsiteX57" fmla="*/ 962608 w 1629088"/>
                <a:gd name="connsiteY57" fmla="*/ 1207550 h 1725407"/>
                <a:gd name="connsiteX58" fmla="*/ 975772 w 1629088"/>
                <a:gd name="connsiteY58" fmla="*/ 1187981 h 1725407"/>
                <a:gd name="connsiteX59" fmla="*/ 1053110 w 1629088"/>
                <a:gd name="connsiteY59" fmla="*/ 1156246 h 1725407"/>
                <a:gd name="connsiteX60" fmla="*/ 1076146 w 1629088"/>
                <a:gd name="connsiteY60" fmla="*/ 1160830 h 1725407"/>
                <a:gd name="connsiteX61" fmla="*/ 1136207 w 1629088"/>
                <a:gd name="connsiteY61" fmla="*/ 1221008 h 1725407"/>
                <a:gd name="connsiteX62" fmla="*/ 1221008 w 1629088"/>
                <a:gd name="connsiteY62" fmla="*/ 1136207 h 1725407"/>
                <a:gd name="connsiteX63" fmla="*/ 1160595 w 1629088"/>
                <a:gd name="connsiteY63" fmla="*/ 1075911 h 1725407"/>
                <a:gd name="connsiteX64" fmla="*/ 1156070 w 1629088"/>
                <a:gd name="connsiteY64" fmla="*/ 1052757 h 1725407"/>
                <a:gd name="connsiteX65" fmla="*/ 1188392 w 1629088"/>
                <a:gd name="connsiteY65" fmla="*/ 975654 h 1725407"/>
                <a:gd name="connsiteX66" fmla="*/ 1207903 w 1629088"/>
                <a:gd name="connsiteY66" fmla="*/ 962608 h 1725407"/>
                <a:gd name="connsiteX67" fmla="*/ 1292880 w 1629088"/>
                <a:gd name="connsiteY67" fmla="*/ 962608 h 1725407"/>
                <a:gd name="connsiteX68" fmla="*/ 1292880 w 1629088"/>
                <a:gd name="connsiteY68" fmla="*/ 842723 h 1725407"/>
                <a:gd name="connsiteX69" fmla="*/ 1207550 w 1629088"/>
                <a:gd name="connsiteY69" fmla="*/ 842723 h 1725407"/>
                <a:gd name="connsiteX70" fmla="*/ 1187981 w 1629088"/>
                <a:gd name="connsiteY70" fmla="*/ 829618 h 1725407"/>
                <a:gd name="connsiteX71" fmla="*/ 1156246 w 1629088"/>
                <a:gd name="connsiteY71" fmla="*/ 752280 h 1725407"/>
                <a:gd name="connsiteX72" fmla="*/ 1160830 w 1629088"/>
                <a:gd name="connsiteY72" fmla="*/ 729302 h 1725407"/>
                <a:gd name="connsiteX73" fmla="*/ 1221008 w 1629088"/>
                <a:gd name="connsiteY73" fmla="*/ 669183 h 1725407"/>
                <a:gd name="connsiteX74" fmla="*/ 1136207 w 1629088"/>
                <a:gd name="connsiteY74" fmla="*/ 584382 h 1725407"/>
                <a:gd name="connsiteX75" fmla="*/ 1075911 w 1629088"/>
                <a:gd name="connsiteY75" fmla="*/ 644736 h 1725407"/>
                <a:gd name="connsiteX76" fmla="*/ 1052757 w 1629088"/>
                <a:gd name="connsiteY76" fmla="*/ 649320 h 1725407"/>
                <a:gd name="connsiteX77" fmla="*/ 975654 w 1629088"/>
                <a:gd name="connsiteY77" fmla="*/ 617057 h 1725407"/>
                <a:gd name="connsiteX78" fmla="*/ 962608 w 1629088"/>
                <a:gd name="connsiteY78" fmla="*/ 597546 h 1725407"/>
                <a:gd name="connsiteX79" fmla="*/ 962608 w 1629088"/>
                <a:gd name="connsiteY79" fmla="*/ 512451 h 1725407"/>
                <a:gd name="connsiteX80" fmla="*/ 842723 w 1629088"/>
                <a:gd name="connsiteY80" fmla="*/ 512451 h 1725407"/>
                <a:gd name="connsiteX81" fmla="*/ 842723 w 1629088"/>
                <a:gd name="connsiteY81" fmla="*/ 597781 h 1725407"/>
                <a:gd name="connsiteX82" fmla="*/ 829618 w 1629088"/>
                <a:gd name="connsiteY82" fmla="*/ 617350 h 1725407"/>
                <a:gd name="connsiteX83" fmla="*/ 752280 w 1629088"/>
                <a:gd name="connsiteY83" fmla="*/ 649085 h 1725407"/>
                <a:gd name="connsiteX84" fmla="*/ 729302 w 1629088"/>
                <a:gd name="connsiteY84" fmla="*/ 644442 h 1725407"/>
                <a:gd name="connsiteX85" fmla="*/ 669183 w 1629088"/>
                <a:gd name="connsiteY85" fmla="*/ 584323 h 1725407"/>
                <a:gd name="connsiteX86" fmla="*/ 584441 w 1629088"/>
                <a:gd name="connsiteY86" fmla="*/ 669124 h 1725407"/>
                <a:gd name="connsiteX87" fmla="*/ 644795 w 1629088"/>
                <a:gd name="connsiteY87" fmla="*/ 729537 h 1725407"/>
                <a:gd name="connsiteX88" fmla="*/ 649320 w 1629088"/>
                <a:gd name="connsiteY88" fmla="*/ 752691 h 1725407"/>
                <a:gd name="connsiteX89" fmla="*/ 617057 w 1629088"/>
                <a:gd name="connsiteY89" fmla="*/ 829794 h 1725407"/>
                <a:gd name="connsiteX90" fmla="*/ 597546 w 1629088"/>
                <a:gd name="connsiteY90" fmla="*/ 842782 h 1725407"/>
                <a:gd name="connsiteX91" fmla="*/ 512451 w 1629088"/>
                <a:gd name="connsiteY91" fmla="*/ 842782 h 1725407"/>
                <a:gd name="connsiteX92" fmla="*/ 512451 w 1629088"/>
                <a:gd name="connsiteY92" fmla="*/ 962667 h 1725407"/>
                <a:gd name="connsiteX93" fmla="*/ 597781 w 1629088"/>
                <a:gd name="connsiteY93" fmla="*/ 962667 h 1725407"/>
                <a:gd name="connsiteX94" fmla="*/ 617350 w 1629088"/>
                <a:gd name="connsiteY94" fmla="*/ 975831 h 1725407"/>
                <a:gd name="connsiteX95" fmla="*/ 649085 w 1629088"/>
                <a:gd name="connsiteY95" fmla="*/ 1053169 h 1725407"/>
                <a:gd name="connsiteX96" fmla="*/ 644442 w 1629088"/>
                <a:gd name="connsiteY96" fmla="*/ 1076205 h 1725407"/>
                <a:gd name="connsiteX97" fmla="*/ 584382 w 1629088"/>
                <a:gd name="connsiteY97" fmla="*/ 1136265 h 1725407"/>
                <a:gd name="connsiteX98" fmla="*/ 669124 w 1629088"/>
                <a:gd name="connsiteY98" fmla="*/ 1221067 h 1725407"/>
                <a:gd name="connsiteX99" fmla="*/ 729537 w 1629088"/>
                <a:gd name="connsiteY99" fmla="*/ 1160654 h 1725407"/>
                <a:gd name="connsiteX100" fmla="*/ 752691 w 1629088"/>
                <a:gd name="connsiteY100" fmla="*/ 1156129 h 1725407"/>
                <a:gd name="connsiteX101" fmla="*/ 829794 w 1629088"/>
                <a:gd name="connsiteY101" fmla="*/ 1188451 h 1725407"/>
                <a:gd name="connsiteX102" fmla="*/ 842782 w 1629088"/>
                <a:gd name="connsiteY102" fmla="*/ 1207962 h 1725407"/>
                <a:gd name="connsiteX103" fmla="*/ 842723 w 1629088"/>
                <a:gd name="connsiteY103" fmla="*/ 1292880 h 1725407"/>
                <a:gd name="connsiteX104" fmla="*/ 842723 w 1629088"/>
                <a:gd name="connsiteY104" fmla="*/ 1292880 h 1725407"/>
                <a:gd name="connsiteX105" fmla="*/ 902665 w 1629088"/>
                <a:gd name="connsiteY105" fmla="*/ 1100124 h 1725407"/>
                <a:gd name="connsiteX106" fmla="*/ 705207 w 1629088"/>
                <a:gd name="connsiteY106" fmla="*/ 902665 h 1725407"/>
                <a:gd name="connsiteX107" fmla="*/ 902665 w 1629088"/>
                <a:gd name="connsiteY107" fmla="*/ 705207 h 1725407"/>
                <a:gd name="connsiteX108" fmla="*/ 1100124 w 1629088"/>
                <a:gd name="connsiteY108" fmla="*/ 902665 h 1725407"/>
                <a:gd name="connsiteX109" fmla="*/ 902665 w 1629088"/>
                <a:gd name="connsiteY109" fmla="*/ 1100124 h 1725407"/>
                <a:gd name="connsiteX110" fmla="*/ 902665 w 1629088"/>
                <a:gd name="connsiteY110" fmla="*/ 747520 h 1725407"/>
                <a:gd name="connsiteX111" fmla="*/ 747520 w 1629088"/>
                <a:gd name="connsiteY111" fmla="*/ 902665 h 1725407"/>
                <a:gd name="connsiteX112" fmla="*/ 902665 w 1629088"/>
                <a:gd name="connsiteY112" fmla="*/ 1057811 h 1725407"/>
                <a:gd name="connsiteX113" fmla="*/ 1057811 w 1629088"/>
                <a:gd name="connsiteY113" fmla="*/ 902665 h 1725407"/>
                <a:gd name="connsiteX114" fmla="*/ 902665 w 1629088"/>
                <a:gd name="connsiteY114" fmla="*/ 747520 h 1725407"/>
                <a:gd name="connsiteX115" fmla="*/ 176302 w 1629088"/>
                <a:gd name="connsiteY115" fmla="*/ 1725407 h 1725407"/>
                <a:gd name="connsiteX116" fmla="*/ 218614 w 1629088"/>
                <a:gd name="connsiteY116" fmla="*/ 1725407 h 1725407"/>
                <a:gd name="connsiteX117" fmla="*/ 176302 w 1629088"/>
                <a:gd name="connsiteY117" fmla="*/ 1725407 h 1725407"/>
                <a:gd name="connsiteX118" fmla="*/ 42312 w 1629088"/>
                <a:gd name="connsiteY118" fmla="*/ 902665 h 1725407"/>
                <a:gd name="connsiteX119" fmla="*/ 0 w 1629088"/>
                <a:gd name="connsiteY119" fmla="*/ 902665 h 1725407"/>
                <a:gd name="connsiteX120" fmla="*/ 902665 w 1629088"/>
                <a:gd name="connsiteY120" fmla="*/ 0 h 1725407"/>
                <a:gd name="connsiteX121" fmla="*/ 1586717 w 1629088"/>
                <a:gd name="connsiteY121" fmla="*/ 313641 h 1725407"/>
                <a:gd name="connsiteX122" fmla="*/ 1586717 w 1629088"/>
                <a:gd name="connsiteY122" fmla="*/ 79924 h 1725407"/>
                <a:gd name="connsiteX123" fmla="*/ 1629088 w 1629088"/>
                <a:gd name="connsiteY123" fmla="*/ 79924 h 1725407"/>
                <a:gd name="connsiteX124" fmla="*/ 1629088 w 1629088"/>
                <a:gd name="connsiteY124" fmla="*/ 394916 h 1725407"/>
                <a:gd name="connsiteX125" fmla="*/ 1314036 w 1629088"/>
                <a:gd name="connsiteY125" fmla="*/ 394916 h 1725407"/>
                <a:gd name="connsiteX126" fmla="*/ 1314036 w 1629088"/>
                <a:gd name="connsiteY126" fmla="*/ 352604 h 1725407"/>
                <a:gd name="connsiteX127" fmla="*/ 1564209 w 1629088"/>
                <a:gd name="connsiteY127" fmla="*/ 352604 h 1725407"/>
                <a:gd name="connsiteX128" fmla="*/ 902665 w 1629088"/>
                <a:gd name="connsiteY128" fmla="*/ 42312 h 1725407"/>
                <a:gd name="connsiteX129" fmla="*/ 42312 w 1629088"/>
                <a:gd name="connsiteY129" fmla="*/ 902665 h 1725407"/>
                <a:gd name="connsiteX0" fmla="*/ 983764 w 1629088"/>
                <a:gd name="connsiteY0" fmla="*/ 1335193 h 1335193"/>
                <a:gd name="connsiteX1" fmla="*/ 821567 w 1629088"/>
                <a:gd name="connsiteY1" fmla="*/ 1335193 h 1335193"/>
                <a:gd name="connsiteX2" fmla="*/ 800410 w 1629088"/>
                <a:gd name="connsiteY2" fmla="*/ 1314036 h 1335193"/>
                <a:gd name="connsiteX3" fmla="*/ 800410 w 1629088"/>
                <a:gd name="connsiteY3" fmla="*/ 1221948 h 1335193"/>
                <a:gd name="connsiteX4" fmla="*/ 749342 w 1629088"/>
                <a:gd name="connsiteY4" fmla="*/ 1200616 h 1335193"/>
                <a:gd name="connsiteX5" fmla="*/ 684051 w 1629088"/>
                <a:gd name="connsiteY5" fmla="*/ 1265906 h 1335193"/>
                <a:gd name="connsiteX6" fmla="*/ 669124 w 1629088"/>
                <a:gd name="connsiteY6" fmla="*/ 1272077 h 1335193"/>
                <a:gd name="connsiteX7" fmla="*/ 669124 w 1629088"/>
                <a:gd name="connsiteY7" fmla="*/ 1272077 h 1335193"/>
                <a:gd name="connsiteX8" fmla="*/ 654197 w 1629088"/>
                <a:gd name="connsiteY8" fmla="*/ 1265906 h 1335193"/>
                <a:gd name="connsiteX9" fmla="*/ 539484 w 1629088"/>
                <a:gd name="connsiteY9" fmla="*/ 1151192 h 1335193"/>
                <a:gd name="connsiteX10" fmla="*/ 539484 w 1629088"/>
                <a:gd name="connsiteY10" fmla="*/ 1121221 h 1335193"/>
                <a:gd name="connsiteX11" fmla="*/ 604598 w 1629088"/>
                <a:gd name="connsiteY11" fmla="*/ 1056166 h 1335193"/>
                <a:gd name="connsiteX12" fmla="*/ 583618 w 1629088"/>
                <a:gd name="connsiteY12" fmla="*/ 1004979 h 1335193"/>
                <a:gd name="connsiteX13" fmla="*/ 491294 w 1629088"/>
                <a:gd name="connsiteY13" fmla="*/ 1004979 h 1335193"/>
                <a:gd name="connsiteX14" fmla="*/ 470138 w 1629088"/>
                <a:gd name="connsiteY14" fmla="*/ 983823 h 1335193"/>
                <a:gd name="connsiteX15" fmla="*/ 470138 w 1629088"/>
                <a:gd name="connsiteY15" fmla="*/ 821625 h 1335193"/>
                <a:gd name="connsiteX16" fmla="*/ 491294 w 1629088"/>
                <a:gd name="connsiteY16" fmla="*/ 800469 h 1335193"/>
                <a:gd name="connsiteX17" fmla="*/ 583383 w 1629088"/>
                <a:gd name="connsiteY17" fmla="*/ 800469 h 1335193"/>
                <a:gd name="connsiteX18" fmla="*/ 604715 w 1629088"/>
                <a:gd name="connsiteY18" fmla="*/ 749400 h 1335193"/>
                <a:gd name="connsiteX19" fmla="*/ 539484 w 1629088"/>
                <a:gd name="connsiteY19" fmla="*/ 684051 h 1335193"/>
                <a:gd name="connsiteX20" fmla="*/ 539484 w 1629088"/>
                <a:gd name="connsiteY20" fmla="*/ 654139 h 1335193"/>
                <a:gd name="connsiteX21" fmla="*/ 654139 w 1629088"/>
                <a:gd name="connsiteY21" fmla="*/ 539425 h 1335193"/>
                <a:gd name="connsiteX22" fmla="*/ 684051 w 1629088"/>
                <a:gd name="connsiteY22" fmla="*/ 539425 h 1335193"/>
                <a:gd name="connsiteX23" fmla="*/ 749165 w 1629088"/>
                <a:gd name="connsiteY23" fmla="*/ 604598 h 1335193"/>
                <a:gd name="connsiteX24" fmla="*/ 800410 w 1629088"/>
                <a:gd name="connsiteY24" fmla="*/ 583618 h 1335193"/>
                <a:gd name="connsiteX25" fmla="*/ 800410 w 1629088"/>
                <a:gd name="connsiteY25" fmla="*/ 491294 h 1335193"/>
                <a:gd name="connsiteX26" fmla="*/ 821567 w 1629088"/>
                <a:gd name="connsiteY26" fmla="*/ 470138 h 1335193"/>
                <a:gd name="connsiteX27" fmla="*/ 983764 w 1629088"/>
                <a:gd name="connsiteY27" fmla="*/ 470138 h 1335193"/>
                <a:gd name="connsiteX28" fmla="*/ 1004921 w 1629088"/>
                <a:gd name="connsiteY28" fmla="*/ 491294 h 1335193"/>
                <a:gd name="connsiteX29" fmla="*/ 1004921 w 1629088"/>
                <a:gd name="connsiteY29" fmla="*/ 583383 h 1335193"/>
                <a:gd name="connsiteX30" fmla="*/ 1055931 w 1629088"/>
                <a:gd name="connsiteY30" fmla="*/ 604715 h 1335193"/>
                <a:gd name="connsiteX31" fmla="*/ 1121162 w 1629088"/>
                <a:gd name="connsiteY31" fmla="*/ 539425 h 1335193"/>
                <a:gd name="connsiteX32" fmla="*/ 1151134 w 1629088"/>
                <a:gd name="connsiteY32" fmla="*/ 539425 h 1335193"/>
                <a:gd name="connsiteX33" fmla="*/ 1265847 w 1629088"/>
                <a:gd name="connsiteY33" fmla="*/ 654139 h 1335193"/>
                <a:gd name="connsiteX34" fmla="*/ 1272018 w 1629088"/>
                <a:gd name="connsiteY34" fmla="*/ 669066 h 1335193"/>
                <a:gd name="connsiteX35" fmla="*/ 1265847 w 1629088"/>
                <a:gd name="connsiteY35" fmla="*/ 683992 h 1335193"/>
                <a:gd name="connsiteX36" fmla="*/ 1200674 w 1629088"/>
                <a:gd name="connsiteY36" fmla="*/ 749107 h 1335193"/>
                <a:gd name="connsiteX37" fmla="*/ 1221654 w 1629088"/>
                <a:gd name="connsiteY37" fmla="*/ 800352 h 1335193"/>
                <a:gd name="connsiteX38" fmla="*/ 1314036 w 1629088"/>
                <a:gd name="connsiteY38" fmla="*/ 800352 h 1335193"/>
                <a:gd name="connsiteX39" fmla="*/ 1335193 w 1629088"/>
                <a:gd name="connsiteY39" fmla="*/ 821508 h 1335193"/>
                <a:gd name="connsiteX40" fmla="*/ 1335193 w 1629088"/>
                <a:gd name="connsiteY40" fmla="*/ 983706 h 1335193"/>
                <a:gd name="connsiteX41" fmla="*/ 1314036 w 1629088"/>
                <a:gd name="connsiteY41" fmla="*/ 1004862 h 1335193"/>
                <a:gd name="connsiteX42" fmla="*/ 1221948 w 1629088"/>
                <a:gd name="connsiteY42" fmla="*/ 1004862 h 1335193"/>
                <a:gd name="connsiteX43" fmla="*/ 1200616 w 1629088"/>
                <a:gd name="connsiteY43" fmla="*/ 1055872 h 1335193"/>
                <a:gd name="connsiteX44" fmla="*/ 1265906 w 1629088"/>
                <a:gd name="connsiteY44" fmla="*/ 1121103 h 1335193"/>
                <a:gd name="connsiteX45" fmla="*/ 1272077 w 1629088"/>
                <a:gd name="connsiteY45" fmla="*/ 1136089 h 1335193"/>
                <a:gd name="connsiteX46" fmla="*/ 1265906 w 1629088"/>
                <a:gd name="connsiteY46" fmla="*/ 1151075 h 1335193"/>
                <a:gd name="connsiteX47" fmla="*/ 1151192 w 1629088"/>
                <a:gd name="connsiteY47" fmla="*/ 1265789 h 1335193"/>
                <a:gd name="connsiteX48" fmla="*/ 1136207 w 1629088"/>
                <a:gd name="connsiteY48" fmla="*/ 1271959 h 1335193"/>
                <a:gd name="connsiteX49" fmla="*/ 1136207 w 1629088"/>
                <a:gd name="connsiteY49" fmla="*/ 1271959 h 1335193"/>
                <a:gd name="connsiteX50" fmla="*/ 1121221 w 1629088"/>
                <a:gd name="connsiteY50" fmla="*/ 1265789 h 1335193"/>
                <a:gd name="connsiteX51" fmla="*/ 1056166 w 1629088"/>
                <a:gd name="connsiteY51" fmla="*/ 1200616 h 1335193"/>
                <a:gd name="connsiteX52" fmla="*/ 1004979 w 1629088"/>
                <a:gd name="connsiteY52" fmla="*/ 1221596 h 1335193"/>
                <a:gd name="connsiteX53" fmla="*/ 1004979 w 1629088"/>
                <a:gd name="connsiteY53" fmla="*/ 1314036 h 1335193"/>
                <a:gd name="connsiteX54" fmla="*/ 983764 w 1629088"/>
                <a:gd name="connsiteY54" fmla="*/ 1335193 h 1335193"/>
                <a:gd name="connsiteX55" fmla="*/ 842723 w 1629088"/>
                <a:gd name="connsiteY55" fmla="*/ 1292880 h 1335193"/>
                <a:gd name="connsiteX56" fmla="*/ 962608 w 1629088"/>
                <a:gd name="connsiteY56" fmla="*/ 1292880 h 1335193"/>
                <a:gd name="connsiteX57" fmla="*/ 962608 w 1629088"/>
                <a:gd name="connsiteY57" fmla="*/ 1207550 h 1335193"/>
                <a:gd name="connsiteX58" fmla="*/ 975772 w 1629088"/>
                <a:gd name="connsiteY58" fmla="*/ 1187981 h 1335193"/>
                <a:gd name="connsiteX59" fmla="*/ 1053110 w 1629088"/>
                <a:gd name="connsiteY59" fmla="*/ 1156246 h 1335193"/>
                <a:gd name="connsiteX60" fmla="*/ 1076146 w 1629088"/>
                <a:gd name="connsiteY60" fmla="*/ 1160830 h 1335193"/>
                <a:gd name="connsiteX61" fmla="*/ 1136207 w 1629088"/>
                <a:gd name="connsiteY61" fmla="*/ 1221008 h 1335193"/>
                <a:gd name="connsiteX62" fmla="*/ 1221008 w 1629088"/>
                <a:gd name="connsiteY62" fmla="*/ 1136207 h 1335193"/>
                <a:gd name="connsiteX63" fmla="*/ 1160595 w 1629088"/>
                <a:gd name="connsiteY63" fmla="*/ 1075911 h 1335193"/>
                <a:gd name="connsiteX64" fmla="*/ 1156070 w 1629088"/>
                <a:gd name="connsiteY64" fmla="*/ 1052757 h 1335193"/>
                <a:gd name="connsiteX65" fmla="*/ 1188392 w 1629088"/>
                <a:gd name="connsiteY65" fmla="*/ 975654 h 1335193"/>
                <a:gd name="connsiteX66" fmla="*/ 1207903 w 1629088"/>
                <a:gd name="connsiteY66" fmla="*/ 962608 h 1335193"/>
                <a:gd name="connsiteX67" fmla="*/ 1292880 w 1629088"/>
                <a:gd name="connsiteY67" fmla="*/ 962608 h 1335193"/>
                <a:gd name="connsiteX68" fmla="*/ 1292880 w 1629088"/>
                <a:gd name="connsiteY68" fmla="*/ 842723 h 1335193"/>
                <a:gd name="connsiteX69" fmla="*/ 1207550 w 1629088"/>
                <a:gd name="connsiteY69" fmla="*/ 842723 h 1335193"/>
                <a:gd name="connsiteX70" fmla="*/ 1187981 w 1629088"/>
                <a:gd name="connsiteY70" fmla="*/ 829618 h 1335193"/>
                <a:gd name="connsiteX71" fmla="*/ 1156246 w 1629088"/>
                <a:gd name="connsiteY71" fmla="*/ 752280 h 1335193"/>
                <a:gd name="connsiteX72" fmla="*/ 1160830 w 1629088"/>
                <a:gd name="connsiteY72" fmla="*/ 729302 h 1335193"/>
                <a:gd name="connsiteX73" fmla="*/ 1221008 w 1629088"/>
                <a:gd name="connsiteY73" fmla="*/ 669183 h 1335193"/>
                <a:gd name="connsiteX74" fmla="*/ 1136207 w 1629088"/>
                <a:gd name="connsiteY74" fmla="*/ 584382 h 1335193"/>
                <a:gd name="connsiteX75" fmla="*/ 1075911 w 1629088"/>
                <a:gd name="connsiteY75" fmla="*/ 644736 h 1335193"/>
                <a:gd name="connsiteX76" fmla="*/ 1052757 w 1629088"/>
                <a:gd name="connsiteY76" fmla="*/ 649320 h 1335193"/>
                <a:gd name="connsiteX77" fmla="*/ 975654 w 1629088"/>
                <a:gd name="connsiteY77" fmla="*/ 617057 h 1335193"/>
                <a:gd name="connsiteX78" fmla="*/ 962608 w 1629088"/>
                <a:gd name="connsiteY78" fmla="*/ 597546 h 1335193"/>
                <a:gd name="connsiteX79" fmla="*/ 962608 w 1629088"/>
                <a:gd name="connsiteY79" fmla="*/ 512451 h 1335193"/>
                <a:gd name="connsiteX80" fmla="*/ 842723 w 1629088"/>
                <a:gd name="connsiteY80" fmla="*/ 512451 h 1335193"/>
                <a:gd name="connsiteX81" fmla="*/ 842723 w 1629088"/>
                <a:gd name="connsiteY81" fmla="*/ 597781 h 1335193"/>
                <a:gd name="connsiteX82" fmla="*/ 829618 w 1629088"/>
                <a:gd name="connsiteY82" fmla="*/ 617350 h 1335193"/>
                <a:gd name="connsiteX83" fmla="*/ 752280 w 1629088"/>
                <a:gd name="connsiteY83" fmla="*/ 649085 h 1335193"/>
                <a:gd name="connsiteX84" fmla="*/ 729302 w 1629088"/>
                <a:gd name="connsiteY84" fmla="*/ 644442 h 1335193"/>
                <a:gd name="connsiteX85" fmla="*/ 669183 w 1629088"/>
                <a:gd name="connsiteY85" fmla="*/ 584323 h 1335193"/>
                <a:gd name="connsiteX86" fmla="*/ 584441 w 1629088"/>
                <a:gd name="connsiteY86" fmla="*/ 669124 h 1335193"/>
                <a:gd name="connsiteX87" fmla="*/ 644795 w 1629088"/>
                <a:gd name="connsiteY87" fmla="*/ 729537 h 1335193"/>
                <a:gd name="connsiteX88" fmla="*/ 649320 w 1629088"/>
                <a:gd name="connsiteY88" fmla="*/ 752691 h 1335193"/>
                <a:gd name="connsiteX89" fmla="*/ 617057 w 1629088"/>
                <a:gd name="connsiteY89" fmla="*/ 829794 h 1335193"/>
                <a:gd name="connsiteX90" fmla="*/ 597546 w 1629088"/>
                <a:gd name="connsiteY90" fmla="*/ 842782 h 1335193"/>
                <a:gd name="connsiteX91" fmla="*/ 512451 w 1629088"/>
                <a:gd name="connsiteY91" fmla="*/ 842782 h 1335193"/>
                <a:gd name="connsiteX92" fmla="*/ 512451 w 1629088"/>
                <a:gd name="connsiteY92" fmla="*/ 962667 h 1335193"/>
                <a:gd name="connsiteX93" fmla="*/ 597781 w 1629088"/>
                <a:gd name="connsiteY93" fmla="*/ 962667 h 1335193"/>
                <a:gd name="connsiteX94" fmla="*/ 617350 w 1629088"/>
                <a:gd name="connsiteY94" fmla="*/ 975831 h 1335193"/>
                <a:gd name="connsiteX95" fmla="*/ 649085 w 1629088"/>
                <a:gd name="connsiteY95" fmla="*/ 1053169 h 1335193"/>
                <a:gd name="connsiteX96" fmla="*/ 644442 w 1629088"/>
                <a:gd name="connsiteY96" fmla="*/ 1076205 h 1335193"/>
                <a:gd name="connsiteX97" fmla="*/ 584382 w 1629088"/>
                <a:gd name="connsiteY97" fmla="*/ 1136265 h 1335193"/>
                <a:gd name="connsiteX98" fmla="*/ 669124 w 1629088"/>
                <a:gd name="connsiteY98" fmla="*/ 1221067 h 1335193"/>
                <a:gd name="connsiteX99" fmla="*/ 729537 w 1629088"/>
                <a:gd name="connsiteY99" fmla="*/ 1160654 h 1335193"/>
                <a:gd name="connsiteX100" fmla="*/ 752691 w 1629088"/>
                <a:gd name="connsiteY100" fmla="*/ 1156129 h 1335193"/>
                <a:gd name="connsiteX101" fmla="*/ 829794 w 1629088"/>
                <a:gd name="connsiteY101" fmla="*/ 1188451 h 1335193"/>
                <a:gd name="connsiteX102" fmla="*/ 842782 w 1629088"/>
                <a:gd name="connsiteY102" fmla="*/ 1207962 h 1335193"/>
                <a:gd name="connsiteX103" fmla="*/ 842723 w 1629088"/>
                <a:gd name="connsiteY103" fmla="*/ 1292880 h 1335193"/>
                <a:gd name="connsiteX104" fmla="*/ 842723 w 1629088"/>
                <a:gd name="connsiteY104" fmla="*/ 1292880 h 1335193"/>
                <a:gd name="connsiteX105" fmla="*/ 902665 w 1629088"/>
                <a:gd name="connsiteY105" fmla="*/ 1100124 h 1335193"/>
                <a:gd name="connsiteX106" fmla="*/ 705207 w 1629088"/>
                <a:gd name="connsiteY106" fmla="*/ 902665 h 1335193"/>
                <a:gd name="connsiteX107" fmla="*/ 902665 w 1629088"/>
                <a:gd name="connsiteY107" fmla="*/ 705207 h 1335193"/>
                <a:gd name="connsiteX108" fmla="*/ 1100124 w 1629088"/>
                <a:gd name="connsiteY108" fmla="*/ 902665 h 1335193"/>
                <a:gd name="connsiteX109" fmla="*/ 902665 w 1629088"/>
                <a:gd name="connsiteY109" fmla="*/ 1100124 h 1335193"/>
                <a:gd name="connsiteX110" fmla="*/ 902665 w 1629088"/>
                <a:gd name="connsiteY110" fmla="*/ 747520 h 1335193"/>
                <a:gd name="connsiteX111" fmla="*/ 747520 w 1629088"/>
                <a:gd name="connsiteY111" fmla="*/ 902665 h 1335193"/>
                <a:gd name="connsiteX112" fmla="*/ 902665 w 1629088"/>
                <a:gd name="connsiteY112" fmla="*/ 1057811 h 1335193"/>
                <a:gd name="connsiteX113" fmla="*/ 1057811 w 1629088"/>
                <a:gd name="connsiteY113" fmla="*/ 902665 h 1335193"/>
                <a:gd name="connsiteX114" fmla="*/ 902665 w 1629088"/>
                <a:gd name="connsiteY114" fmla="*/ 747520 h 1335193"/>
                <a:gd name="connsiteX115" fmla="*/ 42312 w 1629088"/>
                <a:gd name="connsiteY115" fmla="*/ 902665 h 1335193"/>
                <a:gd name="connsiteX116" fmla="*/ 0 w 1629088"/>
                <a:gd name="connsiteY116" fmla="*/ 902665 h 1335193"/>
                <a:gd name="connsiteX117" fmla="*/ 902665 w 1629088"/>
                <a:gd name="connsiteY117" fmla="*/ 0 h 1335193"/>
                <a:gd name="connsiteX118" fmla="*/ 1586717 w 1629088"/>
                <a:gd name="connsiteY118" fmla="*/ 313641 h 1335193"/>
                <a:gd name="connsiteX119" fmla="*/ 1586717 w 1629088"/>
                <a:gd name="connsiteY119" fmla="*/ 79924 h 1335193"/>
                <a:gd name="connsiteX120" fmla="*/ 1629088 w 1629088"/>
                <a:gd name="connsiteY120" fmla="*/ 79924 h 1335193"/>
                <a:gd name="connsiteX121" fmla="*/ 1629088 w 1629088"/>
                <a:gd name="connsiteY121" fmla="*/ 394916 h 1335193"/>
                <a:gd name="connsiteX122" fmla="*/ 1314036 w 1629088"/>
                <a:gd name="connsiteY122" fmla="*/ 394916 h 1335193"/>
                <a:gd name="connsiteX123" fmla="*/ 1314036 w 1629088"/>
                <a:gd name="connsiteY123" fmla="*/ 352604 h 1335193"/>
                <a:gd name="connsiteX124" fmla="*/ 1564209 w 1629088"/>
                <a:gd name="connsiteY124" fmla="*/ 352604 h 1335193"/>
                <a:gd name="connsiteX125" fmla="*/ 902665 w 1629088"/>
                <a:gd name="connsiteY125" fmla="*/ 42312 h 1335193"/>
                <a:gd name="connsiteX126" fmla="*/ 42312 w 1629088"/>
                <a:gd name="connsiteY126" fmla="*/ 902665 h 1335193"/>
                <a:gd name="connsiteX0" fmla="*/ 983764 w 1629088"/>
                <a:gd name="connsiteY0" fmla="*/ 1335193 h 1335193"/>
                <a:gd name="connsiteX1" fmla="*/ 821567 w 1629088"/>
                <a:gd name="connsiteY1" fmla="*/ 1335193 h 1335193"/>
                <a:gd name="connsiteX2" fmla="*/ 800410 w 1629088"/>
                <a:gd name="connsiteY2" fmla="*/ 1314036 h 1335193"/>
                <a:gd name="connsiteX3" fmla="*/ 800410 w 1629088"/>
                <a:gd name="connsiteY3" fmla="*/ 1221948 h 1335193"/>
                <a:gd name="connsiteX4" fmla="*/ 749342 w 1629088"/>
                <a:gd name="connsiteY4" fmla="*/ 1200616 h 1335193"/>
                <a:gd name="connsiteX5" fmla="*/ 684051 w 1629088"/>
                <a:gd name="connsiteY5" fmla="*/ 1265906 h 1335193"/>
                <a:gd name="connsiteX6" fmla="*/ 669124 w 1629088"/>
                <a:gd name="connsiteY6" fmla="*/ 1272077 h 1335193"/>
                <a:gd name="connsiteX7" fmla="*/ 669124 w 1629088"/>
                <a:gd name="connsiteY7" fmla="*/ 1272077 h 1335193"/>
                <a:gd name="connsiteX8" fmla="*/ 654197 w 1629088"/>
                <a:gd name="connsiteY8" fmla="*/ 1265906 h 1335193"/>
                <a:gd name="connsiteX9" fmla="*/ 539484 w 1629088"/>
                <a:gd name="connsiteY9" fmla="*/ 1151192 h 1335193"/>
                <a:gd name="connsiteX10" fmla="*/ 539484 w 1629088"/>
                <a:gd name="connsiteY10" fmla="*/ 1121221 h 1335193"/>
                <a:gd name="connsiteX11" fmla="*/ 604598 w 1629088"/>
                <a:gd name="connsiteY11" fmla="*/ 1056166 h 1335193"/>
                <a:gd name="connsiteX12" fmla="*/ 583618 w 1629088"/>
                <a:gd name="connsiteY12" fmla="*/ 1004979 h 1335193"/>
                <a:gd name="connsiteX13" fmla="*/ 491294 w 1629088"/>
                <a:gd name="connsiteY13" fmla="*/ 1004979 h 1335193"/>
                <a:gd name="connsiteX14" fmla="*/ 470138 w 1629088"/>
                <a:gd name="connsiteY14" fmla="*/ 983823 h 1335193"/>
                <a:gd name="connsiteX15" fmla="*/ 470138 w 1629088"/>
                <a:gd name="connsiteY15" fmla="*/ 821625 h 1335193"/>
                <a:gd name="connsiteX16" fmla="*/ 491294 w 1629088"/>
                <a:gd name="connsiteY16" fmla="*/ 800469 h 1335193"/>
                <a:gd name="connsiteX17" fmla="*/ 583383 w 1629088"/>
                <a:gd name="connsiteY17" fmla="*/ 800469 h 1335193"/>
                <a:gd name="connsiteX18" fmla="*/ 604715 w 1629088"/>
                <a:gd name="connsiteY18" fmla="*/ 749400 h 1335193"/>
                <a:gd name="connsiteX19" fmla="*/ 539484 w 1629088"/>
                <a:gd name="connsiteY19" fmla="*/ 684051 h 1335193"/>
                <a:gd name="connsiteX20" fmla="*/ 539484 w 1629088"/>
                <a:gd name="connsiteY20" fmla="*/ 654139 h 1335193"/>
                <a:gd name="connsiteX21" fmla="*/ 654139 w 1629088"/>
                <a:gd name="connsiteY21" fmla="*/ 539425 h 1335193"/>
                <a:gd name="connsiteX22" fmla="*/ 684051 w 1629088"/>
                <a:gd name="connsiteY22" fmla="*/ 539425 h 1335193"/>
                <a:gd name="connsiteX23" fmla="*/ 749165 w 1629088"/>
                <a:gd name="connsiteY23" fmla="*/ 604598 h 1335193"/>
                <a:gd name="connsiteX24" fmla="*/ 800410 w 1629088"/>
                <a:gd name="connsiteY24" fmla="*/ 583618 h 1335193"/>
                <a:gd name="connsiteX25" fmla="*/ 800410 w 1629088"/>
                <a:gd name="connsiteY25" fmla="*/ 491294 h 1335193"/>
                <a:gd name="connsiteX26" fmla="*/ 821567 w 1629088"/>
                <a:gd name="connsiteY26" fmla="*/ 470138 h 1335193"/>
                <a:gd name="connsiteX27" fmla="*/ 983764 w 1629088"/>
                <a:gd name="connsiteY27" fmla="*/ 470138 h 1335193"/>
                <a:gd name="connsiteX28" fmla="*/ 1004921 w 1629088"/>
                <a:gd name="connsiteY28" fmla="*/ 491294 h 1335193"/>
                <a:gd name="connsiteX29" fmla="*/ 1004921 w 1629088"/>
                <a:gd name="connsiteY29" fmla="*/ 583383 h 1335193"/>
                <a:gd name="connsiteX30" fmla="*/ 1055931 w 1629088"/>
                <a:gd name="connsiteY30" fmla="*/ 604715 h 1335193"/>
                <a:gd name="connsiteX31" fmla="*/ 1121162 w 1629088"/>
                <a:gd name="connsiteY31" fmla="*/ 539425 h 1335193"/>
                <a:gd name="connsiteX32" fmla="*/ 1151134 w 1629088"/>
                <a:gd name="connsiteY32" fmla="*/ 539425 h 1335193"/>
                <a:gd name="connsiteX33" fmla="*/ 1265847 w 1629088"/>
                <a:gd name="connsiteY33" fmla="*/ 654139 h 1335193"/>
                <a:gd name="connsiteX34" fmla="*/ 1272018 w 1629088"/>
                <a:gd name="connsiteY34" fmla="*/ 669066 h 1335193"/>
                <a:gd name="connsiteX35" fmla="*/ 1265847 w 1629088"/>
                <a:gd name="connsiteY35" fmla="*/ 683992 h 1335193"/>
                <a:gd name="connsiteX36" fmla="*/ 1200674 w 1629088"/>
                <a:gd name="connsiteY36" fmla="*/ 749107 h 1335193"/>
                <a:gd name="connsiteX37" fmla="*/ 1221654 w 1629088"/>
                <a:gd name="connsiteY37" fmla="*/ 800352 h 1335193"/>
                <a:gd name="connsiteX38" fmla="*/ 1314036 w 1629088"/>
                <a:gd name="connsiteY38" fmla="*/ 800352 h 1335193"/>
                <a:gd name="connsiteX39" fmla="*/ 1335193 w 1629088"/>
                <a:gd name="connsiteY39" fmla="*/ 821508 h 1335193"/>
                <a:gd name="connsiteX40" fmla="*/ 1335193 w 1629088"/>
                <a:gd name="connsiteY40" fmla="*/ 983706 h 1335193"/>
                <a:gd name="connsiteX41" fmla="*/ 1314036 w 1629088"/>
                <a:gd name="connsiteY41" fmla="*/ 1004862 h 1335193"/>
                <a:gd name="connsiteX42" fmla="*/ 1221948 w 1629088"/>
                <a:gd name="connsiteY42" fmla="*/ 1004862 h 1335193"/>
                <a:gd name="connsiteX43" fmla="*/ 1200616 w 1629088"/>
                <a:gd name="connsiteY43" fmla="*/ 1055872 h 1335193"/>
                <a:gd name="connsiteX44" fmla="*/ 1265906 w 1629088"/>
                <a:gd name="connsiteY44" fmla="*/ 1121103 h 1335193"/>
                <a:gd name="connsiteX45" fmla="*/ 1272077 w 1629088"/>
                <a:gd name="connsiteY45" fmla="*/ 1136089 h 1335193"/>
                <a:gd name="connsiteX46" fmla="*/ 1265906 w 1629088"/>
                <a:gd name="connsiteY46" fmla="*/ 1151075 h 1335193"/>
                <a:gd name="connsiteX47" fmla="*/ 1151192 w 1629088"/>
                <a:gd name="connsiteY47" fmla="*/ 1265789 h 1335193"/>
                <a:gd name="connsiteX48" fmla="*/ 1136207 w 1629088"/>
                <a:gd name="connsiteY48" fmla="*/ 1271959 h 1335193"/>
                <a:gd name="connsiteX49" fmla="*/ 1136207 w 1629088"/>
                <a:gd name="connsiteY49" fmla="*/ 1271959 h 1335193"/>
                <a:gd name="connsiteX50" fmla="*/ 1121221 w 1629088"/>
                <a:gd name="connsiteY50" fmla="*/ 1265789 h 1335193"/>
                <a:gd name="connsiteX51" fmla="*/ 1056166 w 1629088"/>
                <a:gd name="connsiteY51" fmla="*/ 1200616 h 1335193"/>
                <a:gd name="connsiteX52" fmla="*/ 1004979 w 1629088"/>
                <a:gd name="connsiteY52" fmla="*/ 1221596 h 1335193"/>
                <a:gd name="connsiteX53" fmla="*/ 1004979 w 1629088"/>
                <a:gd name="connsiteY53" fmla="*/ 1314036 h 1335193"/>
                <a:gd name="connsiteX54" fmla="*/ 983764 w 1629088"/>
                <a:gd name="connsiteY54" fmla="*/ 1335193 h 1335193"/>
                <a:gd name="connsiteX55" fmla="*/ 842723 w 1629088"/>
                <a:gd name="connsiteY55" fmla="*/ 1292880 h 1335193"/>
                <a:gd name="connsiteX56" fmla="*/ 962608 w 1629088"/>
                <a:gd name="connsiteY56" fmla="*/ 1292880 h 1335193"/>
                <a:gd name="connsiteX57" fmla="*/ 962608 w 1629088"/>
                <a:gd name="connsiteY57" fmla="*/ 1207550 h 1335193"/>
                <a:gd name="connsiteX58" fmla="*/ 975772 w 1629088"/>
                <a:gd name="connsiteY58" fmla="*/ 1187981 h 1335193"/>
                <a:gd name="connsiteX59" fmla="*/ 1053110 w 1629088"/>
                <a:gd name="connsiteY59" fmla="*/ 1156246 h 1335193"/>
                <a:gd name="connsiteX60" fmla="*/ 1076146 w 1629088"/>
                <a:gd name="connsiteY60" fmla="*/ 1160830 h 1335193"/>
                <a:gd name="connsiteX61" fmla="*/ 1136207 w 1629088"/>
                <a:gd name="connsiteY61" fmla="*/ 1221008 h 1335193"/>
                <a:gd name="connsiteX62" fmla="*/ 1221008 w 1629088"/>
                <a:gd name="connsiteY62" fmla="*/ 1136207 h 1335193"/>
                <a:gd name="connsiteX63" fmla="*/ 1160595 w 1629088"/>
                <a:gd name="connsiteY63" fmla="*/ 1075911 h 1335193"/>
                <a:gd name="connsiteX64" fmla="*/ 1156070 w 1629088"/>
                <a:gd name="connsiteY64" fmla="*/ 1052757 h 1335193"/>
                <a:gd name="connsiteX65" fmla="*/ 1188392 w 1629088"/>
                <a:gd name="connsiteY65" fmla="*/ 975654 h 1335193"/>
                <a:gd name="connsiteX66" fmla="*/ 1207903 w 1629088"/>
                <a:gd name="connsiteY66" fmla="*/ 962608 h 1335193"/>
                <a:gd name="connsiteX67" fmla="*/ 1292880 w 1629088"/>
                <a:gd name="connsiteY67" fmla="*/ 962608 h 1335193"/>
                <a:gd name="connsiteX68" fmla="*/ 1292880 w 1629088"/>
                <a:gd name="connsiteY68" fmla="*/ 842723 h 1335193"/>
                <a:gd name="connsiteX69" fmla="*/ 1207550 w 1629088"/>
                <a:gd name="connsiteY69" fmla="*/ 842723 h 1335193"/>
                <a:gd name="connsiteX70" fmla="*/ 1187981 w 1629088"/>
                <a:gd name="connsiteY70" fmla="*/ 829618 h 1335193"/>
                <a:gd name="connsiteX71" fmla="*/ 1156246 w 1629088"/>
                <a:gd name="connsiteY71" fmla="*/ 752280 h 1335193"/>
                <a:gd name="connsiteX72" fmla="*/ 1160830 w 1629088"/>
                <a:gd name="connsiteY72" fmla="*/ 729302 h 1335193"/>
                <a:gd name="connsiteX73" fmla="*/ 1221008 w 1629088"/>
                <a:gd name="connsiteY73" fmla="*/ 669183 h 1335193"/>
                <a:gd name="connsiteX74" fmla="*/ 1136207 w 1629088"/>
                <a:gd name="connsiteY74" fmla="*/ 584382 h 1335193"/>
                <a:gd name="connsiteX75" fmla="*/ 1075911 w 1629088"/>
                <a:gd name="connsiteY75" fmla="*/ 644736 h 1335193"/>
                <a:gd name="connsiteX76" fmla="*/ 1052757 w 1629088"/>
                <a:gd name="connsiteY76" fmla="*/ 649320 h 1335193"/>
                <a:gd name="connsiteX77" fmla="*/ 975654 w 1629088"/>
                <a:gd name="connsiteY77" fmla="*/ 617057 h 1335193"/>
                <a:gd name="connsiteX78" fmla="*/ 962608 w 1629088"/>
                <a:gd name="connsiteY78" fmla="*/ 597546 h 1335193"/>
                <a:gd name="connsiteX79" fmla="*/ 962608 w 1629088"/>
                <a:gd name="connsiteY79" fmla="*/ 512451 h 1335193"/>
                <a:gd name="connsiteX80" fmla="*/ 842723 w 1629088"/>
                <a:gd name="connsiteY80" fmla="*/ 512451 h 1335193"/>
                <a:gd name="connsiteX81" fmla="*/ 842723 w 1629088"/>
                <a:gd name="connsiteY81" fmla="*/ 597781 h 1335193"/>
                <a:gd name="connsiteX82" fmla="*/ 829618 w 1629088"/>
                <a:gd name="connsiteY82" fmla="*/ 617350 h 1335193"/>
                <a:gd name="connsiteX83" fmla="*/ 752280 w 1629088"/>
                <a:gd name="connsiteY83" fmla="*/ 649085 h 1335193"/>
                <a:gd name="connsiteX84" fmla="*/ 729302 w 1629088"/>
                <a:gd name="connsiteY84" fmla="*/ 644442 h 1335193"/>
                <a:gd name="connsiteX85" fmla="*/ 669183 w 1629088"/>
                <a:gd name="connsiteY85" fmla="*/ 584323 h 1335193"/>
                <a:gd name="connsiteX86" fmla="*/ 584441 w 1629088"/>
                <a:gd name="connsiteY86" fmla="*/ 669124 h 1335193"/>
                <a:gd name="connsiteX87" fmla="*/ 644795 w 1629088"/>
                <a:gd name="connsiteY87" fmla="*/ 729537 h 1335193"/>
                <a:gd name="connsiteX88" fmla="*/ 649320 w 1629088"/>
                <a:gd name="connsiteY88" fmla="*/ 752691 h 1335193"/>
                <a:gd name="connsiteX89" fmla="*/ 617057 w 1629088"/>
                <a:gd name="connsiteY89" fmla="*/ 829794 h 1335193"/>
                <a:gd name="connsiteX90" fmla="*/ 597546 w 1629088"/>
                <a:gd name="connsiteY90" fmla="*/ 842782 h 1335193"/>
                <a:gd name="connsiteX91" fmla="*/ 512451 w 1629088"/>
                <a:gd name="connsiteY91" fmla="*/ 842782 h 1335193"/>
                <a:gd name="connsiteX92" fmla="*/ 512451 w 1629088"/>
                <a:gd name="connsiteY92" fmla="*/ 962667 h 1335193"/>
                <a:gd name="connsiteX93" fmla="*/ 597781 w 1629088"/>
                <a:gd name="connsiteY93" fmla="*/ 962667 h 1335193"/>
                <a:gd name="connsiteX94" fmla="*/ 617350 w 1629088"/>
                <a:gd name="connsiteY94" fmla="*/ 975831 h 1335193"/>
                <a:gd name="connsiteX95" fmla="*/ 649085 w 1629088"/>
                <a:gd name="connsiteY95" fmla="*/ 1053169 h 1335193"/>
                <a:gd name="connsiteX96" fmla="*/ 644442 w 1629088"/>
                <a:gd name="connsiteY96" fmla="*/ 1076205 h 1335193"/>
                <a:gd name="connsiteX97" fmla="*/ 584382 w 1629088"/>
                <a:gd name="connsiteY97" fmla="*/ 1136265 h 1335193"/>
                <a:gd name="connsiteX98" fmla="*/ 669124 w 1629088"/>
                <a:gd name="connsiteY98" fmla="*/ 1221067 h 1335193"/>
                <a:gd name="connsiteX99" fmla="*/ 729537 w 1629088"/>
                <a:gd name="connsiteY99" fmla="*/ 1160654 h 1335193"/>
                <a:gd name="connsiteX100" fmla="*/ 752691 w 1629088"/>
                <a:gd name="connsiteY100" fmla="*/ 1156129 h 1335193"/>
                <a:gd name="connsiteX101" fmla="*/ 829794 w 1629088"/>
                <a:gd name="connsiteY101" fmla="*/ 1188451 h 1335193"/>
                <a:gd name="connsiteX102" fmla="*/ 842782 w 1629088"/>
                <a:gd name="connsiteY102" fmla="*/ 1207962 h 1335193"/>
                <a:gd name="connsiteX103" fmla="*/ 842723 w 1629088"/>
                <a:gd name="connsiteY103" fmla="*/ 1292880 h 1335193"/>
                <a:gd name="connsiteX104" fmla="*/ 842723 w 1629088"/>
                <a:gd name="connsiteY104" fmla="*/ 1292880 h 1335193"/>
                <a:gd name="connsiteX105" fmla="*/ 902665 w 1629088"/>
                <a:gd name="connsiteY105" fmla="*/ 1100124 h 1335193"/>
                <a:gd name="connsiteX106" fmla="*/ 705207 w 1629088"/>
                <a:gd name="connsiteY106" fmla="*/ 902665 h 1335193"/>
                <a:gd name="connsiteX107" fmla="*/ 902665 w 1629088"/>
                <a:gd name="connsiteY107" fmla="*/ 705207 h 1335193"/>
                <a:gd name="connsiteX108" fmla="*/ 1100124 w 1629088"/>
                <a:gd name="connsiteY108" fmla="*/ 902665 h 1335193"/>
                <a:gd name="connsiteX109" fmla="*/ 902665 w 1629088"/>
                <a:gd name="connsiteY109" fmla="*/ 1100124 h 1335193"/>
                <a:gd name="connsiteX110" fmla="*/ 902665 w 1629088"/>
                <a:gd name="connsiteY110" fmla="*/ 747520 h 1335193"/>
                <a:gd name="connsiteX111" fmla="*/ 747520 w 1629088"/>
                <a:gd name="connsiteY111" fmla="*/ 902665 h 1335193"/>
                <a:gd name="connsiteX112" fmla="*/ 902665 w 1629088"/>
                <a:gd name="connsiteY112" fmla="*/ 1057811 h 1335193"/>
                <a:gd name="connsiteX113" fmla="*/ 1057811 w 1629088"/>
                <a:gd name="connsiteY113" fmla="*/ 902665 h 1335193"/>
                <a:gd name="connsiteX114" fmla="*/ 902665 w 1629088"/>
                <a:gd name="connsiteY114" fmla="*/ 747520 h 1335193"/>
                <a:gd name="connsiteX115" fmla="*/ 42312 w 1629088"/>
                <a:gd name="connsiteY115" fmla="*/ 902665 h 1335193"/>
                <a:gd name="connsiteX116" fmla="*/ 0 w 1629088"/>
                <a:gd name="connsiteY116" fmla="*/ 902665 h 1335193"/>
                <a:gd name="connsiteX117" fmla="*/ 902665 w 1629088"/>
                <a:gd name="connsiteY117" fmla="*/ 0 h 1335193"/>
                <a:gd name="connsiteX118" fmla="*/ 1586717 w 1629088"/>
                <a:gd name="connsiteY118" fmla="*/ 313641 h 1335193"/>
                <a:gd name="connsiteX119" fmla="*/ 1586717 w 1629088"/>
                <a:gd name="connsiteY119" fmla="*/ 79924 h 1335193"/>
                <a:gd name="connsiteX120" fmla="*/ 1629088 w 1629088"/>
                <a:gd name="connsiteY120" fmla="*/ 79924 h 1335193"/>
                <a:gd name="connsiteX121" fmla="*/ 1629088 w 1629088"/>
                <a:gd name="connsiteY121" fmla="*/ 394916 h 1335193"/>
                <a:gd name="connsiteX122" fmla="*/ 1314036 w 1629088"/>
                <a:gd name="connsiteY122" fmla="*/ 394916 h 1335193"/>
                <a:gd name="connsiteX123" fmla="*/ 1314036 w 1629088"/>
                <a:gd name="connsiteY123" fmla="*/ 352604 h 1335193"/>
                <a:gd name="connsiteX124" fmla="*/ 1564209 w 1629088"/>
                <a:gd name="connsiteY124" fmla="*/ 352604 h 1335193"/>
                <a:gd name="connsiteX125" fmla="*/ 42312 w 1629088"/>
                <a:gd name="connsiteY125" fmla="*/ 902665 h 1335193"/>
                <a:gd name="connsiteX0" fmla="*/ 983764 w 1629088"/>
                <a:gd name="connsiteY0" fmla="*/ 1255269 h 1255269"/>
                <a:gd name="connsiteX1" fmla="*/ 821567 w 1629088"/>
                <a:gd name="connsiteY1" fmla="*/ 1255269 h 1255269"/>
                <a:gd name="connsiteX2" fmla="*/ 800410 w 1629088"/>
                <a:gd name="connsiteY2" fmla="*/ 1234112 h 1255269"/>
                <a:gd name="connsiteX3" fmla="*/ 800410 w 1629088"/>
                <a:gd name="connsiteY3" fmla="*/ 1142024 h 1255269"/>
                <a:gd name="connsiteX4" fmla="*/ 749342 w 1629088"/>
                <a:gd name="connsiteY4" fmla="*/ 1120692 h 1255269"/>
                <a:gd name="connsiteX5" fmla="*/ 684051 w 1629088"/>
                <a:gd name="connsiteY5" fmla="*/ 1185982 h 1255269"/>
                <a:gd name="connsiteX6" fmla="*/ 669124 w 1629088"/>
                <a:gd name="connsiteY6" fmla="*/ 1192153 h 1255269"/>
                <a:gd name="connsiteX7" fmla="*/ 669124 w 1629088"/>
                <a:gd name="connsiteY7" fmla="*/ 1192153 h 1255269"/>
                <a:gd name="connsiteX8" fmla="*/ 654197 w 1629088"/>
                <a:gd name="connsiteY8" fmla="*/ 1185982 h 1255269"/>
                <a:gd name="connsiteX9" fmla="*/ 539484 w 1629088"/>
                <a:gd name="connsiteY9" fmla="*/ 1071268 h 1255269"/>
                <a:gd name="connsiteX10" fmla="*/ 539484 w 1629088"/>
                <a:gd name="connsiteY10" fmla="*/ 1041297 h 1255269"/>
                <a:gd name="connsiteX11" fmla="*/ 604598 w 1629088"/>
                <a:gd name="connsiteY11" fmla="*/ 976242 h 1255269"/>
                <a:gd name="connsiteX12" fmla="*/ 583618 w 1629088"/>
                <a:gd name="connsiteY12" fmla="*/ 925055 h 1255269"/>
                <a:gd name="connsiteX13" fmla="*/ 491294 w 1629088"/>
                <a:gd name="connsiteY13" fmla="*/ 925055 h 1255269"/>
                <a:gd name="connsiteX14" fmla="*/ 470138 w 1629088"/>
                <a:gd name="connsiteY14" fmla="*/ 903899 h 1255269"/>
                <a:gd name="connsiteX15" fmla="*/ 470138 w 1629088"/>
                <a:gd name="connsiteY15" fmla="*/ 741701 h 1255269"/>
                <a:gd name="connsiteX16" fmla="*/ 491294 w 1629088"/>
                <a:gd name="connsiteY16" fmla="*/ 720545 h 1255269"/>
                <a:gd name="connsiteX17" fmla="*/ 583383 w 1629088"/>
                <a:gd name="connsiteY17" fmla="*/ 720545 h 1255269"/>
                <a:gd name="connsiteX18" fmla="*/ 604715 w 1629088"/>
                <a:gd name="connsiteY18" fmla="*/ 669476 h 1255269"/>
                <a:gd name="connsiteX19" fmla="*/ 539484 w 1629088"/>
                <a:gd name="connsiteY19" fmla="*/ 604127 h 1255269"/>
                <a:gd name="connsiteX20" fmla="*/ 539484 w 1629088"/>
                <a:gd name="connsiteY20" fmla="*/ 574215 h 1255269"/>
                <a:gd name="connsiteX21" fmla="*/ 654139 w 1629088"/>
                <a:gd name="connsiteY21" fmla="*/ 459501 h 1255269"/>
                <a:gd name="connsiteX22" fmla="*/ 684051 w 1629088"/>
                <a:gd name="connsiteY22" fmla="*/ 459501 h 1255269"/>
                <a:gd name="connsiteX23" fmla="*/ 749165 w 1629088"/>
                <a:gd name="connsiteY23" fmla="*/ 524674 h 1255269"/>
                <a:gd name="connsiteX24" fmla="*/ 800410 w 1629088"/>
                <a:gd name="connsiteY24" fmla="*/ 503694 h 1255269"/>
                <a:gd name="connsiteX25" fmla="*/ 800410 w 1629088"/>
                <a:gd name="connsiteY25" fmla="*/ 411370 h 1255269"/>
                <a:gd name="connsiteX26" fmla="*/ 821567 w 1629088"/>
                <a:gd name="connsiteY26" fmla="*/ 390214 h 1255269"/>
                <a:gd name="connsiteX27" fmla="*/ 983764 w 1629088"/>
                <a:gd name="connsiteY27" fmla="*/ 390214 h 1255269"/>
                <a:gd name="connsiteX28" fmla="*/ 1004921 w 1629088"/>
                <a:gd name="connsiteY28" fmla="*/ 411370 h 1255269"/>
                <a:gd name="connsiteX29" fmla="*/ 1004921 w 1629088"/>
                <a:gd name="connsiteY29" fmla="*/ 503459 h 1255269"/>
                <a:gd name="connsiteX30" fmla="*/ 1055931 w 1629088"/>
                <a:gd name="connsiteY30" fmla="*/ 524791 h 1255269"/>
                <a:gd name="connsiteX31" fmla="*/ 1121162 w 1629088"/>
                <a:gd name="connsiteY31" fmla="*/ 459501 h 1255269"/>
                <a:gd name="connsiteX32" fmla="*/ 1151134 w 1629088"/>
                <a:gd name="connsiteY32" fmla="*/ 459501 h 1255269"/>
                <a:gd name="connsiteX33" fmla="*/ 1265847 w 1629088"/>
                <a:gd name="connsiteY33" fmla="*/ 574215 h 1255269"/>
                <a:gd name="connsiteX34" fmla="*/ 1272018 w 1629088"/>
                <a:gd name="connsiteY34" fmla="*/ 589142 h 1255269"/>
                <a:gd name="connsiteX35" fmla="*/ 1265847 w 1629088"/>
                <a:gd name="connsiteY35" fmla="*/ 604068 h 1255269"/>
                <a:gd name="connsiteX36" fmla="*/ 1200674 w 1629088"/>
                <a:gd name="connsiteY36" fmla="*/ 669183 h 1255269"/>
                <a:gd name="connsiteX37" fmla="*/ 1221654 w 1629088"/>
                <a:gd name="connsiteY37" fmla="*/ 720428 h 1255269"/>
                <a:gd name="connsiteX38" fmla="*/ 1314036 w 1629088"/>
                <a:gd name="connsiteY38" fmla="*/ 720428 h 1255269"/>
                <a:gd name="connsiteX39" fmla="*/ 1335193 w 1629088"/>
                <a:gd name="connsiteY39" fmla="*/ 741584 h 1255269"/>
                <a:gd name="connsiteX40" fmla="*/ 1335193 w 1629088"/>
                <a:gd name="connsiteY40" fmla="*/ 903782 h 1255269"/>
                <a:gd name="connsiteX41" fmla="*/ 1314036 w 1629088"/>
                <a:gd name="connsiteY41" fmla="*/ 924938 h 1255269"/>
                <a:gd name="connsiteX42" fmla="*/ 1221948 w 1629088"/>
                <a:gd name="connsiteY42" fmla="*/ 924938 h 1255269"/>
                <a:gd name="connsiteX43" fmla="*/ 1200616 w 1629088"/>
                <a:gd name="connsiteY43" fmla="*/ 975948 h 1255269"/>
                <a:gd name="connsiteX44" fmla="*/ 1265906 w 1629088"/>
                <a:gd name="connsiteY44" fmla="*/ 1041179 h 1255269"/>
                <a:gd name="connsiteX45" fmla="*/ 1272077 w 1629088"/>
                <a:gd name="connsiteY45" fmla="*/ 1056165 h 1255269"/>
                <a:gd name="connsiteX46" fmla="*/ 1265906 w 1629088"/>
                <a:gd name="connsiteY46" fmla="*/ 1071151 h 1255269"/>
                <a:gd name="connsiteX47" fmla="*/ 1151192 w 1629088"/>
                <a:gd name="connsiteY47" fmla="*/ 1185865 h 1255269"/>
                <a:gd name="connsiteX48" fmla="*/ 1136207 w 1629088"/>
                <a:gd name="connsiteY48" fmla="*/ 1192035 h 1255269"/>
                <a:gd name="connsiteX49" fmla="*/ 1136207 w 1629088"/>
                <a:gd name="connsiteY49" fmla="*/ 1192035 h 1255269"/>
                <a:gd name="connsiteX50" fmla="*/ 1121221 w 1629088"/>
                <a:gd name="connsiteY50" fmla="*/ 1185865 h 1255269"/>
                <a:gd name="connsiteX51" fmla="*/ 1056166 w 1629088"/>
                <a:gd name="connsiteY51" fmla="*/ 1120692 h 1255269"/>
                <a:gd name="connsiteX52" fmla="*/ 1004979 w 1629088"/>
                <a:gd name="connsiteY52" fmla="*/ 1141672 h 1255269"/>
                <a:gd name="connsiteX53" fmla="*/ 1004979 w 1629088"/>
                <a:gd name="connsiteY53" fmla="*/ 1234112 h 1255269"/>
                <a:gd name="connsiteX54" fmla="*/ 983764 w 1629088"/>
                <a:gd name="connsiteY54" fmla="*/ 1255269 h 1255269"/>
                <a:gd name="connsiteX55" fmla="*/ 842723 w 1629088"/>
                <a:gd name="connsiteY55" fmla="*/ 1212956 h 1255269"/>
                <a:gd name="connsiteX56" fmla="*/ 962608 w 1629088"/>
                <a:gd name="connsiteY56" fmla="*/ 1212956 h 1255269"/>
                <a:gd name="connsiteX57" fmla="*/ 962608 w 1629088"/>
                <a:gd name="connsiteY57" fmla="*/ 1127626 h 1255269"/>
                <a:gd name="connsiteX58" fmla="*/ 975772 w 1629088"/>
                <a:gd name="connsiteY58" fmla="*/ 1108057 h 1255269"/>
                <a:gd name="connsiteX59" fmla="*/ 1053110 w 1629088"/>
                <a:gd name="connsiteY59" fmla="*/ 1076322 h 1255269"/>
                <a:gd name="connsiteX60" fmla="*/ 1076146 w 1629088"/>
                <a:gd name="connsiteY60" fmla="*/ 1080906 h 1255269"/>
                <a:gd name="connsiteX61" fmla="*/ 1136207 w 1629088"/>
                <a:gd name="connsiteY61" fmla="*/ 1141084 h 1255269"/>
                <a:gd name="connsiteX62" fmla="*/ 1221008 w 1629088"/>
                <a:gd name="connsiteY62" fmla="*/ 1056283 h 1255269"/>
                <a:gd name="connsiteX63" fmla="*/ 1160595 w 1629088"/>
                <a:gd name="connsiteY63" fmla="*/ 995987 h 1255269"/>
                <a:gd name="connsiteX64" fmla="*/ 1156070 w 1629088"/>
                <a:gd name="connsiteY64" fmla="*/ 972833 h 1255269"/>
                <a:gd name="connsiteX65" fmla="*/ 1188392 w 1629088"/>
                <a:gd name="connsiteY65" fmla="*/ 895730 h 1255269"/>
                <a:gd name="connsiteX66" fmla="*/ 1207903 w 1629088"/>
                <a:gd name="connsiteY66" fmla="*/ 882684 h 1255269"/>
                <a:gd name="connsiteX67" fmla="*/ 1292880 w 1629088"/>
                <a:gd name="connsiteY67" fmla="*/ 882684 h 1255269"/>
                <a:gd name="connsiteX68" fmla="*/ 1292880 w 1629088"/>
                <a:gd name="connsiteY68" fmla="*/ 762799 h 1255269"/>
                <a:gd name="connsiteX69" fmla="*/ 1207550 w 1629088"/>
                <a:gd name="connsiteY69" fmla="*/ 762799 h 1255269"/>
                <a:gd name="connsiteX70" fmla="*/ 1187981 w 1629088"/>
                <a:gd name="connsiteY70" fmla="*/ 749694 h 1255269"/>
                <a:gd name="connsiteX71" fmla="*/ 1156246 w 1629088"/>
                <a:gd name="connsiteY71" fmla="*/ 672356 h 1255269"/>
                <a:gd name="connsiteX72" fmla="*/ 1160830 w 1629088"/>
                <a:gd name="connsiteY72" fmla="*/ 649378 h 1255269"/>
                <a:gd name="connsiteX73" fmla="*/ 1221008 w 1629088"/>
                <a:gd name="connsiteY73" fmla="*/ 589259 h 1255269"/>
                <a:gd name="connsiteX74" fmla="*/ 1136207 w 1629088"/>
                <a:gd name="connsiteY74" fmla="*/ 504458 h 1255269"/>
                <a:gd name="connsiteX75" fmla="*/ 1075911 w 1629088"/>
                <a:gd name="connsiteY75" fmla="*/ 564812 h 1255269"/>
                <a:gd name="connsiteX76" fmla="*/ 1052757 w 1629088"/>
                <a:gd name="connsiteY76" fmla="*/ 569396 h 1255269"/>
                <a:gd name="connsiteX77" fmla="*/ 975654 w 1629088"/>
                <a:gd name="connsiteY77" fmla="*/ 537133 h 1255269"/>
                <a:gd name="connsiteX78" fmla="*/ 962608 w 1629088"/>
                <a:gd name="connsiteY78" fmla="*/ 517622 h 1255269"/>
                <a:gd name="connsiteX79" fmla="*/ 962608 w 1629088"/>
                <a:gd name="connsiteY79" fmla="*/ 432527 h 1255269"/>
                <a:gd name="connsiteX80" fmla="*/ 842723 w 1629088"/>
                <a:gd name="connsiteY80" fmla="*/ 432527 h 1255269"/>
                <a:gd name="connsiteX81" fmla="*/ 842723 w 1629088"/>
                <a:gd name="connsiteY81" fmla="*/ 517857 h 1255269"/>
                <a:gd name="connsiteX82" fmla="*/ 829618 w 1629088"/>
                <a:gd name="connsiteY82" fmla="*/ 537426 h 1255269"/>
                <a:gd name="connsiteX83" fmla="*/ 752280 w 1629088"/>
                <a:gd name="connsiteY83" fmla="*/ 569161 h 1255269"/>
                <a:gd name="connsiteX84" fmla="*/ 729302 w 1629088"/>
                <a:gd name="connsiteY84" fmla="*/ 564518 h 1255269"/>
                <a:gd name="connsiteX85" fmla="*/ 669183 w 1629088"/>
                <a:gd name="connsiteY85" fmla="*/ 504399 h 1255269"/>
                <a:gd name="connsiteX86" fmla="*/ 584441 w 1629088"/>
                <a:gd name="connsiteY86" fmla="*/ 589200 h 1255269"/>
                <a:gd name="connsiteX87" fmla="*/ 644795 w 1629088"/>
                <a:gd name="connsiteY87" fmla="*/ 649613 h 1255269"/>
                <a:gd name="connsiteX88" fmla="*/ 649320 w 1629088"/>
                <a:gd name="connsiteY88" fmla="*/ 672767 h 1255269"/>
                <a:gd name="connsiteX89" fmla="*/ 617057 w 1629088"/>
                <a:gd name="connsiteY89" fmla="*/ 749870 h 1255269"/>
                <a:gd name="connsiteX90" fmla="*/ 597546 w 1629088"/>
                <a:gd name="connsiteY90" fmla="*/ 762858 h 1255269"/>
                <a:gd name="connsiteX91" fmla="*/ 512451 w 1629088"/>
                <a:gd name="connsiteY91" fmla="*/ 762858 h 1255269"/>
                <a:gd name="connsiteX92" fmla="*/ 512451 w 1629088"/>
                <a:gd name="connsiteY92" fmla="*/ 882743 h 1255269"/>
                <a:gd name="connsiteX93" fmla="*/ 597781 w 1629088"/>
                <a:gd name="connsiteY93" fmla="*/ 882743 h 1255269"/>
                <a:gd name="connsiteX94" fmla="*/ 617350 w 1629088"/>
                <a:gd name="connsiteY94" fmla="*/ 895907 h 1255269"/>
                <a:gd name="connsiteX95" fmla="*/ 649085 w 1629088"/>
                <a:gd name="connsiteY95" fmla="*/ 973245 h 1255269"/>
                <a:gd name="connsiteX96" fmla="*/ 644442 w 1629088"/>
                <a:gd name="connsiteY96" fmla="*/ 996281 h 1255269"/>
                <a:gd name="connsiteX97" fmla="*/ 584382 w 1629088"/>
                <a:gd name="connsiteY97" fmla="*/ 1056341 h 1255269"/>
                <a:gd name="connsiteX98" fmla="*/ 669124 w 1629088"/>
                <a:gd name="connsiteY98" fmla="*/ 1141143 h 1255269"/>
                <a:gd name="connsiteX99" fmla="*/ 729537 w 1629088"/>
                <a:gd name="connsiteY99" fmla="*/ 1080730 h 1255269"/>
                <a:gd name="connsiteX100" fmla="*/ 752691 w 1629088"/>
                <a:gd name="connsiteY100" fmla="*/ 1076205 h 1255269"/>
                <a:gd name="connsiteX101" fmla="*/ 829794 w 1629088"/>
                <a:gd name="connsiteY101" fmla="*/ 1108527 h 1255269"/>
                <a:gd name="connsiteX102" fmla="*/ 842782 w 1629088"/>
                <a:gd name="connsiteY102" fmla="*/ 1128038 h 1255269"/>
                <a:gd name="connsiteX103" fmla="*/ 842723 w 1629088"/>
                <a:gd name="connsiteY103" fmla="*/ 1212956 h 1255269"/>
                <a:gd name="connsiteX104" fmla="*/ 842723 w 1629088"/>
                <a:gd name="connsiteY104" fmla="*/ 1212956 h 1255269"/>
                <a:gd name="connsiteX105" fmla="*/ 902665 w 1629088"/>
                <a:gd name="connsiteY105" fmla="*/ 1020200 h 1255269"/>
                <a:gd name="connsiteX106" fmla="*/ 705207 w 1629088"/>
                <a:gd name="connsiteY106" fmla="*/ 822741 h 1255269"/>
                <a:gd name="connsiteX107" fmla="*/ 902665 w 1629088"/>
                <a:gd name="connsiteY107" fmla="*/ 625283 h 1255269"/>
                <a:gd name="connsiteX108" fmla="*/ 1100124 w 1629088"/>
                <a:gd name="connsiteY108" fmla="*/ 822741 h 1255269"/>
                <a:gd name="connsiteX109" fmla="*/ 902665 w 1629088"/>
                <a:gd name="connsiteY109" fmla="*/ 1020200 h 1255269"/>
                <a:gd name="connsiteX110" fmla="*/ 902665 w 1629088"/>
                <a:gd name="connsiteY110" fmla="*/ 667596 h 1255269"/>
                <a:gd name="connsiteX111" fmla="*/ 747520 w 1629088"/>
                <a:gd name="connsiteY111" fmla="*/ 822741 h 1255269"/>
                <a:gd name="connsiteX112" fmla="*/ 902665 w 1629088"/>
                <a:gd name="connsiteY112" fmla="*/ 977887 h 1255269"/>
                <a:gd name="connsiteX113" fmla="*/ 1057811 w 1629088"/>
                <a:gd name="connsiteY113" fmla="*/ 822741 h 1255269"/>
                <a:gd name="connsiteX114" fmla="*/ 902665 w 1629088"/>
                <a:gd name="connsiteY114" fmla="*/ 667596 h 1255269"/>
                <a:gd name="connsiteX115" fmla="*/ 42312 w 1629088"/>
                <a:gd name="connsiteY115" fmla="*/ 822741 h 1255269"/>
                <a:gd name="connsiteX116" fmla="*/ 0 w 1629088"/>
                <a:gd name="connsiteY116" fmla="*/ 822741 h 1255269"/>
                <a:gd name="connsiteX117" fmla="*/ 1586717 w 1629088"/>
                <a:gd name="connsiteY117" fmla="*/ 233717 h 1255269"/>
                <a:gd name="connsiteX118" fmla="*/ 1586717 w 1629088"/>
                <a:gd name="connsiteY118" fmla="*/ 0 h 1255269"/>
                <a:gd name="connsiteX119" fmla="*/ 1629088 w 1629088"/>
                <a:gd name="connsiteY119" fmla="*/ 0 h 1255269"/>
                <a:gd name="connsiteX120" fmla="*/ 1629088 w 1629088"/>
                <a:gd name="connsiteY120" fmla="*/ 314992 h 1255269"/>
                <a:gd name="connsiteX121" fmla="*/ 1314036 w 1629088"/>
                <a:gd name="connsiteY121" fmla="*/ 314992 h 1255269"/>
                <a:gd name="connsiteX122" fmla="*/ 1314036 w 1629088"/>
                <a:gd name="connsiteY122" fmla="*/ 272680 h 1255269"/>
                <a:gd name="connsiteX123" fmla="*/ 1564209 w 1629088"/>
                <a:gd name="connsiteY123" fmla="*/ 272680 h 1255269"/>
                <a:gd name="connsiteX124" fmla="*/ 42312 w 1629088"/>
                <a:gd name="connsiteY124" fmla="*/ 822741 h 1255269"/>
                <a:gd name="connsiteX0" fmla="*/ 983764 w 1629088"/>
                <a:gd name="connsiteY0" fmla="*/ 1255269 h 1255269"/>
                <a:gd name="connsiteX1" fmla="*/ 821567 w 1629088"/>
                <a:gd name="connsiteY1" fmla="*/ 1255269 h 1255269"/>
                <a:gd name="connsiteX2" fmla="*/ 800410 w 1629088"/>
                <a:gd name="connsiteY2" fmla="*/ 1234112 h 1255269"/>
                <a:gd name="connsiteX3" fmla="*/ 800410 w 1629088"/>
                <a:gd name="connsiteY3" fmla="*/ 1142024 h 1255269"/>
                <a:gd name="connsiteX4" fmla="*/ 749342 w 1629088"/>
                <a:gd name="connsiteY4" fmla="*/ 1120692 h 1255269"/>
                <a:gd name="connsiteX5" fmla="*/ 684051 w 1629088"/>
                <a:gd name="connsiteY5" fmla="*/ 1185982 h 1255269"/>
                <a:gd name="connsiteX6" fmla="*/ 669124 w 1629088"/>
                <a:gd name="connsiteY6" fmla="*/ 1192153 h 1255269"/>
                <a:gd name="connsiteX7" fmla="*/ 669124 w 1629088"/>
                <a:gd name="connsiteY7" fmla="*/ 1192153 h 1255269"/>
                <a:gd name="connsiteX8" fmla="*/ 654197 w 1629088"/>
                <a:gd name="connsiteY8" fmla="*/ 1185982 h 1255269"/>
                <a:gd name="connsiteX9" fmla="*/ 539484 w 1629088"/>
                <a:gd name="connsiteY9" fmla="*/ 1071268 h 1255269"/>
                <a:gd name="connsiteX10" fmla="*/ 539484 w 1629088"/>
                <a:gd name="connsiteY10" fmla="*/ 1041297 h 1255269"/>
                <a:gd name="connsiteX11" fmla="*/ 604598 w 1629088"/>
                <a:gd name="connsiteY11" fmla="*/ 976242 h 1255269"/>
                <a:gd name="connsiteX12" fmla="*/ 583618 w 1629088"/>
                <a:gd name="connsiteY12" fmla="*/ 925055 h 1255269"/>
                <a:gd name="connsiteX13" fmla="*/ 491294 w 1629088"/>
                <a:gd name="connsiteY13" fmla="*/ 925055 h 1255269"/>
                <a:gd name="connsiteX14" fmla="*/ 470138 w 1629088"/>
                <a:gd name="connsiteY14" fmla="*/ 903899 h 1255269"/>
                <a:gd name="connsiteX15" fmla="*/ 470138 w 1629088"/>
                <a:gd name="connsiteY15" fmla="*/ 741701 h 1255269"/>
                <a:gd name="connsiteX16" fmla="*/ 491294 w 1629088"/>
                <a:gd name="connsiteY16" fmla="*/ 720545 h 1255269"/>
                <a:gd name="connsiteX17" fmla="*/ 583383 w 1629088"/>
                <a:gd name="connsiteY17" fmla="*/ 720545 h 1255269"/>
                <a:gd name="connsiteX18" fmla="*/ 604715 w 1629088"/>
                <a:gd name="connsiteY18" fmla="*/ 669476 h 1255269"/>
                <a:gd name="connsiteX19" fmla="*/ 539484 w 1629088"/>
                <a:gd name="connsiteY19" fmla="*/ 604127 h 1255269"/>
                <a:gd name="connsiteX20" fmla="*/ 539484 w 1629088"/>
                <a:gd name="connsiteY20" fmla="*/ 574215 h 1255269"/>
                <a:gd name="connsiteX21" fmla="*/ 654139 w 1629088"/>
                <a:gd name="connsiteY21" fmla="*/ 459501 h 1255269"/>
                <a:gd name="connsiteX22" fmla="*/ 684051 w 1629088"/>
                <a:gd name="connsiteY22" fmla="*/ 459501 h 1255269"/>
                <a:gd name="connsiteX23" fmla="*/ 749165 w 1629088"/>
                <a:gd name="connsiteY23" fmla="*/ 524674 h 1255269"/>
                <a:gd name="connsiteX24" fmla="*/ 800410 w 1629088"/>
                <a:gd name="connsiteY24" fmla="*/ 503694 h 1255269"/>
                <a:gd name="connsiteX25" fmla="*/ 800410 w 1629088"/>
                <a:gd name="connsiteY25" fmla="*/ 411370 h 1255269"/>
                <a:gd name="connsiteX26" fmla="*/ 821567 w 1629088"/>
                <a:gd name="connsiteY26" fmla="*/ 390214 h 1255269"/>
                <a:gd name="connsiteX27" fmla="*/ 983764 w 1629088"/>
                <a:gd name="connsiteY27" fmla="*/ 390214 h 1255269"/>
                <a:gd name="connsiteX28" fmla="*/ 1004921 w 1629088"/>
                <a:gd name="connsiteY28" fmla="*/ 411370 h 1255269"/>
                <a:gd name="connsiteX29" fmla="*/ 1004921 w 1629088"/>
                <a:gd name="connsiteY29" fmla="*/ 503459 h 1255269"/>
                <a:gd name="connsiteX30" fmla="*/ 1055931 w 1629088"/>
                <a:gd name="connsiteY30" fmla="*/ 524791 h 1255269"/>
                <a:gd name="connsiteX31" fmla="*/ 1121162 w 1629088"/>
                <a:gd name="connsiteY31" fmla="*/ 459501 h 1255269"/>
                <a:gd name="connsiteX32" fmla="*/ 1151134 w 1629088"/>
                <a:gd name="connsiteY32" fmla="*/ 459501 h 1255269"/>
                <a:gd name="connsiteX33" fmla="*/ 1265847 w 1629088"/>
                <a:gd name="connsiteY33" fmla="*/ 574215 h 1255269"/>
                <a:gd name="connsiteX34" fmla="*/ 1272018 w 1629088"/>
                <a:gd name="connsiteY34" fmla="*/ 589142 h 1255269"/>
                <a:gd name="connsiteX35" fmla="*/ 1265847 w 1629088"/>
                <a:gd name="connsiteY35" fmla="*/ 604068 h 1255269"/>
                <a:gd name="connsiteX36" fmla="*/ 1200674 w 1629088"/>
                <a:gd name="connsiteY36" fmla="*/ 669183 h 1255269"/>
                <a:gd name="connsiteX37" fmla="*/ 1221654 w 1629088"/>
                <a:gd name="connsiteY37" fmla="*/ 720428 h 1255269"/>
                <a:gd name="connsiteX38" fmla="*/ 1314036 w 1629088"/>
                <a:gd name="connsiteY38" fmla="*/ 720428 h 1255269"/>
                <a:gd name="connsiteX39" fmla="*/ 1335193 w 1629088"/>
                <a:gd name="connsiteY39" fmla="*/ 741584 h 1255269"/>
                <a:gd name="connsiteX40" fmla="*/ 1335193 w 1629088"/>
                <a:gd name="connsiteY40" fmla="*/ 903782 h 1255269"/>
                <a:gd name="connsiteX41" fmla="*/ 1314036 w 1629088"/>
                <a:gd name="connsiteY41" fmla="*/ 924938 h 1255269"/>
                <a:gd name="connsiteX42" fmla="*/ 1221948 w 1629088"/>
                <a:gd name="connsiteY42" fmla="*/ 924938 h 1255269"/>
                <a:gd name="connsiteX43" fmla="*/ 1200616 w 1629088"/>
                <a:gd name="connsiteY43" fmla="*/ 975948 h 1255269"/>
                <a:gd name="connsiteX44" fmla="*/ 1265906 w 1629088"/>
                <a:gd name="connsiteY44" fmla="*/ 1041179 h 1255269"/>
                <a:gd name="connsiteX45" fmla="*/ 1272077 w 1629088"/>
                <a:gd name="connsiteY45" fmla="*/ 1056165 h 1255269"/>
                <a:gd name="connsiteX46" fmla="*/ 1265906 w 1629088"/>
                <a:gd name="connsiteY46" fmla="*/ 1071151 h 1255269"/>
                <a:gd name="connsiteX47" fmla="*/ 1151192 w 1629088"/>
                <a:gd name="connsiteY47" fmla="*/ 1185865 h 1255269"/>
                <a:gd name="connsiteX48" fmla="*/ 1136207 w 1629088"/>
                <a:gd name="connsiteY48" fmla="*/ 1192035 h 1255269"/>
                <a:gd name="connsiteX49" fmla="*/ 1136207 w 1629088"/>
                <a:gd name="connsiteY49" fmla="*/ 1192035 h 1255269"/>
                <a:gd name="connsiteX50" fmla="*/ 1121221 w 1629088"/>
                <a:gd name="connsiteY50" fmla="*/ 1185865 h 1255269"/>
                <a:gd name="connsiteX51" fmla="*/ 1056166 w 1629088"/>
                <a:gd name="connsiteY51" fmla="*/ 1120692 h 1255269"/>
                <a:gd name="connsiteX52" fmla="*/ 1004979 w 1629088"/>
                <a:gd name="connsiteY52" fmla="*/ 1141672 h 1255269"/>
                <a:gd name="connsiteX53" fmla="*/ 1004979 w 1629088"/>
                <a:gd name="connsiteY53" fmla="*/ 1234112 h 1255269"/>
                <a:gd name="connsiteX54" fmla="*/ 983764 w 1629088"/>
                <a:gd name="connsiteY54" fmla="*/ 1255269 h 1255269"/>
                <a:gd name="connsiteX55" fmla="*/ 842723 w 1629088"/>
                <a:gd name="connsiteY55" fmla="*/ 1212956 h 1255269"/>
                <a:gd name="connsiteX56" fmla="*/ 962608 w 1629088"/>
                <a:gd name="connsiteY56" fmla="*/ 1212956 h 1255269"/>
                <a:gd name="connsiteX57" fmla="*/ 962608 w 1629088"/>
                <a:gd name="connsiteY57" fmla="*/ 1127626 h 1255269"/>
                <a:gd name="connsiteX58" fmla="*/ 975772 w 1629088"/>
                <a:gd name="connsiteY58" fmla="*/ 1108057 h 1255269"/>
                <a:gd name="connsiteX59" fmla="*/ 1053110 w 1629088"/>
                <a:gd name="connsiteY59" fmla="*/ 1076322 h 1255269"/>
                <a:gd name="connsiteX60" fmla="*/ 1076146 w 1629088"/>
                <a:gd name="connsiteY60" fmla="*/ 1080906 h 1255269"/>
                <a:gd name="connsiteX61" fmla="*/ 1136207 w 1629088"/>
                <a:gd name="connsiteY61" fmla="*/ 1141084 h 1255269"/>
                <a:gd name="connsiteX62" fmla="*/ 1221008 w 1629088"/>
                <a:gd name="connsiteY62" fmla="*/ 1056283 h 1255269"/>
                <a:gd name="connsiteX63" fmla="*/ 1160595 w 1629088"/>
                <a:gd name="connsiteY63" fmla="*/ 995987 h 1255269"/>
                <a:gd name="connsiteX64" fmla="*/ 1156070 w 1629088"/>
                <a:gd name="connsiteY64" fmla="*/ 972833 h 1255269"/>
                <a:gd name="connsiteX65" fmla="*/ 1188392 w 1629088"/>
                <a:gd name="connsiteY65" fmla="*/ 895730 h 1255269"/>
                <a:gd name="connsiteX66" fmla="*/ 1207903 w 1629088"/>
                <a:gd name="connsiteY66" fmla="*/ 882684 h 1255269"/>
                <a:gd name="connsiteX67" fmla="*/ 1292880 w 1629088"/>
                <a:gd name="connsiteY67" fmla="*/ 882684 h 1255269"/>
                <a:gd name="connsiteX68" fmla="*/ 1292880 w 1629088"/>
                <a:gd name="connsiteY68" fmla="*/ 762799 h 1255269"/>
                <a:gd name="connsiteX69" fmla="*/ 1207550 w 1629088"/>
                <a:gd name="connsiteY69" fmla="*/ 762799 h 1255269"/>
                <a:gd name="connsiteX70" fmla="*/ 1187981 w 1629088"/>
                <a:gd name="connsiteY70" fmla="*/ 749694 h 1255269"/>
                <a:gd name="connsiteX71" fmla="*/ 1156246 w 1629088"/>
                <a:gd name="connsiteY71" fmla="*/ 672356 h 1255269"/>
                <a:gd name="connsiteX72" fmla="*/ 1160830 w 1629088"/>
                <a:gd name="connsiteY72" fmla="*/ 649378 h 1255269"/>
                <a:gd name="connsiteX73" fmla="*/ 1221008 w 1629088"/>
                <a:gd name="connsiteY73" fmla="*/ 589259 h 1255269"/>
                <a:gd name="connsiteX74" fmla="*/ 1136207 w 1629088"/>
                <a:gd name="connsiteY74" fmla="*/ 504458 h 1255269"/>
                <a:gd name="connsiteX75" fmla="*/ 1075911 w 1629088"/>
                <a:gd name="connsiteY75" fmla="*/ 564812 h 1255269"/>
                <a:gd name="connsiteX76" fmla="*/ 1052757 w 1629088"/>
                <a:gd name="connsiteY76" fmla="*/ 569396 h 1255269"/>
                <a:gd name="connsiteX77" fmla="*/ 975654 w 1629088"/>
                <a:gd name="connsiteY77" fmla="*/ 537133 h 1255269"/>
                <a:gd name="connsiteX78" fmla="*/ 962608 w 1629088"/>
                <a:gd name="connsiteY78" fmla="*/ 517622 h 1255269"/>
                <a:gd name="connsiteX79" fmla="*/ 962608 w 1629088"/>
                <a:gd name="connsiteY79" fmla="*/ 432527 h 1255269"/>
                <a:gd name="connsiteX80" fmla="*/ 842723 w 1629088"/>
                <a:gd name="connsiteY80" fmla="*/ 432527 h 1255269"/>
                <a:gd name="connsiteX81" fmla="*/ 842723 w 1629088"/>
                <a:gd name="connsiteY81" fmla="*/ 517857 h 1255269"/>
                <a:gd name="connsiteX82" fmla="*/ 829618 w 1629088"/>
                <a:gd name="connsiteY82" fmla="*/ 537426 h 1255269"/>
                <a:gd name="connsiteX83" fmla="*/ 752280 w 1629088"/>
                <a:gd name="connsiteY83" fmla="*/ 569161 h 1255269"/>
                <a:gd name="connsiteX84" fmla="*/ 729302 w 1629088"/>
                <a:gd name="connsiteY84" fmla="*/ 564518 h 1255269"/>
                <a:gd name="connsiteX85" fmla="*/ 669183 w 1629088"/>
                <a:gd name="connsiteY85" fmla="*/ 504399 h 1255269"/>
                <a:gd name="connsiteX86" fmla="*/ 584441 w 1629088"/>
                <a:gd name="connsiteY86" fmla="*/ 589200 h 1255269"/>
                <a:gd name="connsiteX87" fmla="*/ 644795 w 1629088"/>
                <a:gd name="connsiteY87" fmla="*/ 649613 h 1255269"/>
                <a:gd name="connsiteX88" fmla="*/ 649320 w 1629088"/>
                <a:gd name="connsiteY88" fmla="*/ 672767 h 1255269"/>
                <a:gd name="connsiteX89" fmla="*/ 617057 w 1629088"/>
                <a:gd name="connsiteY89" fmla="*/ 749870 h 1255269"/>
                <a:gd name="connsiteX90" fmla="*/ 597546 w 1629088"/>
                <a:gd name="connsiteY90" fmla="*/ 762858 h 1255269"/>
                <a:gd name="connsiteX91" fmla="*/ 512451 w 1629088"/>
                <a:gd name="connsiteY91" fmla="*/ 762858 h 1255269"/>
                <a:gd name="connsiteX92" fmla="*/ 512451 w 1629088"/>
                <a:gd name="connsiteY92" fmla="*/ 882743 h 1255269"/>
                <a:gd name="connsiteX93" fmla="*/ 597781 w 1629088"/>
                <a:gd name="connsiteY93" fmla="*/ 882743 h 1255269"/>
                <a:gd name="connsiteX94" fmla="*/ 617350 w 1629088"/>
                <a:gd name="connsiteY94" fmla="*/ 895907 h 1255269"/>
                <a:gd name="connsiteX95" fmla="*/ 649085 w 1629088"/>
                <a:gd name="connsiteY95" fmla="*/ 973245 h 1255269"/>
                <a:gd name="connsiteX96" fmla="*/ 644442 w 1629088"/>
                <a:gd name="connsiteY96" fmla="*/ 996281 h 1255269"/>
                <a:gd name="connsiteX97" fmla="*/ 584382 w 1629088"/>
                <a:gd name="connsiteY97" fmla="*/ 1056341 h 1255269"/>
                <a:gd name="connsiteX98" fmla="*/ 669124 w 1629088"/>
                <a:gd name="connsiteY98" fmla="*/ 1141143 h 1255269"/>
                <a:gd name="connsiteX99" fmla="*/ 729537 w 1629088"/>
                <a:gd name="connsiteY99" fmla="*/ 1080730 h 1255269"/>
                <a:gd name="connsiteX100" fmla="*/ 752691 w 1629088"/>
                <a:gd name="connsiteY100" fmla="*/ 1076205 h 1255269"/>
                <a:gd name="connsiteX101" fmla="*/ 829794 w 1629088"/>
                <a:gd name="connsiteY101" fmla="*/ 1108527 h 1255269"/>
                <a:gd name="connsiteX102" fmla="*/ 842782 w 1629088"/>
                <a:gd name="connsiteY102" fmla="*/ 1128038 h 1255269"/>
                <a:gd name="connsiteX103" fmla="*/ 842723 w 1629088"/>
                <a:gd name="connsiteY103" fmla="*/ 1212956 h 1255269"/>
                <a:gd name="connsiteX104" fmla="*/ 842723 w 1629088"/>
                <a:gd name="connsiteY104" fmla="*/ 1212956 h 1255269"/>
                <a:gd name="connsiteX105" fmla="*/ 902665 w 1629088"/>
                <a:gd name="connsiteY105" fmla="*/ 1020200 h 1255269"/>
                <a:gd name="connsiteX106" fmla="*/ 705207 w 1629088"/>
                <a:gd name="connsiteY106" fmla="*/ 822741 h 1255269"/>
                <a:gd name="connsiteX107" fmla="*/ 902665 w 1629088"/>
                <a:gd name="connsiteY107" fmla="*/ 625283 h 1255269"/>
                <a:gd name="connsiteX108" fmla="*/ 1100124 w 1629088"/>
                <a:gd name="connsiteY108" fmla="*/ 822741 h 1255269"/>
                <a:gd name="connsiteX109" fmla="*/ 902665 w 1629088"/>
                <a:gd name="connsiteY109" fmla="*/ 1020200 h 1255269"/>
                <a:gd name="connsiteX110" fmla="*/ 902665 w 1629088"/>
                <a:gd name="connsiteY110" fmla="*/ 667596 h 1255269"/>
                <a:gd name="connsiteX111" fmla="*/ 747520 w 1629088"/>
                <a:gd name="connsiteY111" fmla="*/ 822741 h 1255269"/>
                <a:gd name="connsiteX112" fmla="*/ 902665 w 1629088"/>
                <a:gd name="connsiteY112" fmla="*/ 977887 h 1255269"/>
                <a:gd name="connsiteX113" fmla="*/ 1057811 w 1629088"/>
                <a:gd name="connsiteY113" fmla="*/ 822741 h 1255269"/>
                <a:gd name="connsiteX114" fmla="*/ 902665 w 1629088"/>
                <a:gd name="connsiteY114" fmla="*/ 667596 h 1255269"/>
                <a:gd name="connsiteX115" fmla="*/ 42312 w 1629088"/>
                <a:gd name="connsiteY115" fmla="*/ 822741 h 1255269"/>
                <a:gd name="connsiteX116" fmla="*/ 0 w 1629088"/>
                <a:gd name="connsiteY116" fmla="*/ 822741 h 1255269"/>
                <a:gd name="connsiteX117" fmla="*/ 1586717 w 1629088"/>
                <a:gd name="connsiteY117" fmla="*/ 233717 h 1255269"/>
                <a:gd name="connsiteX118" fmla="*/ 1586717 w 1629088"/>
                <a:gd name="connsiteY118" fmla="*/ 0 h 1255269"/>
                <a:gd name="connsiteX119" fmla="*/ 1629088 w 1629088"/>
                <a:gd name="connsiteY119" fmla="*/ 0 h 1255269"/>
                <a:gd name="connsiteX120" fmla="*/ 1629088 w 1629088"/>
                <a:gd name="connsiteY120" fmla="*/ 314992 h 1255269"/>
                <a:gd name="connsiteX121" fmla="*/ 1314036 w 1629088"/>
                <a:gd name="connsiteY121" fmla="*/ 314992 h 1255269"/>
                <a:gd name="connsiteX122" fmla="*/ 1564209 w 1629088"/>
                <a:gd name="connsiteY122" fmla="*/ 272680 h 1255269"/>
                <a:gd name="connsiteX123" fmla="*/ 42312 w 1629088"/>
                <a:gd name="connsiteY123" fmla="*/ 822741 h 1255269"/>
                <a:gd name="connsiteX0" fmla="*/ 983764 w 1629088"/>
                <a:gd name="connsiteY0" fmla="*/ 1255269 h 1255269"/>
                <a:gd name="connsiteX1" fmla="*/ 821567 w 1629088"/>
                <a:gd name="connsiteY1" fmla="*/ 1255269 h 1255269"/>
                <a:gd name="connsiteX2" fmla="*/ 800410 w 1629088"/>
                <a:gd name="connsiteY2" fmla="*/ 1234112 h 1255269"/>
                <a:gd name="connsiteX3" fmla="*/ 800410 w 1629088"/>
                <a:gd name="connsiteY3" fmla="*/ 1142024 h 1255269"/>
                <a:gd name="connsiteX4" fmla="*/ 749342 w 1629088"/>
                <a:gd name="connsiteY4" fmla="*/ 1120692 h 1255269"/>
                <a:gd name="connsiteX5" fmla="*/ 684051 w 1629088"/>
                <a:gd name="connsiteY5" fmla="*/ 1185982 h 1255269"/>
                <a:gd name="connsiteX6" fmla="*/ 669124 w 1629088"/>
                <a:gd name="connsiteY6" fmla="*/ 1192153 h 1255269"/>
                <a:gd name="connsiteX7" fmla="*/ 669124 w 1629088"/>
                <a:gd name="connsiteY7" fmla="*/ 1192153 h 1255269"/>
                <a:gd name="connsiteX8" fmla="*/ 654197 w 1629088"/>
                <a:gd name="connsiteY8" fmla="*/ 1185982 h 1255269"/>
                <a:gd name="connsiteX9" fmla="*/ 539484 w 1629088"/>
                <a:gd name="connsiteY9" fmla="*/ 1071268 h 1255269"/>
                <a:gd name="connsiteX10" fmla="*/ 539484 w 1629088"/>
                <a:gd name="connsiteY10" fmla="*/ 1041297 h 1255269"/>
                <a:gd name="connsiteX11" fmla="*/ 604598 w 1629088"/>
                <a:gd name="connsiteY11" fmla="*/ 976242 h 1255269"/>
                <a:gd name="connsiteX12" fmla="*/ 583618 w 1629088"/>
                <a:gd name="connsiteY12" fmla="*/ 925055 h 1255269"/>
                <a:gd name="connsiteX13" fmla="*/ 491294 w 1629088"/>
                <a:gd name="connsiteY13" fmla="*/ 925055 h 1255269"/>
                <a:gd name="connsiteX14" fmla="*/ 470138 w 1629088"/>
                <a:gd name="connsiteY14" fmla="*/ 903899 h 1255269"/>
                <a:gd name="connsiteX15" fmla="*/ 470138 w 1629088"/>
                <a:gd name="connsiteY15" fmla="*/ 741701 h 1255269"/>
                <a:gd name="connsiteX16" fmla="*/ 491294 w 1629088"/>
                <a:gd name="connsiteY16" fmla="*/ 720545 h 1255269"/>
                <a:gd name="connsiteX17" fmla="*/ 583383 w 1629088"/>
                <a:gd name="connsiteY17" fmla="*/ 720545 h 1255269"/>
                <a:gd name="connsiteX18" fmla="*/ 604715 w 1629088"/>
                <a:gd name="connsiteY18" fmla="*/ 669476 h 1255269"/>
                <a:gd name="connsiteX19" fmla="*/ 539484 w 1629088"/>
                <a:gd name="connsiteY19" fmla="*/ 604127 h 1255269"/>
                <a:gd name="connsiteX20" fmla="*/ 539484 w 1629088"/>
                <a:gd name="connsiteY20" fmla="*/ 574215 h 1255269"/>
                <a:gd name="connsiteX21" fmla="*/ 654139 w 1629088"/>
                <a:gd name="connsiteY21" fmla="*/ 459501 h 1255269"/>
                <a:gd name="connsiteX22" fmla="*/ 684051 w 1629088"/>
                <a:gd name="connsiteY22" fmla="*/ 459501 h 1255269"/>
                <a:gd name="connsiteX23" fmla="*/ 749165 w 1629088"/>
                <a:gd name="connsiteY23" fmla="*/ 524674 h 1255269"/>
                <a:gd name="connsiteX24" fmla="*/ 800410 w 1629088"/>
                <a:gd name="connsiteY24" fmla="*/ 503694 h 1255269"/>
                <a:gd name="connsiteX25" fmla="*/ 800410 w 1629088"/>
                <a:gd name="connsiteY25" fmla="*/ 411370 h 1255269"/>
                <a:gd name="connsiteX26" fmla="*/ 821567 w 1629088"/>
                <a:gd name="connsiteY26" fmla="*/ 390214 h 1255269"/>
                <a:gd name="connsiteX27" fmla="*/ 983764 w 1629088"/>
                <a:gd name="connsiteY27" fmla="*/ 390214 h 1255269"/>
                <a:gd name="connsiteX28" fmla="*/ 1004921 w 1629088"/>
                <a:gd name="connsiteY28" fmla="*/ 411370 h 1255269"/>
                <a:gd name="connsiteX29" fmla="*/ 1004921 w 1629088"/>
                <a:gd name="connsiteY29" fmla="*/ 503459 h 1255269"/>
                <a:gd name="connsiteX30" fmla="*/ 1055931 w 1629088"/>
                <a:gd name="connsiteY30" fmla="*/ 524791 h 1255269"/>
                <a:gd name="connsiteX31" fmla="*/ 1121162 w 1629088"/>
                <a:gd name="connsiteY31" fmla="*/ 459501 h 1255269"/>
                <a:gd name="connsiteX32" fmla="*/ 1151134 w 1629088"/>
                <a:gd name="connsiteY32" fmla="*/ 459501 h 1255269"/>
                <a:gd name="connsiteX33" fmla="*/ 1265847 w 1629088"/>
                <a:gd name="connsiteY33" fmla="*/ 574215 h 1255269"/>
                <a:gd name="connsiteX34" fmla="*/ 1272018 w 1629088"/>
                <a:gd name="connsiteY34" fmla="*/ 589142 h 1255269"/>
                <a:gd name="connsiteX35" fmla="*/ 1265847 w 1629088"/>
                <a:gd name="connsiteY35" fmla="*/ 604068 h 1255269"/>
                <a:gd name="connsiteX36" fmla="*/ 1200674 w 1629088"/>
                <a:gd name="connsiteY36" fmla="*/ 669183 h 1255269"/>
                <a:gd name="connsiteX37" fmla="*/ 1221654 w 1629088"/>
                <a:gd name="connsiteY37" fmla="*/ 720428 h 1255269"/>
                <a:gd name="connsiteX38" fmla="*/ 1314036 w 1629088"/>
                <a:gd name="connsiteY38" fmla="*/ 720428 h 1255269"/>
                <a:gd name="connsiteX39" fmla="*/ 1335193 w 1629088"/>
                <a:gd name="connsiteY39" fmla="*/ 741584 h 1255269"/>
                <a:gd name="connsiteX40" fmla="*/ 1335193 w 1629088"/>
                <a:gd name="connsiteY40" fmla="*/ 903782 h 1255269"/>
                <a:gd name="connsiteX41" fmla="*/ 1314036 w 1629088"/>
                <a:gd name="connsiteY41" fmla="*/ 924938 h 1255269"/>
                <a:gd name="connsiteX42" fmla="*/ 1221948 w 1629088"/>
                <a:gd name="connsiteY42" fmla="*/ 924938 h 1255269"/>
                <a:gd name="connsiteX43" fmla="*/ 1200616 w 1629088"/>
                <a:gd name="connsiteY43" fmla="*/ 975948 h 1255269"/>
                <a:gd name="connsiteX44" fmla="*/ 1265906 w 1629088"/>
                <a:gd name="connsiteY44" fmla="*/ 1041179 h 1255269"/>
                <a:gd name="connsiteX45" fmla="*/ 1272077 w 1629088"/>
                <a:gd name="connsiteY45" fmla="*/ 1056165 h 1255269"/>
                <a:gd name="connsiteX46" fmla="*/ 1265906 w 1629088"/>
                <a:gd name="connsiteY46" fmla="*/ 1071151 h 1255269"/>
                <a:gd name="connsiteX47" fmla="*/ 1151192 w 1629088"/>
                <a:gd name="connsiteY47" fmla="*/ 1185865 h 1255269"/>
                <a:gd name="connsiteX48" fmla="*/ 1136207 w 1629088"/>
                <a:gd name="connsiteY48" fmla="*/ 1192035 h 1255269"/>
                <a:gd name="connsiteX49" fmla="*/ 1136207 w 1629088"/>
                <a:gd name="connsiteY49" fmla="*/ 1192035 h 1255269"/>
                <a:gd name="connsiteX50" fmla="*/ 1121221 w 1629088"/>
                <a:gd name="connsiteY50" fmla="*/ 1185865 h 1255269"/>
                <a:gd name="connsiteX51" fmla="*/ 1056166 w 1629088"/>
                <a:gd name="connsiteY51" fmla="*/ 1120692 h 1255269"/>
                <a:gd name="connsiteX52" fmla="*/ 1004979 w 1629088"/>
                <a:gd name="connsiteY52" fmla="*/ 1141672 h 1255269"/>
                <a:gd name="connsiteX53" fmla="*/ 1004979 w 1629088"/>
                <a:gd name="connsiteY53" fmla="*/ 1234112 h 1255269"/>
                <a:gd name="connsiteX54" fmla="*/ 983764 w 1629088"/>
                <a:gd name="connsiteY54" fmla="*/ 1255269 h 1255269"/>
                <a:gd name="connsiteX55" fmla="*/ 842723 w 1629088"/>
                <a:gd name="connsiteY55" fmla="*/ 1212956 h 1255269"/>
                <a:gd name="connsiteX56" fmla="*/ 962608 w 1629088"/>
                <a:gd name="connsiteY56" fmla="*/ 1212956 h 1255269"/>
                <a:gd name="connsiteX57" fmla="*/ 962608 w 1629088"/>
                <a:gd name="connsiteY57" fmla="*/ 1127626 h 1255269"/>
                <a:gd name="connsiteX58" fmla="*/ 975772 w 1629088"/>
                <a:gd name="connsiteY58" fmla="*/ 1108057 h 1255269"/>
                <a:gd name="connsiteX59" fmla="*/ 1053110 w 1629088"/>
                <a:gd name="connsiteY59" fmla="*/ 1076322 h 1255269"/>
                <a:gd name="connsiteX60" fmla="*/ 1076146 w 1629088"/>
                <a:gd name="connsiteY60" fmla="*/ 1080906 h 1255269"/>
                <a:gd name="connsiteX61" fmla="*/ 1136207 w 1629088"/>
                <a:gd name="connsiteY61" fmla="*/ 1141084 h 1255269"/>
                <a:gd name="connsiteX62" fmla="*/ 1221008 w 1629088"/>
                <a:gd name="connsiteY62" fmla="*/ 1056283 h 1255269"/>
                <a:gd name="connsiteX63" fmla="*/ 1160595 w 1629088"/>
                <a:gd name="connsiteY63" fmla="*/ 995987 h 1255269"/>
                <a:gd name="connsiteX64" fmla="*/ 1156070 w 1629088"/>
                <a:gd name="connsiteY64" fmla="*/ 972833 h 1255269"/>
                <a:gd name="connsiteX65" fmla="*/ 1188392 w 1629088"/>
                <a:gd name="connsiteY65" fmla="*/ 895730 h 1255269"/>
                <a:gd name="connsiteX66" fmla="*/ 1207903 w 1629088"/>
                <a:gd name="connsiteY66" fmla="*/ 882684 h 1255269"/>
                <a:gd name="connsiteX67" fmla="*/ 1292880 w 1629088"/>
                <a:gd name="connsiteY67" fmla="*/ 882684 h 1255269"/>
                <a:gd name="connsiteX68" fmla="*/ 1292880 w 1629088"/>
                <a:gd name="connsiteY68" fmla="*/ 762799 h 1255269"/>
                <a:gd name="connsiteX69" fmla="*/ 1207550 w 1629088"/>
                <a:gd name="connsiteY69" fmla="*/ 762799 h 1255269"/>
                <a:gd name="connsiteX70" fmla="*/ 1187981 w 1629088"/>
                <a:gd name="connsiteY70" fmla="*/ 749694 h 1255269"/>
                <a:gd name="connsiteX71" fmla="*/ 1156246 w 1629088"/>
                <a:gd name="connsiteY71" fmla="*/ 672356 h 1255269"/>
                <a:gd name="connsiteX72" fmla="*/ 1160830 w 1629088"/>
                <a:gd name="connsiteY72" fmla="*/ 649378 h 1255269"/>
                <a:gd name="connsiteX73" fmla="*/ 1221008 w 1629088"/>
                <a:gd name="connsiteY73" fmla="*/ 589259 h 1255269"/>
                <a:gd name="connsiteX74" fmla="*/ 1136207 w 1629088"/>
                <a:gd name="connsiteY74" fmla="*/ 504458 h 1255269"/>
                <a:gd name="connsiteX75" fmla="*/ 1075911 w 1629088"/>
                <a:gd name="connsiteY75" fmla="*/ 564812 h 1255269"/>
                <a:gd name="connsiteX76" fmla="*/ 1052757 w 1629088"/>
                <a:gd name="connsiteY76" fmla="*/ 569396 h 1255269"/>
                <a:gd name="connsiteX77" fmla="*/ 975654 w 1629088"/>
                <a:gd name="connsiteY77" fmla="*/ 537133 h 1255269"/>
                <a:gd name="connsiteX78" fmla="*/ 962608 w 1629088"/>
                <a:gd name="connsiteY78" fmla="*/ 517622 h 1255269"/>
                <a:gd name="connsiteX79" fmla="*/ 962608 w 1629088"/>
                <a:gd name="connsiteY79" fmla="*/ 432527 h 1255269"/>
                <a:gd name="connsiteX80" fmla="*/ 842723 w 1629088"/>
                <a:gd name="connsiteY80" fmla="*/ 432527 h 1255269"/>
                <a:gd name="connsiteX81" fmla="*/ 842723 w 1629088"/>
                <a:gd name="connsiteY81" fmla="*/ 517857 h 1255269"/>
                <a:gd name="connsiteX82" fmla="*/ 829618 w 1629088"/>
                <a:gd name="connsiteY82" fmla="*/ 537426 h 1255269"/>
                <a:gd name="connsiteX83" fmla="*/ 752280 w 1629088"/>
                <a:gd name="connsiteY83" fmla="*/ 569161 h 1255269"/>
                <a:gd name="connsiteX84" fmla="*/ 729302 w 1629088"/>
                <a:gd name="connsiteY84" fmla="*/ 564518 h 1255269"/>
                <a:gd name="connsiteX85" fmla="*/ 669183 w 1629088"/>
                <a:gd name="connsiteY85" fmla="*/ 504399 h 1255269"/>
                <a:gd name="connsiteX86" fmla="*/ 584441 w 1629088"/>
                <a:gd name="connsiteY86" fmla="*/ 589200 h 1255269"/>
                <a:gd name="connsiteX87" fmla="*/ 644795 w 1629088"/>
                <a:gd name="connsiteY87" fmla="*/ 649613 h 1255269"/>
                <a:gd name="connsiteX88" fmla="*/ 649320 w 1629088"/>
                <a:gd name="connsiteY88" fmla="*/ 672767 h 1255269"/>
                <a:gd name="connsiteX89" fmla="*/ 617057 w 1629088"/>
                <a:gd name="connsiteY89" fmla="*/ 749870 h 1255269"/>
                <a:gd name="connsiteX90" fmla="*/ 597546 w 1629088"/>
                <a:gd name="connsiteY90" fmla="*/ 762858 h 1255269"/>
                <a:gd name="connsiteX91" fmla="*/ 512451 w 1629088"/>
                <a:gd name="connsiteY91" fmla="*/ 762858 h 1255269"/>
                <a:gd name="connsiteX92" fmla="*/ 512451 w 1629088"/>
                <a:gd name="connsiteY92" fmla="*/ 882743 h 1255269"/>
                <a:gd name="connsiteX93" fmla="*/ 597781 w 1629088"/>
                <a:gd name="connsiteY93" fmla="*/ 882743 h 1255269"/>
                <a:gd name="connsiteX94" fmla="*/ 617350 w 1629088"/>
                <a:gd name="connsiteY94" fmla="*/ 895907 h 1255269"/>
                <a:gd name="connsiteX95" fmla="*/ 649085 w 1629088"/>
                <a:gd name="connsiteY95" fmla="*/ 973245 h 1255269"/>
                <a:gd name="connsiteX96" fmla="*/ 644442 w 1629088"/>
                <a:gd name="connsiteY96" fmla="*/ 996281 h 1255269"/>
                <a:gd name="connsiteX97" fmla="*/ 584382 w 1629088"/>
                <a:gd name="connsiteY97" fmla="*/ 1056341 h 1255269"/>
                <a:gd name="connsiteX98" fmla="*/ 669124 w 1629088"/>
                <a:gd name="connsiteY98" fmla="*/ 1141143 h 1255269"/>
                <a:gd name="connsiteX99" fmla="*/ 729537 w 1629088"/>
                <a:gd name="connsiteY99" fmla="*/ 1080730 h 1255269"/>
                <a:gd name="connsiteX100" fmla="*/ 752691 w 1629088"/>
                <a:gd name="connsiteY100" fmla="*/ 1076205 h 1255269"/>
                <a:gd name="connsiteX101" fmla="*/ 829794 w 1629088"/>
                <a:gd name="connsiteY101" fmla="*/ 1108527 h 1255269"/>
                <a:gd name="connsiteX102" fmla="*/ 842782 w 1629088"/>
                <a:gd name="connsiteY102" fmla="*/ 1128038 h 1255269"/>
                <a:gd name="connsiteX103" fmla="*/ 842723 w 1629088"/>
                <a:gd name="connsiteY103" fmla="*/ 1212956 h 1255269"/>
                <a:gd name="connsiteX104" fmla="*/ 842723 w 1629088"/>
                <a:gd name="connsiteY104" fmla="*/ 1212956 h 1255269"/>
                <a:gd name="connsiteX105" fmla="*/ 902665 w 1629088"/>
                <a:gd name="connsiteY105" fmla="*/ 1020200 h 1255269"/>
                <a:gd name="connsiteX106" fmla="*/ 705207 w 1629088"/>
                <a:gd name="connsiteY106" fmla="*/ 822741 h 1255269"/>
                <a:gd name="connsiteX107" fmla="*/ 902665 w 1629088"/>
                <a:gd name="connsiteY107" fmla="*/ 625283 h 1255269"/>
                <a:gd name="connsiteX108" fmla="*/ 1100124 w 1629088"/>
                <a:gd name="connsiteY108" fmla="*/ 822741 h 1255269"/>
                <a:gd name="connsiteX109" fmla="*/ 902665 w 1629088"/>
                <a:gd name="connsiteY109" fmla="*/ 1020200 h 1255269"/>
                <a:gd name="connsiteX110" fmla="*/ 902665 w 1629088"/>
                <a:gd name="connsiteY110" fmla="*/ 667596 h 1255269"/>
                <a:gd name="connsiteX111" fmla="*/ 747520 w 1629088"/>
                <a:gd name="connsiteY111" fmla="*/ 822741 h 1255269"/>
                <a:gd name="connsiteX112" fmla="*/ 902665 w 1629088"/>
                <a:gd name="connsiteY112" fmla="*/ 977887 h 1255269"/>
                <a:gd name="connsiteX113" fmla="*/ 1057811 w 1629088"/>
                <a:gd name="connsiteY113" fmla="*/ 822741 h 1255269"/>
                <a:gd name="connsiteX114" fmla="*/ 902665 w 1629088"/>
                <a:gd name="connsiteY114" fmla="*/ 667596 h 1255269"/>
                <a:gd name="connsiteX115" fmla="*/ 42312 w 1629088"/>
                <a:gd name="connsiteY115" fmla="*/ 822741 h 1255269"/>
                <a:gd name="connsiteX116" fmla="*/ 0 w 1629088"/>
                <a:gd name="connsiteY116" fmla="*/ 822741 h 1255269"/>
                <a:gd name="connsiteX117" fmla="*/ 1586717 w 1629088"/>
                <a:gd name="connsiteY117" fmla="*/ 233717 h 1255269"/>
                <a:gd name="connsiteX118" fmla="*/ 1586717 w 1629088"/>
                <a:gd name="connsiteY118" fmla="*/ 0 h 1255269"/>
                <a:gd name="connsiteX119" fmla="*/ 1629088 w 1629088"/>
                <a:gd name="connsiteY119" fmla="*/ 0 h 1255269"/>
                <a:gd name="connsiteX120" fmla="*/ 1629088 w 1629088"/>
                <a:gd name="connsiteY120" fmla="*/ 314992 h 1255269"/>
                <a:gd name="connsiteX121" fmla="*/ 1564209 w 1629088"/>
                <a:gd name="connsiteY121" fmla="*/ 272680 h 1255269"/>
                <a:gd name="connsiteX122" fmla="*/ 42312 w 1629088"/>
                <a:gd name="connsiteY122" fmla="*/ 822741 h 1255269"/>
                <a:gd name="connsiteX0" fmla="*/ 983764 w 1629088"/>
                <a:gd name="connsiteY0" fmla="*/ 1255269 h 1255269"/>
                <a:gd name="connsiteX1" fmla="*/ 821567 w 1629088"/>
                <a:gd name="connsiteY1" fmla="*/ 1255269 h 1255269"/>
                <a:gd name="connsiteX2" fmla="*/ 800410 w 1629088"/>
                <a:gd name="connsiteY2" fmla="*/ 1234112 h 1255269"/>
                <a:gd name="connsiteX3" fmla="*/ 800410 w 1629088"/>
                <a:gd name="connsiteY3" fmla="*/ 1142024 h 1255269"/>
                <a:gd name="connsiteX4" fmla="*/ 749342 w 1629088"/>
                <a:gd name="connsiteY4" fmla="*/ 1120692 h 1255269"/>
                <a:gd name="connsiteX5" fmla="*/ 684051 w 1629088"/>
                <a:gd name="connsiteY5" fmla="*/ 1185982 h 1255269"/>
                <a:gd name="connsiteX6" fmla="*/ 669124 w 1629088"/>
                <a:gd name="connsiteY6" fmla="*/ 1192153 h 1255269"/>
                <a:gd name="connsiteX7" fmla="*/ 669124 w 1629088"/>
                <a:gd name="connsiteY7" fmla="*/ 1192153 h 1255269"/>
                <a:gd name="connsiteX8" fmla="*/ 654197 w 1629088"/>
                <a:gd name="connsiteY8" fmla="*/ 1185982 h 1255269"/>
                <a:gd name="connsiteX9" fmla="*/ 539484 w 1629088"/>
                <a:gd name="connsiteY9" fmla="*/ 1071268 h 1255269"/>
                <a:gd name="connsiteX10" fmla="*/ 539484 w 1629088"/>
                <a:gd name="connsiteY10" fmla="*/ 1041297 h 1255269"/>
                <a:gd name="connsiteX11" fmla="*/ 604598 w 1629088"/>
                <a:gd name="connsiteY11" fmla="*/ 976242 h 1255269"/>
                <a:gd name="connsiteX12" fmla="*/ 583618 w 1629088"/>
                <a:gd name="connsiteY12" fmla="*/ 925055 h 1255269"/>
                <a:gd name="connsiteX13" fmla="*/ 491294 w 1629088"/>
                <a:gd name="connsiteY13" fmla="*/ 925055 h 1255269"/>
                <a:gd name="connsiteX14" fmla="*/ 470138 w 1629088"/>
                <a:gd name="connsiteY14" fmla="*/ 903899 h 1255269"/>
                <a:gd name="connsiteX15" fmla="*/ 470138 w 1629088"/>
                <a:gd name="connsiteY15" fmla="*/ 741701 h 1255269"/>
                <a:gd name="connsiteX16" fmla="*/ 491294 w 1629088"/>
                <a:gd name="connsiteY16" fmla="*/ 720545 h 1255269"/>
                <a:gd name="connsiteX17" fmla="*/ 583383 w 1629088"/>
                <a:gd name="connsiteY17" fmla="*/ 720545 h 1255269"/>
                <a:gd name="connsiteX18" fmla="*/ 604715 w 1629088"/>
                <a:gd name="connsiteY18" fmla="*/ 669476 h 1255269"/>
                <a:gd name="connsiteX19" fmla="*/ 539484 w 1629088"/>
                <a:gd name="connsiteY19" fmla="*/ 604127 h 1255269"/>
                <a:gd name="connsiteX20" fmla="*/ 539484 w 1629088"/>
                <a:gd name="connsiteY20" fmla="*/ 574215 h 1255269"/>
                <a:gd name="connsiteX21" fmla="*/ 654139 w 1629088"/>
                <a:gd name="connsiteY21" fmla="*/ 459501 h 1255269"/>
                <a:gd name="connsiteX22" fmla="*/ 684051 w 1629088"/>
                <a:gd name="connsiteY22" fmla="*/ 459501 h 1255269"/>
                <a:gd name="connsiteX23" fmla="*/ 749165 w 1629088"/>
                <a:gd name="connsiteY23" fmla="*/ 524674 h 1255269"/>
                <a:gd name="connsiteX24" fmla="*/ 800410 w 1629088"/>
                <a:gd name="connsiteY24" fmla="*/ 503694 h 1255269"/>
                <a:gd name="connsiteX25" fmla="*/ 800410 w 1629088"/>
                <a:gd name="connsiteY25" fmla="*/ 411370 h 1255269"/>
                <a:gd name="connsiteX26" fmla="*/ 821567 w 1629088"/>
                <a:gd name="connsiteY26" fmla="*/ 390214 h 1255269"/>
                <a:gd name="connsiteX27" fmla="*/ 983764 w 1629088"/>
                <a:gd name="connsiteY27" fmla="*/ 390214 h 1255269"/>
                <a:gd name="connsiteX28" fmla="*/ 1004921 w 1629088"/>
                <a:gd name="connsiteY28" fmla="*/ 411370 h 1255269"/>
                <a:gd name="connsiteX29" fmla="*/ 1004921 w 1629088"/>
                <a:gd name="connsiteY29" fmla="*/ 503459 h 1255269"/>
                <a:gd name="connsiteX30" fmla="*/ 1055931 w 1629088"/>
                <a:gd name="connsiteY30" fmla="*/ 524791 h 1255269"/>
                <a:gd name="connsiteX31" fmla="*/ 1121162 w 1629088"/>
                <a:gd name="connsiteY31" fmla="*/ 459501 h 1255269"/>
                <a:gd name="connsiteX32" fmla="*/ 1151134 w 1629088"/>
                <a:gd name="connsiteY32" fmla="*/ 459501 h 1255269"/>
                <a:gd name="connsiteX33" fmla="*/ 1265847 w 1629088"/>
                <a:gd name="connsiteY33" fmla="*/ 574215 h 1255269"/>
                <a:gd name="connsiteX34" fmla="*/ 1272018 w 1629088"/>
                <a:gd name="connsiteY34" fmla="*/ 589142 h 1255269"/>
                <a:gd name="connsiteX35" fmla="*/ 1265847 w 1629088"/>
                <a:gd name="connsiteY35" fmla="*/ 604068 h 1255269"/>
                <a:gd name="connsiteX36" fmla="*/ 1200674 w 1629088"/>
                <a:gd name="connsiteY36" fmla="*/ 669183 h 1255269"/>
                <a:gd name="connsiteX37" fmla="*/ 1221654 w 1629088"/>
                <a:gd name="connsiteY37" fmla="*/ 720428 h 1255269"/>
                <a:gd name="connsiteX38" fmla="*/ 1314036 w 1629088"/>
                <a:gd name="connsiteY38" fmla="*/ 720428 h 1255269"/>
                <a:gd name="connsiteX39" fmla="*/ 1335193 w 1629088"/>
                <a:gd name="connsiteY39" fmla="*/ 741584 h 1255269"/>
                <a:gd name="connsiteX40" fmla="*/ 1335193 w 1629088"/>
                <a:gd name="connsiteY40" fmla="*/ 903782 h 1255269"/>
                <a:gd name="connsiteX41" fmla="*/ 1314036 w 1629088"/>
                <a:gd name="connsiteY41" fmla="*/ 924938 h 1255269"/>
                <a:gd name="connsiteX42" fmla="*/ 1221948 w 1629088"/>
                <a:gd name="connsiteY42" fmla="*/ 924938 h 1255269"/>
                <a:gd name="connsiteX43" fmla="*/ 1200616 w 1629088"/>
                <a:gd name="connsiteY43" fmla="*/ 975948 h 1255269"/>
                <a:gd name="connsiteX44" fmla="*/ 1265906 w 1629088"/>
                <a:gd name="connsiteY44" fmla="*/ 1041179 h 1255269"/>
                <a:gd name="connsiteX45" fmla="*/ 1272077 w 1629088"/>
                <a:gd name="connsiteY45" fmla="*/ 1056165 h 1255269"/>
                <a:gd name="connsiteX46" fmla="*/ 1265906 w 1629088"/>
                <a:gd name="connsiteY46" fmla="*/ 1071151 h 1255269"/>
                <a:gd name="connsiteX47" fmla="*/ 1151192 w 1629088"/>
                <a:gd name="connsiteY47" fmla="*/ 1185865 h 1255269"/>
                <a:gd name="connsiteX48" fmla="*/ 1136207 w 1629088"/>
                <a:gd name="connsiteY48" fmla="*/ 1192035 h 1255269"/>
                <a:gd name="connsiteX49" fmla="*/ 1136207 w 1629088"/>
                <a:gd name="connsiteY49" fmla="*/ 1192035 h 1255269"/>
                <a:gd name="connsiteX50" fmla="*/ 1121221 w 1629088"/>
                <a:gd name="connsiteY50" fmla="*/ 1185865 h 1255269"/>
                <a:gd name="connsiteX51" fmla="*/ 1056166 w 1629088"/>
                <a:gd name="connsiteY51" fmla="*/ 1120692 h 1255269"/>
                <a:gd name="connsiteX52" fmla="*/ 1004979 w 1629088"/>
                <a:gd name="connsiteY52" fmla="*/ 1141672 h 1255269"/>
                <a:gd name="connsiteX53" fmla="*/ 1004979 w 1629088"/>
                <a:gd name="connsiteY53" fmla="*/ 1234112 h 1255269"/>
                <a:gd name="connsiteX54" fmla="*/ 983764 w 1629088"/>
                <a:gd name="connsiteY54" fmla="*/ 1255269 h 1255269"/>
                <a:gd name="connsiteX55" fmla="*/ 842723 w 1629088"/>
                <a:gd name="connsiteY55" fmla="*/ 1212956 h 1255269"/>
                <a:gd name="connsiteX56" fmla="*/ 962608 w 1629088"/>
                <a:gd name="connsiteY56" fmla="*/ 1212956 h 1255269"/>
                <a:gd name="connsiteX57" fmla="*/ 962608 w 1629088"/>
                <a:gd name="connsiteY57" fmla="*/ 1127626 h 1255269"/>
                <a:gd name="connsiteX58" fmla="*/ 975772 w 1629088"/>
                <a:gd name="connsiteY58" fmla="*/ 1108057 h 1255269"/>
                <a:gd name="connsiteX59" fmla="*/ 1053110 w 1629088"/>
                <a:gd name="connsiteY59" fmla="*/ 1076322 h 1255269"/>
                <a:gd name="connsiteX60" fmla="*/ 1076146 w 1629088"/>
                <a:gd name="connsiteY60" fmla="*/ 1080906 h 1255269"/>
                <a:gd name="connsiteX61" fmla="*/ 1136207 w 1629088"/>
                <a:gd name="connsiteY61" fmla="*/ 1141084 h 1255269"/>
                <a:gd name="connsiteX62" fmla="*/ 1221008 w 1629088"/>
                <a:gd name="connsiteY62" fmla="*/ 1056283 h 1255269"/>
                <a:gd name="connsiteX63" fmla="*/ 1160595 w 1629088"/>
                <a:gd name="connsiteY63" fmla="*/ 995987 h 1255269"/>
                <a:gd name="connsiteX64" fmla="*/ 1156070 w 1629088"/>
                <a:gd name="connsiteY64" fmla="*/ 972833 h 1255269"/>
                <a:gd name="connsiteX65" fmla="*/ 1188392 w 1629088"/>
                <a:gd name="connsiteY65" fmla="*/ 895730 h 1255269"/>
                <a:gd name="connsiteX66" fmla="*/ 1207903 w 1629088"/>
                <a:gd name="connsiteY66" fmla="*/ 882684 h 1255269"/>
                <a:gd name="connsiteX67" fmla="*/ 1292880 w 1629088"/>
                <a:gd name="connsiteY67" fmla="*/ 882684 h 1255269"/>
                <a:gd name="connsiteX68" fmla="*/ 1292880 w 1629088"/>
                <a:gd name="connsiteY68" fmla="*/ 762799 h 1255269"/>
                <a:gd name="connsiteX69" fmla="*/ 1207550 w 1629088"/>
                <a:gd name="connsiteY69" fmla="*/ 762799 h 1255269"/>
                <a:gd name="connsiteX70" fmla="*/ 1187981 w 1629088"/>
                <a:gd name="connsiteY70" fmla="*/ 749694 h 1255269"/>
                <a:gd name="connsiteX71" fmla="*/ 1156246 w 1629088"/>
                <a:gd name="connsiteY71" fmla="*/ 672356 h 1255269"/>
                <a:gd name="connsiteX72" fmla="*/ 1160830 w 1629088"/>
                <a:gd name="connsiteY72" fmla="*/ 649378 h 1255269"/>
                <a:gd name="connsiteX73" fmla="*/ 1221008 w 1629088"/>
                <a:gd name="connsiteY73" fmla="*/ 589259 h 1255269"/>
                <a:gd name="connsiteX74" fmla="*/ 1136207 w 1629088"/>
                <a:gd name="connsiteY74" fmla="*/ 504458 h 1255269"/>
                <a:gd name="connsiteX75" fmla="*/ 1075911 w 1629088"/>
                <a:gd name="connsiteY75" fmla="*/ 564812 h 1255269"/>
                <a:gd name="connsiteX76" fmla="*/ 1052757 w 1629088"/>
                <a:gd name="connsiteY76" fmla="*/ 569396 h 1255269"/>
                <a:gd name="connsiteX77" fmla="*/ 975654 w 1629088"/>
                <a:gd name="connsiteY77" fmla="*/ 537133 h 1255269"/>
                <a:gd name="connsiteX78" fmla="*/ 962608 w 1629088"/>
                <a:gd name="connsiteY78" fmla="*/ 517622 h 1255269"/>
                <a:gd name="connsiteX79" fmla="*/ 962608 w 1629088"/>
                <a:gd name="connsiteY79" fmla="*/ 432527 h 1255269"/>
                <a:gd name="connsiteX80" fmla="*/ 842723 w 1629088"/>
                <a:gd name="connsiteY80" fmla="*/ 432527 h 1255269"/>
                <a:gd name="connsiteX81" fmla="*/ 842723 w 1629088"/>
                <a:gd name="connsiteY81" fmla="*/ 517857 h 1255269"/>
                <a:gd name="connsiteX82" fmla="*/ 829618 w 1629088"/>
                <a:gd name="connsiteY82" fmla="*/ 537426 h 1255269"/>
                <a:gd name="connsiteX83" fmla="*/ 752280 w 1629088"/>
                <a:gd name="connsiteY83" fmla="*/ 569161 h 1255269"/>
                <a:gd name="connsiteX84" fmla="*/ 729302 w 1629088"/>
                <a:gd name="connsiteY84" fmla="*/ 564518 h 1255269"/>
                <a:gd name="connsiteX85" fmla="*/ 669183 w 1629088"/>
                <a:gd name="connsiteY85" fmla="*/ 504399 h 1255269"/>
                <a:gd name="connsiteX86" fmla="*/ 584441 w 1629088"/>
                <a:gd name="connsiteY86" fmla="*/ 589200 h 1255269"/>
                <a:gd name="connsiteX87" fmla="*/ 644795 w 1629088"/>
                <a:gd name="connsiteY87" fmla="*/ 649613 h 1255269"/>
                <a:gd name="connsiteX88" fmla="*/ 649320 w 1629088"/>
                <a:gd name="connsiteY88" fmla="*/ 672767 h 1255269"/>
                <a:gd name="connsiteX89" fmla="*/ 617057 w 1629088"/>
                <a:gd name="connsiteY89" fmla="*/ 749870 h 1255269"/>
                <a:gd name="connsiteX90" fmla="*/ 597546 w 1629088"/>
                <a:gd name="connsiteY90" fmla="*/ 762858 h 1255269"/>
                <a:gd name="connsiteX91" fmla="*/ 512451 w 1629088"/>
                <a:gd name="connsiteY91" fmla="*/ 762858 h 1255269"/>
                <a:gd name="connsiteX92" fmla="*/ 512451 w 1629088"/>
                <a:gd name="connsiteY92" fmla="*/ 882743 h 1255269"/>
                <a:gd name="connsiteX93" fmla="*/ 597781 w 1629088"/>
                <a:gd name="connsiteY93" fmla="*/ 882743 h 1255269"/>
                <a:gd name="connsiteX94" fmla="*/ 617350 w 1629088"/>
                <a:gd name="connsiteY94" fmla="*/ 895907 h 1255269"/>
                <a:gd name="connsiteX95" fmla="*/ 649085 w 1629088"/>
                <a:gd name="connsiteY95" fmla="*/ 973245 h 1255269"/>
                <a:gd name="connsiteX96" fmla="*/ 644442 w 1629088"/>
                <a:gd name="connsiteY96" fmla="*/ 996281 h 1255269"/>
                <a:gd name="connsiteX97" fmla="*/ 584382 w 1629088"/>
                <a:gd name="connsiteY97" fmla="*/ 1056341 h 1255269"/>
                <a:gd name="connsiteX98" fmla="*/ 669124 w 1629088"/>
                <a:gd name="connsiteY98" fmla="*/ 1141143 h 1255269"/>
                <a:gd name="connsiteX99" fmla="*/ 729537 w 1629088"/>
                <a:gd name="connsiteY99" fmla="*/ 1080730 h 1255269"/>
                <a:gd name="connsiteX100" fmla="*/ 752691 w 1629088"/>
                <a:gd name="connsiteY100" fmla="*/ 1076205 h 1255269"/>
                <a:gd name="connsiteX101" fmla="*/ 829794 w 1629088"/>
                <a:gd name="connsiteY101" fmla="*/ 1108527 h 1255269"/>
                <a:gd name="connsiteX102" fmla="*/ 842782 w 1629088"/>
                <a:gd name="connsiteY102" fmla="*/ 1128038 h 1255269"/>
                <a:gd name="connsiteX103" fmla="*/ 842723 w 1629088"/>
                <a:gd name="connsiteY103" fmla="*/ 1212956 h 1255269"/>
                <a:gd name="connsiteX104" fmla="*/ 842723 w 1629088"/>
                <a:gd name="connsiteY104" fmla="*/ 1212956 h 1255269"/>
                <a:gd name="connsiteX105" fmla="*/ 902665 w 1629088"/>
                <a:gd name="connsiteY105" fmla="*/ 1020200 h 1255269"/>
                <a:gd name="connsiteX106" fmla="*/ 705207 w 1629088"/>
                <a:gd name="connsiteY106" fmla="*/ 822741 h 1255269"/>
                <a:gd name="connsiteX107" fmla="*/ 902665 w 1629088"/>
                <a:gd name="connsiteY107" fmla="*/ 625283 h 1255269"/>
                <a:gd name="connsiteX108" fmla="*/ 1100124 w 1629088"/>
                <a:gd name="connsiteY108" fmla="*/ 822741 h 1255269"/>
                <a:gd name="connsiteX109" fmla="*/ 902665 w 1629088"/>
                <a:gd name="connsiteY109" fmla="*/ 1020200 h 1255269"/>
                <a:gd name="connsiteX110" fmla="*/ 902665 w 1629088"/>
                <a:gd name="connsiteY110" fmla="*/ 667596 h 1255269"/>
                <a:gd name="connsiteX111" fmla="*/ 747520 w 1629088"/>
                <a:gd name="connsiteY111" fmla="*/ 822741 h 1255269"/>
                <a:gd name="connsiteX112" fmla="*/ 902665 w 1629088"/>
                <a:gd name="connsiteY112" fmla="*/ 977887 h 1255269"/>
                <a:gd name="connsiteX113" fmla="*/ 1057811 w 1629088"/>
                <a:gd name="connsiteY113" fmla="*/ 822741 h 1255269"/>
                <a:gd name="connsiteX114" fmla="*/ 902665 w 1629088"/>
                <a:gd name="connsiteY114" fmla="*/ 667596 h 1255269"/>
                <a:gd name="connsiteX115" fmla="*/ 42312 w 1629088"/>
                <a:gd name="connsiteY115" fmla="*/ 822741 h 1255269"/>
                <a:gd name="connsiteX116" fmla="*/ 0 w 1629088"/>
                <a:gd name="connsiteY116" fmla="*/ 822741 h 1255269"/>
                <a:gd name="connsiteX117" fmla="*/ 1586717 w 1629088"/>
                <a:gd name="connsiteY117" fmla="*/ 233717 h 1255269"/>
                <a:gd name="connsiteX118" fmla="*/ 1586717 w 1629088"/>
                <a:gd name="connsiteY118" fmla="*/ 0 h 1255269"/>
                <a:gd name="connsiteX119" fmla="*/ 1629088 w 1629088"/>
                <a:gd name="connsiteY119" fmla="*/ 0 h 1255269"/>
                <a:gd name="connsiteX120" fmla="*/ 1629088 w 1629088"/>
                <a:gd name="connsiteY120" fmla="*/ 314992 h 1255269"/>
                <a:gd name="connsiteX121" fmla="*/ 42312 w 1629088"/>
                <a:gd name="connsiteY121" fmla="*/ 822741 h 1255269"/>
                <a:gd name="connsiteX0" fmla="*/ 983764 w 1629088"/>
                <a:gd name="connsiteY0" fmla="*/ 1255269 h 1255269"/>
                <a:gd name="connsiteX1" fmla="*/ 821567 w 1629088"/>
                <a:gd name="connsiteY1" fmla="*/ 1255269 h 1255269"/>
                <a:gd name="connsiteX2" fmla="*/ 800410 w 1629088"/>
                <a:gd name="connsiteY2" fmla="*/ 1234112 h 1255269"/>
                <a:gd name="connsiteX3" fmla="*/ 800410 w 1629088"/>
                <a:gd name="connsiteY3" fmla="*/ 1142024 h 1255269"/>
                <a:gd name="connsiteX4" fmla="*/ 749342 w 1629088"/>
                <a:gd name="connsiteY4" fmla="*/ 1120692 h 1255269"/>
                <a:gd name="connsiteX5" fmla="*/ 684051 w 1629088"/>
                <a:gd name="connsiteY5" fmla="*/ 1185982 h 1255269"/>
                <a:gd name="connsiteX6" fmla="*/ 669124 w 1629088"/>
                <a:gd name="connsiteY6" fmla="*/ 1192153 h 1255269"/>
                <a:gd name="connsiteX7" fmla="*/ 669124 w 1629088"/>
                <a:gd name="connsiteY7" fmla="*/ 1192153 h 1255269"/>
                <a:gd name="connsiteX8" fmla="*/ 654197 w 1629088"/>
                <a:gd name="connsiteY8" fmla="*/ 1185982 h 1255269"/>
                <a:gd name="connsiteX9" fmla="*/ 539484 w 1629088"/>
                <a:gd name="connsiteY9" fmla="*/ 1071268 h 1255269"/>
                <a:gd name="connsiteX10" fmla="*/ 539484 w 1629088"/>
                <a:gd name="connsiteY10" fmla="*/ 1041297 h 1255269"/>
                <a:gd name="connsiteX11" fmla="*/ 604598 w 1629088"/>
                <a:gd name="connsiteY11" fmla="*/ 976242 h 1255269"/>
                <a:gd name="connsiteX12" fmla="*/ 583618 w 1629088"/>
                <a:gd name="connsiteY12" fmla="*/ 925055 h 1255269"/>
                <a:gd name="connsiteX13" fmla="*/ 491294 w 1629088"/>
                <a:gd name="connsiteY13" fmla="*/ 925055 h 1255269"/>
                <a:gd name="connsiteX14" fmla="*/ 470138 w 1629088"/>
                <a:gd name="connsiteY14" fmla="*/ 903899 h 1255269"/>
                <a:gd name="connsiteX15" fmla="*/ 470138 w 1629088"/>
                <a:gd name="connsiteY15" fmla="*/ 741701 h 1255269"/>
                <a:gd name="connsiteX16" fmla="*/ 491294 w 1629088"/>
                <a:gd name="connsiteY16" fmla="*/ 720545 h 1255269"/>
                <a:gd name="connsiteX17" fmla="*/ 583383 w 1629088"/>
                <a:gd name="connsiteY17" fmla="*/ 720545 h 1255269"/>
                <a:gd name="connsiteX18" fmla="*/ 604715 w 1629088"/>
                <a:gd name="connsiteY18" fmla="*/ 669476 h 1255269"/>
                <a:gd name="connsiteX19" fmla="*/ 539484 w 1629088"/>
                <a:gd name="connsiteY19" fmla="*/ 604127 h 1255269"/>
                <a:gd name="connsiteX20" fmla="*/ 539484 w 1629088"/>
                <a:gd name="connsiteY20" fmla="*/ 574215 h 1255269"/>
                <a:gd name="connsiteX21" fmla="*/ 654139 w 1629088"/>
                <a:gd name="connsiteY21" fmla="*/ 459501 h 1255269"/>
                <a:gd name="connsiteX22" fmla="*/ 684051 w 1629088"/>
                <a:gd name="connsiteY22" fmla="*/ 459501 h 1255269"/>
                <a:gd name="connsiteX23" fmla="*/ 749165 w 1629088"/>
                <a:gd name="connsiteY23" fmla="*/ 524674 h 1255269"/>
                <a:gd name="connsiteX24" fmla="*/ 800410 w 1629088"/>
                <a:gd name="connsiteY24" fmla="*/ 503694 h 1255269"/>
                <a:gd name="connsiteX25" fmla="*/ 800410 w 1629088"/>
                <a:gd name="connsiteY25" fmla="*/ 411370 h 1255269"/>
                <a:gd name="connsiteX26" fmla="*/ 821567 w 1629088"/>
                <a:gd name="connsiteY26" fmla="*/ 390214 h 1255269"/>
                <a:gd name="connsiteX27" fmla="*/ 983764 w 1629088"/>
                <a:gd name="connsiteY27" fmla="*/ 390214 h 1255269"/>
                <a:gd name="connsiteX28" fmla="*/ 1004921 w 1629088"/>
                <a:gd name="connsiteY28" fmla="*/ 411370 h 1255269"/>
                <a:gd name="connsiteX29" fmla="*/ 1004921 w 1629088"/>
                <a:gd name="connsiteY29" fmla="*/ 503459 h 1255269"/>
                <a:gd name="connsiteX30" fmla="*/ 1055931 w 1629088"/>
                <a:gd name="connsiteY30" fmla="*/ 524791 h 1255269"/>
                <a:gd name="connsiteX31" fmla="*/ 1121162 w 1629088"/>
                <a:gd name="connsiteY31" fmla="*/ 459501 h 1255269"/>
                <a:gd name="connsiteX32" fmla="*/ 1151134 w 1629088"/>
                <a:gd name="connsiteY32" fmla="*/ 459501 h 1255269"/>
                <a:gd name="connsiteX33" fmla="*/ 1265847 w 1629088"/>
                <a:gd name="connsiteY33" fmla="*/ 574215 h 1255269"/>
                <a:gd name="connsiteX34" fmla="*/ 1272018 w 1629088"/>
                <a:gd name="connsiteY34" fmla="*/ 589142 h 1255269"/>
                <a:gd name="connsiteX35" fmla="*/ 1265847 w 1629088"/>
                <a:gd name="connsiteY35" fmla="*/ 604068 h 1255269"/>
                <a:gd name="connsiteX36" fmla="*/ 1200674 w 1629088"/>
                <a:gd name="connsiteY36" fmla="*/ 669183 h 1255269"/>
                <a:gd name="connsiteX37" fmla="*/ 1221654 w 1629088"/>
                <a:gd name="connsiteY37" fmla="*/ 720428 h 1255269"/>
                <a:gd name="connsiteX38" fmla="*/ 1314036 w 1629088"/>
                <a:gd name="connsiteY38" fmla="*/ 720428 h 1255269"/>
                <a:gd name="connsiteX39" fmla="*/ 1335193 w 1629088"/>
                <a:gd name="connsiteY39" fmla="*/ 741584 h 1255269"/>
                <a:gd name="connsiteX40" fmla="*/ 1335193 w 1629088"/>
                <a:gd name="connsiteY40" fmla="*/ 903782 h 1255269"/>
                <a:gd name="connsiteX41" fmla="*/ 1314036 w 1629088"/>
                <a:gd name="connsiteY41" fmla="*/ 924938 h 1255269"/>
                <a:gd name="connsiteX42" fmla="*/ 1221948 w 1629088"/>
                <a:gd name="connsiteY42" fmla="*/ 924938 h 1255269"/>
                <a:gd name="connsiteX43" fmla="*/ 1200616 w 1629088"/>
                <a:gd name="connsiteY43" fmla="*/ 975948 h 1255269"/>
                <a:gd name="connsiteX44" fmla="*/ 1265906 w 1629088"/>
                <a:gd name="connsiteY44" fmla="*/ 1041179 h 1255269"/>
                <a:gd name="connsiteX45" fmla="*/ 1272077 w 1629088"/>
                <a:gd name="connsiteY45" fmla="*/ 1056165 h 1255269"/>
                <a:gd name="connsiteX46" fmla="*/ 1265906 w 1629088"/>
                <a:gd name="connsiteY46" fmla="*/ 1071151 h 1255269"/>
                <a:gd name="connsiteX47" fmla="*/ 1151192 w 1629088"/>
                <a:gd name="connsiteY47" fmla="*/ 1185865 h 1255269"/>
                <a:gd name="connsiteX48" fmla="*/ 1136207 w 1629088"/>
                <a:gd name="connsiteY48" fmla="*/ 1192035 h 1255269"/>
                <a:gd name="connsiteX49" fmla="*/ 1136207 w 1629088"/>
                <a:gd name="connsiteY49" fmla="*/ 1192035 h 1255269"/>
                <a:gd name="connsiteX50" fmla="*/ 1121221 w 1629088"/>
                <a:gd name="connsiteY50" fmla="*/ 1185865 h 1255269"/>
                <a:gd name="connsiteX51" fmla="*/ 1056166 w 1629088"/>
                <a:gd name="connsiteY51" fmla="*/ 1120692 h 1255269"/>
                <a:gd name="connsiteX52" fmla="*/ 1004979 w 1629088"/>
                <a:gd name="connsiteY52" fmla="*/ 1141672 h 1255269"/>
                <a:gd name="connsiteX53" fmla="*/ 1004979 w 1629088"/>
                <a:gd name="connsiteY53" fmla="*/ 1234112 h 1255269"/>
                <a:gd name="connsiteX54" fmla="*/ 983764 w 1629088"/>
                <a:gd name="connsiteY54" fmla="*/ 1255269 h 1255269"/>
                <a:gd name="connsiteX55" fmla="*/ 842723 w 1629088"/>
                <a:gd name="connsiteY55" fmla="*/ 1212956 h 1255269"/>
                <a:gd name="connsiteX56" fmla="*/ 962608 w 1629088"/>
                <a:gd name="connsiteY56" fmla="*/ 1212956 h 1255269"/>
                <a:gd name="connsiteX57" fmla="*/ 962608 w 1629088"/>
                <a:gd name="connsiteY57" fmla="*/ 1127626 h 1255269"/>
                <a:gd name="connsiteX58" fmla="*/ 975772 w 1629088"/>
                <a:gd name="connsiteY58" fmla="*/ 1108057 h 1255269"/>
                <a:gd name="connsiteX59" fmla="*/ 1053110 w 1629088"/>
                <a:gd name="connsiteY59" fmla="*/ 1076322 h 1255269"/>
                <a:gd name="connsiteX60" fmla="*/ 1076146 w 1629088"/>
                <a:gd name="connsiteY60" fmla="*/ 1080906 h 1255269"/>
                <a:gd name="connsiteX61" fmla="*/ 1136207 w 1629088"/>
                <a:gd name="connsiteY61" fmla="*/ 1141084 h 1255269"/>
                <a:gd name="connsiteX62" fmla="*/ 1221008 w 1629088"/>
                <a:gd name="connsiteY62" fmla="*/ 1056283 h 1255269"/>
                <a:gd name="connsiteX63" fmla="*/ 1160595 w 1629088"/>
                <a:gd name="connsiteY63" fmla="*/ 995987 h 1255269"/>
                <a:gd name="connsiteX64" fmla="*/ 1156070 w 1629088"/>
                <a:gd name="connsiteY64" fmla="*/ 972833 h 1255269"/>
                <a:gd name="connsiteX65" fmla="*/ 1188392 w 1629088"/>
                <a:gd name="connsiteY65" fmla="*/ 895730 h 1255269"/>
                <a:gd name="connsiteX66" fmla="*/ 1207903 w 1629088"/>
                <a:gd name="connsiteY66" fmla="*/ 882684 h 1255269"/>
                <a:gd name="connsiteX67" fmla="*/ 1292880 w 1629088"/>
                <a:gd name="connsiteY67" fmla="*/ 882684 h 1255269"/>
                <a:gd name="connsiteX68" fmla="*/ 1292880 w 1629088"/>
                <a:gd name="connsiteY68" fmla="*/ 762799 h 1255269"/>
                <a:gd name="connsiteX69" fmla="*/ 1207550 w 1629088"/>
                <a:gd name="connsiteY69" fmla="*/ 762799 h 1255269"/>
                <a:gd name="connsiteX70" fmla="*/ 1187981 w 1629088"/>
                <a:gd name="connsiteY70" fmla="*/ 749694 h 1255269"/>
                <a:gd name="connsiteX71" fmla="*/ 1156246 w 1629088"/>
                <a:gd name="connsiteY71" fmla="*/ 672356 h 1255269"/>
                <a:gd name="connsiteX72" fmla="*/ 1160830 w 1629088"/>
                <a:gd name="connsiteY72" fmla="*/ 649378 h 1255269"/>
                <a:gd name="connsiteX73" fmla="*/ 1221008 w 1629088"/>
                <a:gd name="connsiteY73" fmla="*/ 589259 h 1255269"/>
                <a:gd name="connsiteX74" fmla="*/ 1136207 w 1629088"/>
                <a:gd name="connsiteY74" fmla="*/ 504458 h 1255269"/>
                <a:gd name="connsiteX75" fmla="*/ 1075911 w 1629088"/>
                <a:gd name="connsiteY75" fmla="*/ 564812 h 1255269"/>
                <a:gd name="connsiteX76" fmla="*/ 1052757 w 1629088"/>
                <a:gd name="connsiteY76" fmla="*/ 569396 h 1255269"/>
                <a:gd name="connsiteX77" fmla="*/ 975654 w 1629088"/>
                <a:gd name="connsiteY77" fmla="*/ 537133 h 1255269"/>
                <a:gd name="connsiteX78" fmla="*/ 962608 w 1629088"/>
                <a:gd name="connsiteY78" fmla="*/ 517622 h 1255269"/>
                <a:gd name="connsiteX79" fmla="*/ 962608 w 1629088"/>
                <a:gd name="connsiteY79" fmla="*/ 432527 h 1255269"/>
                <a:gd name="connsiteX80" fmla="*/ 842723 w 1629088"/>
                <a:gd name="connsiteY80" fmla="*/ 432527 h 1255269"/>
                <a:gd name="connsiteX81" fmla="*/ 842723 w 1629088"/>
                <a:gd name="connsiteY81" fmla="*/ 517857 h 1255269"/>
                <a:gd name="connsiteX82" fmla="*/ 829618 w 1629088"/>
                <a:gd name="connsiteY82" fmla="*/ 537426 h 1255269"/>
                <a:gd name="connsiteX83" fmla="*/ 752280 w 1629088"/>
                <a:gd name="connsiteY83" fmla="*/ 569161 h 1255269"/>
                <a:gd name="connsiteX84" fmla="*/ 729302 w 1629088"/>
                <a:gd name="connsiteY84" fmla="*/ 564518 h 1255269"/>
                <a:gd name="connsiteX85" fmla="*/ 669183 w 1629088"/>
                <a:gd name="connsiteY85" fmla="*/ 504399 h 1255269"/>
                <a:gd name="connsiteX86" fmla="*/ 584441 w 1629088"/>
                <a:gd name="connsiteY86" fmla="*/ 589200 h 1255269"/>
                <a:gd name="connsiteX87" fmla="*/ 644795 w 1629088"/>
                <a:gd name="connsiteY87" fmla="*/ 649613 h 1255269"/>
                <a:gd name="connsiteX88" fmla="*/ 649320 w 1629088"/>
                <a:gd name="connsiteY88" fmla="*/ 672767 h 1255269"/>
                <a:gd name="connsiteX89" fmla="*/ 617057 w 1629088"/>
                <a:gd name="connsiteY89" fmla="*/ 749870 h 1255269"/>
                <a:gd name="connsiteX90" fmla="*/ 597546 w 1629088"/>
                <a:gd name="connsiteY90" fmla="*/ 762858 h 1255269"/>
                <a:gd name="connsiteX91" fmla="*/ 512451 w 1629088"/>
                <a:gd name="connsiteY91" fmla="*/ 762858 h 1255269"/>
                <a:gd name="connsiteX92" fmla="*/ 512451 w 1629088"/>
                <a:gd name="connsiteY92" fmla="*/ 882743 h 1255269"/>
                <a:gd name="connsiteX93" fmla="*/ 597781 w 1629088"/>
                <a:gd name="connsiteY93" fmla="*/ 882743 h 1255269"/>
                <a:gd name="connsiteX94" fmla="*/ 617350 w 1629088"/>
                <a:gd name="connsiteY94" fmla="*/ 895907 h 1255269"/>
                <a:gd name="connsiteX95" fmla="*/ 649085 w 1629088"/>
                <a:gd name="connsiteY95" fmla="*/ 973245 h 1255269"/>
                <a:gd name="connsiteX96" fmla="*/ 644442 w 1629088"/>
                <a:gd name="connsiteY96" fmla="*/ 996281 h 1255269"/>
                <a:gd name="connsiteX97" fmla="*/ 584382 w 1629088"/>
                <a:gd name="connsiteY97" fmla="*/ 1056341 h 1255269"/>
                <a:gd name="connsiteX98" fmla="*/ 669124 w 1629088"/>
                <a:gd name="connsiteY98" fmla="*/ 1141143 h 1255269"/>
                <a:gd name="connsiteX99" fmla="*/ 729537 w 1629088"/>
                <a:gd name="connsiteY99" fmla="*/ 1080730 h 1255269"/>
                <a:gd name="connsiteX100" fmla="*/ 752691 w 1629088"/>
                <a:gd name="connsiteY100" fmla="*/ 1076205 h 1255269"/>
                <a:gd name="connsiteX101" fmla="*/ 829794 w 1629088"/>
                <a:gd name="connsiteY101" fmla="*/ 1108527 h 1255269"/>
                <a:gd name="connsiteX102" fmla="*/ 842782 w 1629088"/>
                <a:gd name="connsiteY102" fmla="*/ 1128038 h 1255269"/>
                <a:gd name="connsiteX103" fmla="*/ 842723 w 1629088"/>
                <a:gd name="connsiteY103" fmla="*/ 1212956 h 1255269"/>
                <a:gd name="connsiteX104" fmla="*/ 842723 w 1629088"/>
                <a:gd name="connsiteY104" fmla="*/ 1212956 h 1255269"/>
                <a:gd name="connsiteX105" fmla="*/ 902665 w 1629088"/>
                <a:gd name="connsiteY105" fmla="*/ 1020200 h 1255269"/>
                <a:gd name="connsiteX106" fmla="*/ 705207 w 1629088"/>
                <a:gd name="connsiteY106" fmla="*/ 822741 h 1255269"/>
                <a:gd name="connsiteX107" fmla="*/ 902665 w 1629088"/>
                <a:gd name="connsiteY107" fmla="*/ 625283 h 1255269"/>
                <a:gd name="connsiteX108" fmla="*/ 1100124 w 1629088"/>
                <a:gd name="connsiteY108" fmla="*/ 822741 h 1255269"/>
                <a:gd name="connsiteX109" fmla="*/ 902665 w 1629088"/>
                <a:gd name="connsiteY109" fmla="*/ 1020200 h 1255269"/>
                <a:gd name="connsiteX110" fmla="*/ 902665 w 1629088"/>
                <a:gd name="connsiteY110" fmla="*/ 667596 h 1255269"/>
                <a:gd name="connsiteX111" fmla="*/ 747520 w 1629088"/>
                <a:gd name="connsiteY111" fmla="*/ 822741 h 1255269"/>
                <a:gd name="connsiteX112" fmla="*/ 902665 w 1629088"/>
                <a:gd name="connsiteY112" fmla="*/ 977887 h 1255269"/>
                <a:gd name="connsiteX113" fmla="*/ 1057811 w 1629088"/>
                <a:gd name="connsiteY113" fmla="*/ 822741 h 1255269"/>
                <a:gd name="connsiteX114" fmla="*/ 902665 w 1629088"/>
                <a:gd name="connsiteY114" fmla="*/ 667596 h 1255269"/>
                <a:gd name="connsiteX115" fmla="*/ 42312 w 1629088"/>
                <a:gd name="connsiteY115" fmla="*/ 822741 h 1255269"/>
                <a:gd name="connsiteX116" fmla="*/ 0 w 1629088"/>
                <a:gd name="connsiteY116" fmla="*/ 822741 h 1255269"/>
                <a:gd name="connsiteX117" fmla="*/ 1586717 w 1629088"/>
                <a:gd name="connsiteY117" fmla="*/ 0 h 1255269"/>
                <a:gd name="connsiteX118" fmla="*/ 1629088 w 1629088"/>
                <a:gd name="connsiteY118" fmla="*/ 0 h 1255269"/>
                <a:gd name="connsiteX119" fmla="*/ 1629088 w 1629088"/>
                <a:gd name="connsiteY119" fmla="*/ 314992 h 1255269"/>
                <a:gd name="connsiteX120" fmla="*/ 42312 w 1629088"/>
                <a:gd name="connsiteY120" fmla="*/ 822741 h 1255269"/>
                <a:gd name="connsiteX0" fmla="*/ 983764 w 1629088"/>
                <a:gd name="connsiteY0" fmla="*/ 1255269 h 1255269"/>
                <a:gd name="connsiteX1" fmla="*/ 821567 w 1629088"/>
                <a:gd name="connsiteY1" fmla="*/ 1255269 h 1255269"/>
                <a:gd name="connsiteX2" fmla="*/ 800410 w 1629088"/>
                <a:gd name="connsiteY2" fmla="*/ 1234112 h 1255269"/>
                <a:gd name="connsiteX3" fmla="*/ 800410 w 1629088"/>
                <a:gd name="connsiteY3" fmla="*/ 1142024 h 1255269"/>
                <a:gd name="connsiteX4" fmla="*/ 749342 w 1629088"/>
                <a:gd name="connsiteY4" fmla="*/ 1120692 h 1255269"/>
                <a:gd name="connsiteX5" fmla="*/ 684051 w 1629088"/>
                <a:gd name="connsiteY5" fmla="*/ 1185982 h 1255269"/>
                <a:gd name="connsiteX6" fmla="*/ 669124 w 1629088"/>
                <a:gd name="connsiteY6" fmla="*/ 1192153 h 1255269"/>
                <a:gd name="connsiteX7" fmla="*/ 669124 w 1629088"/>
                <a:gd name="connsiteY7" fmla="*/ 1192153 h 1255269"/>
                <a:gd name="connsiteX8" fmla="*/ 654197 w 1629088"/>
                <a:gd name="connsiteY8" fmla="*/ 1185982 h 1255269"/>
                <a:gd name="connsiteX9" fmla="*/ 539484 w 1629088"/>
                <a:gd name="connsiteY9" fmla="*/ 1071268 h 1255269"/>
                <a:gd name="connsiteX10" fmla="*/ 539484 w 1629088"/>
                <a:gd name="connsiteY10" fmla="*/ 1041297 h 1255269"/>
                <a:gd name="connsiteX11" fmla="*/ 604598 w 1629088"/>
                <a:gd name="connsiteY11" fmla="*/ 976242 h 1255269"/>
                <a:gd name="connsiteX12" fmla="*/ 583618 w 1629088"/>
                <a:gd name="connsiteY12" fmla="*/ 925055 h 1255269"/>
                <a:gd name="connsiteX13" fmla="*/ 491294 w 1629088"/>
                <a:gd name="connsiteY13" fmla="*/ 925055 h 1255269"/>
                <a:gd name="connsiteX14" fmla="*/ 470138 w 1629088"/>
                <a:gd name="connsiteY14" fmla="*/ 903899 h 1255269"/>
                <a:gd name="connsiteX15" fmla="*/ 470138 w 1629088"/>
                <a:gd name="connsiteY15" fmla="*/ 741701 h 1255269"/>
                <a:gd name="connsiteX16" fmla="*/ 491294 w 1629088"/>
                <a:gd name="connsiteY16" fmla="*/ 720545 h 1255269"/>
                <a:gd name="connsiteX17" fmla="*/ 583383 w 1629088"/>
                <a:gd name="connsiteY17" fmla="*/ 720545 h 1255269"/>
                <a:gd name="connsiteX18" fmla="*/ 604715 w 1629088"/>
                <a:gd name="connsiteY18" fmla="*/ 669476 h 1255269"/>
                <a:gd name="connsiteX19" fmla="*/ 539484 w 1629088"/>
                <a:gd name="connsiteY19" fmla="*/ 604127 h 1255269"/>
                <a:gd name="connsiteX20" fmla="*/ 539484 w 1629088"/>
                <a:gd name="connsiteY20" fmla="*/ 574215 h 1255269"/>
                <a:gd name="connsiteX21" fmla="*/ 654139 w 1629088"/>
                <a:gd name="connsiteY21" fmla="*/ 459501 h 1255269"/>
                <a:gd name="connsiteX22" fmla="*/ 684051 w 1629088"/>
                <a:gd name="connsiteY22" fmla="*/ 459501 h 1255269"/>
                <a:gd name="connsiteX23" fmla="*/ 749165 w 1629088"/>
                <a:gd name="connsiteY23" fmla="*/ 524674 h 1255269"/>
                <a:gd name="connsiteX24" fmla="*/ 800410 w 1629088"/>
                <a:gd name="connsiteY24" fmla="*/ 503694 h 1255269"/>
                <a:gd name="connsiteX25" fmla="*/ 800410 w 1629088"/>
                <a:gd name="connsiteY25" fmla="*/ 411370 h 1255269"/>
                <a:gd name="connsiteX26" fmla="*/ 821567 w 1629088"/>
                <a:gd name="connsiteY26" fmla="*/ 390214 h 1255269"/>
                <a:gd name="connsiteX27" fmla="*/ 983764 w 1629088"/>
                <a:gd name="connsiteY27" fmla="*/ 390214 h 1255269"/>
                <a:gd name="connsiteX28" fmla="*/ 1004921 w 1629088"/>
                <a:gd name="connsiteY28" fmla="*/ 411370 h 1255269"/>
                <a:gd name="connsiteX29" fmla="*/ 1004921 w 1629088"/>
                <a:gd name="connsiteY29" fmla="*/ 503459 h 1255269"/>
                <a:gd name="connsiteX30" fmla="*/ 1055931 w 1629088"/>
                <a:gd name="connsiteY30" fmla="*/ 524791 h 1255269"/>
                <a:gd name="connsiteX31" fmla="*/ 1121162 w 1629088"/>
                <a:gd name="connsiteY31" fmla="*/ 459501 h 1255269"/>
                <a:gd name="connsiteX32" fmla="*/ 1151134 w 1629088"/>
                <a:gd name="connsiteY32" fmla="*/ 459501 h 1255269"/>
                <a:gd name="connsiteX33" fmla="*/ 1265847 w 1629088"/>
                <a:gd name="connsiteY33" fmla="*/ 574215 h 1255269"/>
                <a:gd name="connsiteX34" fmla="*/ 1272018 w 1629088"/>
                <a:gd name="connsiteY34" fmla="*/ 589142 h 1255269"/>
                <a:gd name="connsiteX35" fmla="*/ 1265847 w 1629088"/>
                <a:gd name="connsiteY35" fmla="*/ 604068 h 1255269"/>
                <a:gd name="connsiteX36" fmla="*/ 1200674 w 1629088"/>
                <a:gd name="connsiteY36" fmla="*/ 669183 h 1255269"/>
                <a:gd name="connsiteX37" fmla="*/ 1221654 w 1629088"/>
                <a:gd name="connsiteY37" fmla="*/ 720428 h 1255269"/>
                <a:gd name="connsiteX38" fmla="*/ 1314036 w 1629088"/>
                <a:gd name="connsiteY38" fmla="*/ 720428 h 1255269"/>
                <a:gd name="connsiteX39" fmla="*/ 1335193 w 1629088"/>
                <a:gd name="connsiteY39" fmla="*/ 741584 h 1255269"/>
                <a:gd name="connsiteX40" fmla="*/ 1335193 w 1629088"/>
                <a:gd name="connsiteY40" fmla="*/ 903782 h 1255269"/>
                <a:gd name="connsiteX41" fmla="*/ 1314036 w 1629088"/>
                <a:gd name="connsiteY41" fmla="*/ 924938 h 1255269"/>
                <a:gd name="connsiteX42" fmla="*/ 1221948 w 1629088"/>
                <a:gd name="connsiteY42" fmla="*/ 924938 h 1255269"/>
                <a:gd name="connsiteX43" fmla="*/ 1200616 w 1629088"/>
                <a:gd name="connsiteY43" fmla="*/ 975948 h 1255269"/>
                <a:gd name="connsiteX44" fmla="*/ 1265906 w 1629088"/>
                <a:gd name="connsiteY44" fmla="*/ 1041179 h 1255269"/>
                <a:gd name="connsiteX45" fmla="*/ 1272077 w 1629088"/>
                <a:gd name="connsiteY45" fmla="*/ 1056165 h 1255269"/>
                <a:gd name="connsiteX46" fmla="*/ 1265906 w 1629088"/>
                <a:gd name="connsiteY46" fmla="*/ 1071151 h 1255269"/>
                <a:gd name="connsiteX47" fmla="*/ 1151192 w 1629088"/>
                <a:gd name="connsiteY47" fmla="*/ 1185865 h 1255269"/>
                <a:gd name="connsiteX48" fmla="*/ 1136207 w 1629088"/>
                <a:gd name="connsiteY48" fmla="*/ 1192035 h 1255269"/>
                <a:gd name="connsiteX49" fmla="*/ 1136207 w 1629088"/>
                <a:gd name="connsiteY49" fmla="*/ 1192035 h 1255269"/>
                <a:gd name="connsiteX50" fmla="*/ 1121221 w 1629088"/>
                <a:gd name="connsiteY50" fmla="*/ 1185865 h 1255269"/>
                <a:gd name="connsiteX51" fmla="*/ 1056166 w 1629088"/>
                <a:gd name="connsiteY51" fmla="*/ 1120692 h 1255269"/>
                <a:gd name="connsiteX52" fmla="*/ 1004979 w 1629088"/>
                <a:gd name="connsiteY52" fmla="*/ 1141672 h 1255269"/>
                <a:gd name="connsiteX53" fmla="*/ 1004979 w 1629088"/>
                <a:gd name="connsiteY53" fmla="*/ 1234112 h 1255269"/>
                <a:gd name="connsiteX54" fmla="*/ 983764 w 1629088"/>
                <a:gd name="connsiteY54" fmla="*/ 1255269 h 1255269"/>
                <a:gd name="connsiteX55" fmla="*/ 842723 w 1629088"/>
                <a:gd name="connsiteY55" fmla="*/ 1212956 h 1255269"/>
                <a:gd name="connsiteX56" fmla="*/ 962608 w 1629088"/>
                <a:gd name="connsiteY56" fmla="*/ 1212956 h 1255269"/>
                <a:gd name="connsiteX57" fmla="*/ 962608 w 1629088"/>
                <a:gd name="connsiteY57" fmla="*/ 1127626 h 1255269"/>
                <a:gd name="connsiteX58" fmla="*/ 975772 w 1629088"/>
                <a:gd name="connsiteY58" fmla="*/ 1108057 h 1255269"/>
                <a:gd name="connsiteX59" fmla="*/ 1053110 w 1629088"/>
                <a:gd name="connsiteY59" fmla="*/ 1076322 h 1255269"/>
                <a:gd name="connsiteX60" fmla="*/ 1076146 w 1629088"/>
                <a:gd name="connsiteY60" fmla="*/ 1080906 h 1255269"/>
                <a:gd name="connsiteX61" fmla="*/ 1136207 w 1629088"/>
                <a:gd name="connsiteY61" fmla="*/ 1141084 h 1255269"/>
                <a:gd name="connsiteX62" fmla="*/ 1221008 w 1629088"/>
                <a:gd name="connsiteY62" fmla="*/ 1056283 h 1255269"/>
                <a:gd name="connsiteX63" fmla="*/ 1160595 w 1629088"/>
                <a:gd name="connsiteY63" fmla="*/ 995987 h 1255269"/>
                <a:gd name="connsiteX64" fmla="*/ 1156070 w 1629088"/>
                <a:gd name="connsiteY64" fmla="*/ 972833 h 1255269"/>
                <a:gd name="connsiteX65" fmla="*/ 1188392 w 1629088"/>
                <a:gd name="connsiteY65" fmla="*/ 895730 h 1255269"/>
                <a:gd name="connsiteX66" fmla="*/ 1207903 w 1629088"/>
                <a:gd name="connsiteY66" fmla="*/ 882684 h 1255269"/>
                <a:gd name="connsiteX67" fmla="*/ 1292880 w 1629088"/>
                <a:gd name="connsiteY67" fmla="*/ 882684 h 1255269"/>
                <a:gd name="connsiteX68" fmla="*/ 1292880 w 1629088"/>
                <a:gd name="connsiteY68" fmla="*/ 762799 h 1255269"/>
                <a:gd name="connsiteX69" fmla="*/ 1207550 w 1629088"/>
                <a:gd name="connsiteY69" fmla="*/ 762799 h 1255269"/>
                <a:gd name="connsiteX70" fmla="*/ 1187981 w 1629088"/>
                <a:gd name="connsiteY70" fmla="*/ 749694 h 1255269"/>
                <a:gd name="connsiteX71" fmla="*/ 1156246 w 1629088"/>
                <a:gd name="connsiteY71" fmla="*/ 672356 h 1255269"/>
                <a:gd name="connsiteX72" fmla="*/ 1160830 w 1629088"/>
                <a:gd name="connsiteY72" fmla="*/ 649378 h 1255269"/>
                <a:gd name="connsiteX73" fmla="*/ 1221008 w 1629088"/>
                <a:gd name="connsiteY73" fmla="*/ 589259 h 1255269"/>
                <a:gd name="connsiteX74" fmla="*/ 1136207 w 1629088"/>
                <a:gd name="connsiteY74" fmla="*/ 504458 h 1255269"/>
                <a:gd name="connsiteX75" fmla="*/ 1075911 w 1629088"/>
                <a:gd name="connsiteY75" fmla="*/ 564812 h 1255269"/>
                <a:gd name="connsiteX76" fmla="*/ 1052757 w 1629088"/>
                <a:gd name="connsiteY76" fmla="*/ 569396 h 1255269"/>
                <a:gd name="connsiteX77" fmla="*/ 975654 w 1629088"/>
                <a:gd name="connsiteY77" fmla="*/ 537133 h 1255269"/>
                <a:gd name="connsiteX78" fmla="*/ 962608 w 1629088"/>
                <a:gd name="connsiteY78" fmla="*/ 517622 h 1255269"/>
                <a:gd name="connsiteX79" fmla="*/ 962608 w 1629088"/>
                <a:gd name="connsiteY79" fmla="*/ 432527 h 1255269"/>
                <a:gd name="connsiteX80" fmla="*/ 842723 w 1629088"/>
                <a:gd name="connsiteY80" fmla="*/ 432527 h 1255269"/>
                <a:gd name="connsiteX81" fmla="*/ 842723 w 1629088"/>
                <a:gd name="connsiteY81" fmla="*/ 517857 h 1255269"/>
                <a:gd name="connsiteX82" fmla="*/ 829618 w 1629088"/>
                <a:gd name="connsiteY82" fmla="*/ 537426 h 1255269"/>
                <a:gd name="connsiteX83" fmla="*/ 752280 w 1629088"/>
                <a:gd name="connsiteY83" fmla="*/ 569161 h 1255269"/>
                <a:gd name="connsiteX84" fmla="*/ 729302 w 1629088"/>
                <a:gd name="connsiteY84" fmla="*/ 564518 h 1255269"/>
                <a:gd name="connsiteX85" fmla="*/ 669183 w 1629088"/>
                <a:gd name="connsiteY85" fmla="*/ 504399 h 1255269"/>
                <a:gd name="connsiteX86" fmla="*/ 584441 w 1629088"/>
                <a:gd name="connsiteY86" fmla="*/ 589200 h 1255269"/>
                <a:gd name="connsiteX87" fmla="*/ 644795 w 1629088"/>
                <a:gd name="connsiteY87" fmla="*/ 649613 h 1255269"/>
                <a:gd name="connsiteX88" fmla="*/ 649320 w 1629088"/>
                <a:gd name="connsiteY88" fmla="*/ 672767 h 1255269"/>
                <a:gd name="connsiteX89" fmla="*/ 617057 w 1629088"/>
                <a:gd name="connsiteY89" fmla="*/ 749870 h 1255269"/>
                <a:gd name="connsiteX90" fmla="*/ 597546 w 1629088"/>
                <a:gd name="connsiteY90" fmla="*/ 762858 h 1255269"/>
                <a:gd name="connsiteX91" fmla="*/ 512451 w 1629088"/>
                <a:gd name="connsiteY91" fmla="*/ 762858 h 1255269"/>
                <a:gd name="connsiteX92" fmla="*/ 512451 w 1629088"/>
                <a:gd name="connsiteY92" fmla="*/ 882743 h 1255269"/>
                <a:gd name="connsiteX93" fmla="*/ 597781 w 1629088"/>
                <a:gd name="connsiteY93" fmla="*/ 882743 h 1255269"/>
                <a:gd name="connsiteX94" fmla="*/ 617350 w 1629088"/>
                <a:gd name="connsiteY94" fmla="*/ 895907 h 1255269"/>
                <a:gd name="connsiteX95" fmla="*/ 649085 w 1629088"/>
                <a:gd name="connsiteY95" fmla="*/ 973245 h 1255269"/>
                <a:gd name="connsiteX96" fmla="*/ 644442 w 1629088"/>
                <a:gd name="connsiteY96" fmla="*/ 996281 h 1255269"/>
                <a:gd name="connsiteX97" fmla="*/ 584382 w 1629088"/>
                <a:gd name="connsiteY97" fmla="*/ 1056341 h 1255269"/>
                <a:gd name="connsiteX98" fmla="*/ 669124 w 1629088"/>
                <a:gd name="connsiteY98" fmla="*/ 1141143 h 1255269"/>
                <a:gd name="connsiteX99" fmla="*/ 729537 w 1629088"/>
                <a:gd name="connsiteY99" fmla="*/ 1080730 h 1255269"/>
                <a:gd name="connsiteX100" fmla="*/ 752691 w 1629088"/>
                <a:gd name="connsiteY100" fmla="*/ 1076205 h 1255269"/>
                <a:gd name="connsiteX101" fmla="*/ 829794 w 1629088"/>
                <a:gd name="connsiteY101" fmla="*/ 1108527 h 1255269"/>
                <a:gd name="connsiteX102" fmla="*/ 842782 w 1629088"/>
                <a:gd name="connsiteY102" fmla="*/ 1128038 h 1255269"/>
                <a:gd name="connsiteX103" fmla="*/ 842723 w 1629088"/>
                <a:gd name="connsiteY103" fmla="*/ 1212956 h 1255269"/>
                <a:gd name="connsiteX104" fmla="*/ 842723 w 1629088"/>
                <a:gd name="connsiteY104" fmla="*/ 1212956 h 1255269"/>
                <a:gd name="connsiteX105" fmla="*/ 902665 w 1629088"/>
                <a:gd name="connsiteY105" fmla="*/ 1020200 h 1255269"/>
                <a:gd name="connsiteX106" fmla="*/ 705207 w 1629088"/>
                <a:gd name="connsiteY106" fmla="*/ 822741 h 1255269"/>
                <a:gd name="connsiteX107" fmla="*/ 902665 w 1629088"/>
                <a:gd name="connsiteY107" fmla="*/ 625283 h 1255269"/>
                <a:gd name="connsiteX108" fmla="*/ 1100124 w 1629088"/>
                <a:gd name="connsiteY108" fmla="*/ 822741 h 1255269"/>
                <a:gd name="connsiteX109" fmla="*/ 902665 w 1629088"/>
                <a:gd name="connsiteY109" fmla="*/ 1020200 h 1255269"/>
                <a:gd name="connsiteX110" fmla="*/ 902665 w 1629088"/>
                <a:gd name="connsiteY110" fmla="*/ 667596 h 1255269"/>
                <a:gd name="connsiteX111" fmla="*/ 747520 w 1629088"/>
                <a:gd name="connsiteY111" fmla="*/ 822741 h 1255269"/>
                <a:gd name="connsiteX112" fmla="*/ 902665 w 1629088"/>
                <a:gd name="connsiteY112" fmla="*/ 977887 h 1255269"/>
                <a:gd name="connsiteX113" fmla="*/ 1057811 w 1629088"/>
                <a:gd name="connsiteY113" fmla="*/ 822741 h 1255269"/>
                <a:gd name="connsiteX114" fmla="*/ 902665 w 1629088"/>
                <a:gd name="connsiteY114" fmla="*/ 667596 h 1255269"/>
                <a:gd name="connsiteX115" fmla="*/ 42312 w 1629088"/>
                <a:gd name="connsiteY115" fmla="*/ 822741 h 1255269"/>
                <a:gd name="connsiteX116" fmla="*/ 0 w 1629088"/>
                <a:gd name="connsiteY116" fmla="*/ 822741 h 1255269"/>
                <a:gd name="connsiteX117" fmla="*/ 1586717 w 1629088"/>
                <a:gd name="connsiteY117" fmla="*/ 0 h 1255269"/>
                <a:gd name="connsiteX118" fmla="*/ 1629088 w 1629088"/>
                <a:gd name="connsiteY118" fmla="*/ 0 h 1255269"/>
                <a:gd name="connsiteX119" fmla="*/ 42312 w 1629088"/>
                <a:gd name="connsiteY119" fmla="*/ 822741 h 1255269"/>
                <a:gd name="connsiteX0" fmla="*/ 983764 w 1629088"/>
                <a:gd name="connsiteY0" fmla="*/ 1255269 h 1255269"/>
                <a:gd name="connsiteX1" fmla="*/ 821567 w 1629088"/>
                <a:gd name="connsiteY1" fmla="*/ 1255269 h 1255269"/>
                <a:gd name="connsiteX2" fmla="*/ 800410 w 1629088"/>
                <a:gd name="connsiteY2" fmla="*/ 1234112 h 1255269"/>
                <a:gd name="connsiteX3" fmla="*/ 800410 w 1629088"/>
                <a:gd name="connsiteY3" fmla="*/ 1142024 h 1255269"/>
                <a:gd name="connsiteX4" fmla="*/ 749342 w 1629088"/>
                <a:gd name="connsiteY4" fmla="*/ 1120692 h 1255269"/>
                <a:gd name="connsiteX5" fmla="*/ 684051 w 1629088"/>
                <a:gd name="connsiteY5" fmla="*/ 1185982 h 1255269"/>
                <a:gd name="connsiteX6" fmla="*/ 669124 w 1629088"/>
                <a:gd name="connsiteY6" fmla="*/ 1192153 h 1255269"/>
                <a:gd name="connsiteX7" fmla="*/ 669124 w 1629088"/>
                <a:gd name="connsiteY7" fmla="*/ 1192153 h 1255269"/>
                <a:gd name="connsiteX8" fmla="*/ 654197 w 1629088"/>
                <a:gd name="connsiteY8" fmla="*/ 1185982 h 1255269"/>
                <a:gd name="connsiteX9" fmla="*/ 539484 w 1629088"/>
                <a:gd name="connsiteY9" fmla="*/ 1071268 h 1255269"/>
                <a:gd name="connsiteX10" fmla="*/ 539484 w 1629088"/>
                <a:gd name="connsiteY10" fmla="*/ 1041297 h 1255269"/>
                <a:gd name="connsiteX11" fmla="*/ 604598 w 1629088"/>
                <a:gd name="connsiteY11" fmla="*/ 976242 h 1255269"/>
                <a:gd name="connsiteX12" fmla="*/ 583618 w 1629088"/>
                <a:gd name="connsiteY12" fmla="*/ 925055 h 1255269"/>
                <a:gd name="connsiteX13" fmla="*/ 491294 w 1629088"/>
                <a:gd name="connsiteY13" fmla="*/ 925055 h 1255269"/>
                <a:gd name="connsiteX14" fmla="*/ 470138 w 1629088"/>
                <a:gd name="connsiteY14" fmla="*/ 903899 h 1255269"/>
                <a:gd name="connsiteX15" fmla="*/ 470138 w 1629088"/>
                <a:gd name="connsiteY15" fmla="*/ 741701 h 1255269"/>
                <a:gd name="connsiteX16" fmla="*/ 491294 w 1629088"/>
                <a:gd name="connsiteY16" fmla="*/ 720545 h 1255269"/>
                <a:gd name="connsiteX17" fmla="*/ 583383 w 1629088"/>
                <a:gd name="connsiteY17" fmla="*/ 720545 h 1255269"/>
                <a:gd name="connsiteX18" fmla="*/ 604715 w 1629088"/>
                <a:gd name="connsiteY18" fmla="*/ 669476 h 1255269"/>
                <a:gd name="connsiteX19" fmla="*/ 539484 w 1629088"/>
                <a:gd name="connsiteY19" fmla="*/ 604127 h 1255269"/>
                <a:gd name="connsiteX20" fmla="*/ 539484 w 1629088"/>
                <a:gd name="connsiteY20" fmla="*/ 574215 h 1255269"/>
                <a:gd name="connsiteX21" fmla="*/ 654139 w 1629088"/>
                <a:gd name="connsiteY21" fmla="*/ 459501 h 1255269"/>
                <a:gd name="connsiteX22" fmla="*/ 684051 w 1629088"/>
                <a:gd name="connsiteY22" fmla="*/ 459501 h 1255269"/>
                <a:gd name="connsiteX23" fmla="*/ 749165 w 1629088"/>
                <a:gd name="connsiteY23" fmla="*/ 524674 h 1255269"/>
                <a:gd name="connsiteX24" fmla="*/ 800410 w 1629088"/>
                <a:gd name="connsiteY24" fmla="*/ 503694 h 1255269"/>
                <a:gd name="connsiteX25" fmla="*/ 800410 w 1629088"/>
                <a:gd name="connsiteY25" fmla="*/ 411370 h 1255269"/>
                <a:gd name="connsiteX26" fmla="*/ 821567 w 1629088"/>
                <a:gd name="connsiteY26" fmla="*/ 390214 h 1255269"/>
                <a:gd name="connsiteX27" fmla="*/ 983764 w 1629088"/>
                <a:gd name="connsiteY27" fmla="*/ 390214 h 1255269"/>
                <a:gd name="connsiteX28" fmla="*/ 1004921 w 1629088"/>
                <a:gd name="connsiteY28" fmla="*/ 411370 h 1255269"/>
                <a:gd name="connsiteX29" fmla="*/ 1004921 w 1629088"/>
                <a:gd name="connsiteY29" fmla="*/ 503459 h 1255269"/>
                <a:gd name="connsiteX30" fmla="*/ 1055931 w 1629088"/>
                <a:gd name="connsiteY30" fmla="*/ 524791 h 1255269"/>
                <a:gd name="connsiteX31" fmla="*/ 1121162 w 1629088"/>
                <a:gd name="connsiteY31" fmla="*/ 459501 h 1255269"/>
                <a:gd name="connsiteX32" fmla="*/ 1151134 w 1629088"/>
                <a:gd name="connsiteY32" fmla="*/ 459501 h 1255269"/>
                <a:gd name="connsiteX33" fmla="*/ 1265847 w 1629088"/>
                <a:gd name="connsiteY33" fmla="*/ 574215 h 1255269"/>
                <a:gd name="connsiteX34" fmla="*/ 1272018 w 1629088"/>
                <a:gd name="connsiteY34" fmla="*/ 589142 h 1255269"/>
                <a:gd name="connsiteX35" fmla="*/ 1265847 w 1629088"/>
                <a:gd name="connsiteY35" fmla="*/ 604068 h 1255269"/>
                <a:gd name="connsiteX36" fmla="*/ 1200674 w 1629088"/>
                <a:gd name="connsiteY36" fmla="*/ 669183 h 1255269"/>
                <a:gd name="connsiteX37" fmla="*/ 1221654 w 1629088"/>
                <a:gd name="connsiteY37" fmla="*/ 720428 h 1255269"/>
                <a:gd name="connsiteX38" fmla="*/ 1314036 w 1629088"/>
                <a:gd name="connsiteY38" fmla="*/ 720428 h 1255269"/>
                <a:gd name="connsiteX39" fmla="*/ 1335193 w 1629088"/>
                <a:gd name="connsiteY39" fmla="*/ 741584 h 1255269"/>
                <a:gd name="connsiteX40" fmla="*/ 1335193 w 1629088"/>
                <a:gd name="connsiteY40" fmla="*/ 903782 h 1255269"/>
                <a:gd name="connsiteX41" fmla="*/ 1314036 w 1629088"/>
                <a:gd name="connsiteY41" fmla="*/ 924938 h 1255269"/>
                <a:gd name="connsiteX42" fmla="*/ 1221948 w 1629088"/>
                <a:gd name="connsiteY42" fmla="*/ 924938 h 1255269"/>
                <a:gd name="connsiteX43" fmla="*/ 1200616 w 1629088"/>
                <a:gd name="connsiteY43" fmla="*/ 975948 h 1255269"/>
                <a:gd name="connsiteX44" fmla="*/ 1265906 w 1629088"/>
                <a:gd name="connsiteY44" fmla="*/ 1041179 h 1255269"/>
                <a:gd name="connsiteX45" fmla="*/ 1272077 w 1629088"/>
                <a:gd name="connsiteY45" fmla="*/ 1056165 h 1255269"/>
                <a:gd name="connsiteX46" fmla="*/ 1265906 w 1629088"/>
                <a:gd name="connsiteY46" fmla="*/ 1071151 h 1255269"/>
                <a:gd name="connsiteX47" fmla="*/ 1151192 w 1629088"/>
                <a:gd name="connsiteY47" fmla="*/ 1185865 h 1255269"/>
                <a:gd name="connsiteX48" fmla="*/ 1136207 w 1629088"/>
                <a:gd name="connsiteY48" fmla="*/ 1192035 h 1255269"/>
                <a:gd name="connsiteX49" fmla="*/ 1136207 w 1629088"/>
                <a:gd name="connsiteY49" fmla="*/ 1192035 h 1255269"/>
                <a:gd name="connsiteX50" fmla="*/ 1121221 w 1629088"/>
                <a:gd name="connsiteY50" fmla="*/ 1185865 h 1255269"/>
                <a:gd name="connsiteX51" fmla="*/ 1056166 w 1629088"/>
                <a:gd name="connsiteY51" fmla="*/ 1120692 h 1255269"/>
                <a:gd name="connsiteX52" fmla="*/ 1004979 w 1629088"/>
                <a:gd name="connsiteY52" fmla="*/ 1141672 h 1255269"/>
                <a:gd name="connsiteX53" fmla="*/ 1004979 w 1629088"/>
                <a:gd name="connsiteY53" fmla="*/ 1234112 h 1255269"/>
                <a:gd name="connsiteX54" fmla="*/ 983764 w 1629088"/>
                <a:gd name="connsiteY54" fmla="*/ 1255269 h 1255269"/>
                <a:gd name="connsiteX55" fmla="*/ 842723 w 1629088"/>
                <a:gd name="connsiteY55" fmla="*/ 1212956 h 1255269"/>
                <a:gd name="connsiteX56" fmla="*/ 962608 w 1629088"/>
                <a:gd name="connsiteY56" fmla="*/ 1212956 h 1255269"/>
                <a:gd name="connsiteX57" fmla="*/ 962608 w 1629088"/>
                <a:gd name="connsiteY57" fmla="*/ 1127626 h 1255269"/>
                <a:gd name="connsiteX58" fmla="*/ 975772 w 1629088"/>
                <a:gd name="connsiteY58" fmla="*/ 1108057 h 1255269"/>
                <a:gd name="connsiteX59" fmla="*/ 1053110 w 1629088"/>
                <a:gd name="connsiteY59" fmla="*/ 1076322 h 1255269"/>
                <a:gd name="connsiteX60" fmla="*/ 1076146 w 1629088"/>
                <a:gd name="connsiteY60" fmla="*/ 1080906 h 1255269"/>
                <a:gd name="connsiteX61" fmla="*/ 1136207 w 1629088"/>
                <a:gd name="connsiteY61" fmla="*/ 1141084 h 1255269"/>
                <a:gd name="connsiteX62" fmla="*/ 1221008 w 1629088"/>
                <a:gd name="connsiteY62" fmla="*/ 1056283 h 1255269"/>
                <a:gd name="connsiteX63" fmla="*/ 1160595 w 1629088"/>
                <a:gd name="connsiteY63" fmla="*/ 995987 h 1255269"/>
                <a:gd name="connsiteX64" fmla="*/ 1156070 w 1629088"/>
                <a:gd name="connsiteY64" fmla="*/ 972833 h 1255269"/>
                <a:gd name="connsiteX65" fmla="*/ 1188392 w 1629088"/>
                <a:gd name="connsiteY65" fmla="*/ 895730 h 1255269"/>
                <a:gd name="connsiteX66" fmla="*/ 1207903 w 1629088"/>
                <a:gd name="connsiteY66" fmla="*/ 882684 h 1255269"/>
                <a:gd name="connsiteX67" fmla="*/ 1292880 w 1629088"/>
                <a:gd name="connsiteY67" fmla="*/ 882684 h 1255269"/>
                <a:gd name="connsiteX68" fmla="*/ 1292880 w 1629088"/>
                <a:gd name="connsiteY68" fmla="*/ 762799 h 1255269"/>
                <a:gd name="connsiteX69" fmla="*/ 1207550 w 1629088"/>
                <a:gd name="connsiteY69" fmla="*/ 762799 h 1255269"/>
                <a:gd name="connsiteX70" fmla="*/ 1187981 w 1629088"/>
                <a:gd name="connsiteY70" fmla="*/ 749694 h 1255269"/>
                <a:gd name="connsiteX71" fmla="*/ 1156246 w 1629088"/>
                <a:gd name="connsiteY71" fmla="*/ 672356 h 1255269"/>
                <a:gd name="connsiteX72" fmla="*/ 1160830 w 1629088"/>
                <a:gd name="connsiteY72" fmla="*/ 649378 h 1255269"/>
                <a:gd name="connsiteX73" fmla="*/ 1221008 w 1629088"/>
                <a:gd name="connsiteY73" fmla="*/ 589259 h 1255269"/>
                <a:gd name="connsiteX74" fmla="*/ 1136207 w 1629088"/>
                <a:gd name="connsiteY74" fmla="*/ 504458 h 1255269"/>
                <a:gd name="connsiteX75" fmla="*/ 1075911 w 1629088"/>
                <a:gd name="connsiteY75" fmla="*/ 564812 h 1255269"/>
                <a:gd name="connsiteX76" fmla="*/ 1052757 w 1629088"/>
                <a:gd name="connsiteY76" fmla="*/ 569396 h 1255269"/>
                <a:gd name="connsiteX77" fmla="*/ 975654 w 1629088"/>
                <a:gd name="connsiteY77" fmla="*/ 537133 h 1255269"/>
                <a:gd name="connsiteX78" fmla="*/ 962608 w 1629088"/>
                <a:gd name="connsiteY78" fmla="*/ 517622 h 1255269"/>
                <a:gd name="connsiteX79" fmla="*/ 962608 w 1629088"/>
                <a:gd name="connsiteY79" fmla="*/ 432527 h 1255269"/>
                <a:gd name="connsiteX80" fmla="*/ 842723 w 1629088"/>
                <a:gd name="connsiteY80" fmla="*/ 432527 h 1255269"/>
                <a:gd name="connsiteX81" fmla="*/ 842723 w 1629088"/>
                <a:gd name="connsiteY81" fmla="*/ 517857 h 1255269"/>
                <a:gd name="connsiteX82" fmla="*/ 829618 w 1629088"/>
                <a:gd name="connsiteY82" fmla="*/ 537426 h 1255269"/>
                <a:gd name="connsiteX83" fmla="*/ 752280 w 1629088"/>
                <a:gd name="connsiteY83" fmla="*/ 569161 h 1255269"/>
                <a:gd name="connsiteX84" fmla="*/ 729302 w 1629088"/>
                <a:gd name="connsiteY84" fmla="*/ 564518 h 1255269"/>
                <a:gd name="connsiteX85" fmla="*/ 669183 w 1629088"/>
                <a:gd name="connsiteY85" fmla="*/ 504399 h 1255269"/>
                <a:gd name="connsiteX86" fmla="*/ 584441 w 1629088"/>
                <a:gd name="connsiteY86" fmla="*/ 589200 h 1255269"/>
                <a:gd name="connsiteX87" fmla="*/ 644795 w 1629088"/>
                <a:gd name="connsiteY87" fmla="*/ 649613 h 1255269"/>
                <a:gd name="connsiteX88" fmla="*/ 649320 w 1629088"/>
                <a:gd name="connsiteY88" fmla="*/ 672767 h 1255269"/>
                <a:gd name="connsiteX89" fmla="*/ 617057 w 1629088"/>
                <a:gd name="connsiteY89" fmla="*/ 749870 h 1255269"/>
                <a:gd name="connsiteX90" fmla="*/ 597546 w 1629088"/>
                <a:gd name="connsiteY90" fmla="*/ 762858 h 1255269"/>
                <a:gd name="connsiteX91" fmla="*/ 512451 w 1629088"/>
                <a:gd name="connsiteY91" fmla="*/ 762858 h 1255269"/>
                <a:gd name="connsiteX92" fmla="*/ 512451 w 1629088"/>
                <a:gd name="connsiteY92" fmla="*/ 882743 h 1255269"/>
                <a:gd name="connsiteX93" fmla="*/ 597781 w 1629088"/>
                <a:gd name="connsiteY93" fmla="*/ 882743 h 1255269"/>
                <a:gd name="connsiteX94" fmla="*/ 617350 w 1629088"/>
                <a:gd name="connsiteY94" fmla="*/ 895907 h 1255269"/>
                <a:gd name="connsiteX95" fmla="*/ 649085 w 1629088"/>
                <a:gd name="connsiteY95" fmla="*/ 973245 h 1255269"/>
                <a:gd name="connsiteX96" fmla="*/ 644442 w 1629088"/>
                <a:gd name="connsiteY96" fmla="*/ 996281 h 1255269"/>
                <a:gd name="connsiteX97" fmla="*/ 584382 w 1629088"/>
                <a:gd name="connsiteY97" fmla="*/ 1056341 h 1255269"/>
                <a:gd name="connsiteX98" fmla="*/ 669124 w 1629088"/>
                <a:gd name="connsiteY98" fmla="*/ 1141143 h 1255269"/>
                <a:gd name="connsiteX99" fmla="*/ 729537 w 1629088"/>
                <a:gd name="connsiteY99" fmla="*/ 1080730 h 1255269"/>
                <a:gd name="connsiteX100" fmla="*/ 752691 w 1629088"/>
                <a:gd name="connsiteY100" fmla="*/ 1076205 h 1255269"/>
                <a:gd name="connsiteX101" fmla="*/ 829794 w 1629088"/>
                <a:gd name="connsiteY101" fmla="*/ 1108527 h 1255269"/>
                <a:gd name="connsiteX102" fmla="*/ 842782 w 1629088"/>
                <a:gd name="connsiteY102" fmla="*/ 1128038 h 1255269"/>
                <a:gd name="connsiteX103" fmla="*/ 842723 w 1629088"/>
                <a:gd name="connsiteY103" fmla="*/ 1212956 h 1255269"/>
                <a:gd name="connsiteX104" fmla="*/ 842723 w 1629088"/>
                <a:gd name="connsiteY104" fmla="*/ 1212956 h 1255269"/>
                <a:gd name="connsiteX105" fmla="*/ 902665 w 1629088"/>
                <a:gd name="connsiteY105" fmla="*/ 1020200 h 1255269"/>
                <a:gd name="connsiteX106" fmla="*/ 705207 w 1629088"/>
                <a:gd name="connsiteY106" fmla="*/ 822741 h 1255269"/>
                <a:gd name="connsiteX107" fmla="*/ 902665 w 1629088"/>
                <a:gd name="connsiteY107" fmla="*/ 625283 h 1255269"/>
                <a:gd name="connsiteX108" fmla="*/ 1100124 w 1629088"/>
                <a:gd name="connsiteY108" fmla="*/ 822741 h 1255269"/>
                <a:gd name="connsiteX109" fmla="*/ 902665 w 1629088"/>
                <a:gd name="connsiteY109" fmla="*/ 1020200 h 1255269"/>
                <a:gd name="connsiteX110" fmla="*/ 902665 w 1629088"/>
                <a:gd name="connsiteY110" fmla="*/ 667596 h 1255269"/>
                <a:gd name="connsiteX111" fmla="*/ 747520 w 1629088"/>
                <a:gd name="connsiteY111" fmla="*/ 822741 h 1255269"/>
                <a:gd name="connsiteX112" fmla="*/ 902665 w 1629088"/>
                <a:gd name="connsiteY112" fmla="*/ 977887 h 1255269"/>
                <a:gd name="connsiteX113" fmla="*/ 1057811 w 1629088"/>
                <a:gd name="connsiteY113" fmla="*/ 822741 h 1255269"/>
                <a:gd name="connsiteX114" fmla="*/ 902665 w 1629088"/>
                <a:gd name="connsiteY114" fmla="*/ 667596 h 1255269"/>
                <a:gd name="connsiteX115" fmla="*/ 1629088 w 1629088"/>
                <a:gd name="connsiteY115" fmla="*/ 0 h 1255269"/>
                <a:gd name="connsiteX116" fmla="*/ 0 w 1629088"/>
                <a:gd name="connsiteY116" fmla="*/ 822741 h 1255269"/>
                <a:gd name="connsiteX117" fmla="*/ 1586717 w 1629088"/>
                <a:gd name="connsiteY117" fmla="*/ 0 h 1255269"/>
                <a:gd name="connsiteX118" fmla="*/ 1629088 w 1629088"/>
                <a:gd name="connsiteY118" fmla="*/ 0 h 1255269"/>
                <a:gd name="connsiteX0" fmla="*/ 983764 w 1629088"/>
                <a:gd name="connsiteY0" fmla="*/ 1255269 h 1255269"/>
                <a:gd name="connsiteX1" fmla="*/ 821567 w 1629088"/>
                <a:gd name="connsiteY1" fmla="*/ 1255269 h 1255269"/>
                <a:gd name="connsiteX2" fmla="*/ 800410 w 1629088"/>
                <a:gd name="connsiteY2" fmla="*/ 1234112 h 1255269"/>
                <a:gd name="connsiteX3" fmla="*/ 800410 w 1629088"/>
                <a:gd name="connsiteY3" fmla="*/ 1142024 h 1255269"/>
                <a:gd name="connsiteX4" fmla="*/ 749342 w 1629088"/>
                <a:gd name="connsiteY4" fmla="*/ 1120692 h 1255269"/>
                <a:gd name="connsiteX5" fmla="*/ 684051 w 1629088"/>
                <a:gd name="connsiteY5" fmla="*/ 1185982 h 1255269"/>
                <a:gd name="connsiteX6" fmla="*/ 669124 w 1629088"/>
                <a:gd name="connsiteY6" fmla="*/ 1192153 h 1255269"/>
                <a:gd name="connsiteX7" fmla="*/ 669124 w 1629088"/>
                <a:gd name="connsiteY7" fmla="*/ 1192153 h 1255269"/>
                <a:gd name="connsiteX8" fmla="*/ 654197 w 1629088"/>
                <a:gd name="connsiteY8" fmla="*/ 1185982 h 1255269"/>
                <a:gd name="connsiteX9" fmla="*/ 539484 w 1629088"/>
                <a:gd name="connsiteY9" fmla="*/ 1071268 h 1255269"/>
                <a:gd name="connsiteX10" fmla="*/ 539484 w 1629088"/>
                <a:gd name="connsiteY10" fmla="*/ 1041297 h 1255269"/>
                <a:gd name="connsiteX11" fmla="*/ 604598 w 1629088"/>
                <a:gd name="connsiteY11" fmla="*/ 976242 h 1255269"/>
                <a:gd name="connsiteX12" fmla="*/ 583618 w 1629088"/>
                <a:gd name="connsiteY12" fmla="*/ 925055 h 1255269"/>
                <a:gd name="connsiteX13" fmla="*/ 491294 w 1629088"/>
                <a:gd name="connsiteY13" fmla="*/ 925055 h 1255269"/>
                <a:gd name="connsiteX14" fmla="*/ 470138 w 1629088"/>
                <a:gd name="connsiteY14" fmla="*/ 903899 h 1255269"/>
                <a:gd name="connsiteX15" fmla="*/ 470138 w 1629088"/>
                <a:gd name="connsiteY15" fmla="*/ 741701 h 1255269"/>
                <a:gd name="connsiteX16" fmla="*/ 491294 w 1629088"/>
                <a:gd name="connsiteY16" fmla="*/ 720545 h 1255269"/>
                <a:gd name="connsiteX17" fmla="*/ 583383 w 1629088"/>
                <a:gd name="connsiteY17" fmla="*/ 720545 h 1255269"/>
                <a:gd name="connsiteX18" fmla="*/ 604715 w 1629088"/>
                <a:gd name="connsiteY18" fmla="*/ 669476 h 1255269"/>
                <a:gd name="connsiteX19" fmla="*/ 539484 w 1629088"/>
                <a:gd name="connsiteY19" fmla="*/ 604127 h 1255269"/>
                <a:gd name="connsiteX20" fmla="*/ 539484 w 1629088"/>
                <a:gd name="connsiteY20" fmla="*/ 574215 h 1255269"/>
                <a:gd name="connsiteX21" fmla="*/ 654139 w 1629088"/>
                <a:gd name="connsiteY21" fmla="*/ 459501 h 1255269"/>
                <a:gd name="connsiteX22" fmla="*/ 684051 w 1629088"/>
                <a:gd name="connsiteY22" fmla="*/ 459501 h 1255269"/>
                <a:gd name="connsiteX23" fmla="*/ 749165 w 1629088"/>
                <a:gd name="connsiteY23" fmla="*/ 524674 h 1255269"/>
                <a:gd name="connsiteX24" fmla="*/ 800410 w 1629088"/>
                <a:gd name="connsiteY24" fmla="*/ 503694 h 1255269"/>
                <a:gd name="connsiteX25" fmla="*/ 800410 w 1629088"/>
                <a:gd name="connsiteY25" fmla="*/ 411370 h 1255269"/>
                <a:gd name="connsiteX26" fmla="*/ 821567 w 1629088"/>
                <a:gd name="connsiteY26" fmla="*/ 390214 h 1255269"/>
                <a:gd name="connsiteX27" fmla="*/ 983764 w 1629088"/>
                <a:gd name="connsiteY27" fmla="*/ 390214 h 1255269"/>
                <a:gd name="connsiteX28" fmla="*/ 1004921 w 1629088"/>
                <a:gd name="connsiteY28" fmla="*/ 411370 h 1255269"/>
                <a:gd name="connsiteX29" fmla="*/ 1004921 w 1629088"/>
                <a:gd name="connsiteY29" fmla="*/ 503459 h 1255269"/>
                <a:gd name="connsiteX30" fmla="*/ 1055931 w 1629088"/>
                <a:gd name="connsiteY30" fmla="*/ 524791 h 1255269"/>
                <a:gd name="connsiteX31" fmla="*/ 1121162 w 1629088"/>
                <a:gd name="connsiteY31" fmla="*/ 459501 h 1255269"/>
                <a:gd name="connsiteX32" fmla="*/ 1151134 w 1629088"/>
                <a:gd name="connsiteY32" fmla="*/ 459501 h 1255269"/>
                <a:gd name="connsiteX33" fmla="*/ 1265847 w 1629088"/>
                <a:gd name="connsiteY33" fmla="*/ 574215 h 1255269"/>
                <a:gd name="connsiteX34" fmla="*/ 1272018 w 1629088"/>
                <a:gd name="connsiteY34" fmla="*/ 589142 h 1255269"/>
                <a:gd name="connsiteX35" fmla="*/ 1265847 w 1629088"/>
                <a:gd name="connsiteY35" fmla="*/ 604068 h 1255269"/>
                <a:gd name="connsiteX36" fmla="*/ 1200674 w 1629088"/>
                <a:gd name="connsiteY36" fmla="*/ 669183 h 1255269"/>
                <a:gd name="connsiteX37" fmla="*/ 1221654 w 1629088"/>
                <a:gd name="connsiteY37" fmla="*/ 720428 h 1255269"/>
                <a:gd name="connsiteX38" fmla="*/ 1314036 w 1629088"/>
                <a:gd name="connsiteY38" fmla="*/ 720428 h 1255269"/>
                <a:gd name="connsiteX39" fmla="*/ 1335193 w 1629088"/>
                <a:gd name="connsiteY39" fmla="*/ 741584 h 1255269"/>
                <a:gd name="connsiteX40" fmla="*/ 1335193 w 1629088"/>
                <a:gd name="connsiteY40" fmla="*/ 903782 h 1255269"/>
                <a:gd name="connsiteX41" fmla="*/ 1314036 w 1629088"/>
                <a:gd name="connsiteY41" fmla="*/ 924938 h 1255269"/>
                <a:gd name="connsiteX42" fmla="*/ 1221948 w 1629088"/>
                <a:gd name="connsiteY42" fmla="*/ 924938 h 1255269"/>
                <a:gd name="connsiteX43" fmla="*/ 1200616 w 1629088"/>
                <a:gd name="connsiteY43" fmla="*/ 975948 h 1255269"/>
                <a:gd name="connsiteX44" fmla="*/ 1265906 w 1629088"/>
                <a:gd name="connsiteY44" fmla="*/ 1041179 h 1255269"/>
                <a:gd name="connsiteX45" fmla="*/ 1272077 w 1629088"/>
                <a:gd name="connsiteY45" fmla="*/ 1056165 h 1255269"/>
                <a:gd name="connsiteX46" fmla="*/ 1265906 w 1629088"/>
                <a:gd name="connsiteY46" fmla="*/ 1071151 h 1255269"/>
                <a:gd name="connsiteX47" fmla="*/ 1151192 w 1629088"/>
                <a:gd name="connsiteY47" fmla="*/ 1185865 h 1255269"/>
                <a:gd name="connsiteX48" fmla="*/ 1136207 w 1629088"/>
                <a:gd name="connsiteY48" fmla="*/ 1192035 h 1255269"/>
                <a:gd name="connsiteX49" fmla="*/ 1136207 w 1629088"/>
                <a:gd name="connsiteY49" fmla="*/ 1192035 h 1255269"/>
                <a:gd name="connsiteX50" fmla="*/ 1121221 w 1629088"/>
                <a:gd name="connsiteY50" fmla="*/ 1185865 h 1255269"/>
                <a:gd name="connsiteX51" fmla="*/ 1056166 w 1629088"/>
                <a:gd name="connsiteY51" fmla="*/ 1120692 h 1255269"/>
                <a:gd name="connsiteX52" fmla="*/ 1004979 w 1629088"/>
                <a:gd name="connsiteY52" fmla="*/ 1141672 h 1255269"/>
                <a:gd name="connsiteX53" fmla="*/ 1004979 w 1629088"/>
                <a:gd name="connsiteY53" fmla="*/ 1234112 h 1255269"/>
                <a:gd name="connsiteX54" fmla="*/ 983764 w 1629088"/>
                <a:gd name="connsiteY54" fmla="*/ 1255269 h 1255269"/>
                <a:gd name="connsiteX55" fmla="*/ 842723 w 1629088"/>
                <a:gd name="connsiteY55" fmla="*/ 1212956 h 1255269"/>
                <a:gd name="connsiteX56" fmla="*/ 962608 w 1629088"/>
                <a:gd name="connsiteY56" fmla="*/ 1212956 h 1255269"/>
                <a:gd name="connsiteX57" fmla="*/ 962608 w 1629088"/>
                <a:gd name="connsiteY57" fmla="*/ 1127626 h 1255269"/>
                <a:gd name="connsiteX58" fmla="*/ 975772 w 1629088"/>
                <a:gd name="connsiteY58" fmla="*/ 1108057 h 1255269"/>
                <a:gd name="connsiteX59" fmla="*/ 1053110 w 1629088"/>
                <a:gd name="connsiteY59" fmla="*/ 1076322 h 1255269"/>
                <a:gd name="connsiteX60" fmla="*/ 1076146 w 1629088"/>
                <a:gd name="connsiteY60" fmla="*/ 1080906 h 1255269"/>
                <a:gd name="connsiteX61" fmla="*/ 1136207 w 1629088"/>
                <a:gd name="connsiteY61" fmla="*/ 1141084 h 1255269"/>
                <a:gd name="connsiteX62" fmla="*/ 1221008 w 1629088"/>
                <a:gd name="connsiteY62" fmla="*/ 1056283 h 1255269"/>
                <a:gd name="connsiteX63" fmla="*/ 1160595 w 1629088"/>
                <a:gd name="connsiteY63" fmla="*/ 995987 h 1255269"/>
                <a:gd name="connsiteX64" fmla="*/ 1156070 w 1629088"/>
                <a:gd name="connsiteY64" fmla="*/ 972833 h 1255269"/>
                <a:gd name="connsiteX65" fmla="*/ 1188392 w 1629088"/>
                <a:gd name="connsiteY65" fmla="*/ 895730 h 1255269"/>
                <a:gd name="connsiteX66" fmla="*/ 1207903 w 1629088"/>
                <a:gd name="connsiteY66" fmla="*/ 882684 h 1255269"/>
                <a:gd name="connsiteX67" fmla="*/ 1292880 w 1629088"/>
                <a:gd name="connsiteY67" fmla="*/ 882684 h 1255269"/>
                <a:gd name="connsiteX68" fmla="*/ 1292880 w 1629088"/>
                <a:gd name="connsiteY68" fmla="*/ 762799 h 1255269"/>
                <a:gd name="connsiteX69" fmla="*/ 1207550 w 1629088"/>
                <a:gd name="connsiteY69" fmla="*/ 762799 h 1255269"/>
                <a:gd name="connsiteX70" fmla="*/ 1187981 w 1629088"/>
                <a:gd name="connsiteY70" fmla="*/ 749694 h 1255269"/>
                <a:gd name="connsiteX71" fmla="*/ 1156246 w 1629088"/>
                <a:gd name="connsiteY71" fmla="*/ 672356 h 1255269"/>
                <a:gd name="connsiteX72" fmla="*/ 1160830 w 1629088"/>
                <a:gd name="connsiteY72" fmla="*/ 649378 h 1255269"/>
                <a:gd name="connsiteX73" fmla="*/ 1221008 w 1629088"/>
                <a:gd name="connsiteY73" fmla="*/ 589259 h 1255269"/>
                <a:gd name="connsiteX74" fmla="*/ 1136207 w 1629088"/>
                <a:gd name="connsiteY74" fmla="*/ 504458 h 1255269"/>
                <a:gd name="connsiteX75" fmla="*/ 1075911 w 1629088"/>
                <a:gd name="connsiteY75" fmla="*/ 564812 h 1255269"/>
                <a:gd name="connsiteX76" fmla="*/ 1052757 w 1629088"/>
                <a:gd name="connsiteY76" fmla="*/ 569396 h 1255269"/>
                <a:gd name="connsiteX77" fmla="*/ 975654 w 1629088"/>
                <a:gd name="connsiteY77" fmla="*/ 537133 h 1255269"/>
                <a:gd name="connsiteX78" fmla="*/ 962608 w 1629088"/>
                <a:gd name="connsiteY78" fmla="*/ 517622 h 1255269"/>
                <a:gd name="connsiteX79" fmla="*/ 962608 w 1629088"/>
                <a:gd name="connsiteY79" fmla="*/ 432527 h 1255269"/>
                <a:gd name="connsiteX80" fmla="*/ 842723 w 1629088"/>
                <a:gd name="connsiteY80" fmla="*/ 432527 h 1255269"/>
                <a:gd name="connsiteX81" fmla="*/ 842723 w 1629088"/>
                <a:gd name="connsiteY81" fmla="*/ 517857 h 1255269"/>
                <a:gd name="connsiteX82" fmla="*/ 829618 w 1629088"/>
                <a:gd name="connsiteY82" fmla="*/ 537426 h 1255269"/>
                <a:gd name="connsiteX83" fmla="*/ 752280 w 1629088"/>
                <a:gd name="connsiteY83" fmla="*/ 569161 h 1255269"/>
                <a:gd name="connsiteX84" fmla="*/ 729302 w 1629088"/>
                <a:gd name="connsiteY84" fmla="*/ 564518 h 1255269"/>
                <a:gd name="connsiteX85" fmla="*/ 669183 w 1629088"/>
                <a:gd name="connsiteY85" fmla="*/ 504399 h 1255269"/>
                <a:gd name="connsiteX86" fmla="*/ 584441 w 1629088"/>
                <a:gd name="connsiteY86" fmla="*/ 589200 h 1255269"/>
                <a:gd name="connsiteX87" fmla="*/ 644795 w 1629088"/>
                <a:gd name="connsiteY87" fmla="*/ 649613 h 1255269"/>
                <a:gd name="connsiteX88" fmla="*/ 649320 w 1629088"/>
                <a:gd name="connsiteY88" fmla="*/ 672767 h 1255269"/>
                <a:gd name="connsiteX89" fmla="*/ 617057 w 1629088"/>
                <a:gd name="connsiteY89" fmla="*/ 749870 h 1255269"/>
                <a:gd name="connsiteX90" fmla="*/ 597546 w 1629088"/>
                <a:gd name="connsiteY90" fmla="*/ 762858 h 1255269"/>
                <a:gd name="connsiteX91" fmla="*/ 512451 w 1629088"/>
                <a:gd name="connsiteY91" fmla="*/ 762858 h 1255269"/>
                <a:gd name="connsiteX92" fmla="*/ 512451 w 1629088"/>
                <a:gd name="connsiteY92" fmla="*/ 882743 h 1255269"/>
                <a:gd name="connsiteX93" fmla="*/ 597781 w 1629088"/>
                <a:gd name="connsiteY93" fmla="*/ 882743 h 1255269"/>
                <a:gd name="connsiteX94" fmla="*/ 617350 w 1629088"/>
                <a:gd name="connsiteY94" fmla="*/ 895907 h 1255269"/>
                <a:gd name="connsiteX95" fmla="*/ 649085 w 1629088"/>
                <a:gd name="connsiteY95" fmla="*/ 973245 h 1255269"/>
                <a:gd name="connsiteX96" fmla="*/ 644442 w 1629088"/>
                <a:gd name="connsiteY96" fmla="*/ 996281 h 1255269"/>
                <a:gd name="connsiteX97" fmla="*/ 584382 w 1629088"/>
                <a:gd name="connsiteY97" fmla="*/ 1056341 h 1255269"/>
                <a:gd name="connsiteX98" fmla="*/ 669124 w 1629088"/>
                <a:gd name="connsiteY98" fmla="*/ 1141143 h 1255269"/>
                <a:gd name="connsiteX99" fmla="*/ 729537 w 1629088"/>
                <a:gd name="connsiteY99" fmla="*/ 1080730 h 1255269"/>
                <a:gd name="connsiteX100" fmla="*/ 752691 w 1629088"/>
                <a:gd name="connsiteY100" fmla="*/ 1076205 h 1255269"/>
                <a:gd name="connsiteX101" fmla="*/ 829794 w 1629088"/>
                <a:gd name="connsiteY101" fmla="*/ 1108527 h 1255269"/>
                <a:gd name="connsiteX102" fmla="*/ 842782 w 1629088"/>
                <a:gd name="connsiteY102" fmla="*/ 1128038 h 1255269"/>
                <a:gd name="connsiteX103" fmla="*/ 842723 w 1629088"/>
                <a:gd name="connsiteY103" fmla="*/ 1212956 h 1255269"/>
                <a:gd name="connsiteX104" fmla="*/ 842723 w 1629088"/>
                <a:gd name="connsiteY104" fmla="*/ 1212956 h 1255269"/>
                <a:gd name="connsiteX105" fmla="*/ 902665 w 1629088"/>
                <a:gd name="connsiteY105" fmla="*/ 1020200 h 1255269"/>
                <a:gd name="connsiteX106" fmla="*/ 705207 w 1629088"/>
                <a:gd name="connsiteY106" fmla="*/ 822741 h 1255269"/>
                <a:gd name="connsiteX107" fmla="*/ 902665 w 1629088"/>
                <a:gd name="connsiteY107" fmla="*/ 625283 h 1255269"/>
                <a:gd name="connsiteX108" fmla="*/ 1100124 w 1629088"/>
                <a:gd name="connsiteY108" fmla="*/ 822741 h 1255269"/>
                <a:gd name="connsiteX109" fmla="*/ 902665 w 1629088"/>
                <a:gd name="connsiteY109" fmla="*/ 1020200 h 1255269"/>
                <a:gd name="connsiteX110" fmla="*/ 902665 w 1629088"/>
                <a:gd name="connsiteY110" fmla="*/ 667596 h 1255269"/>
                <a:gd name="connsiteX111" fmla="*/ 747520 w 1629088"/>
                <a:gd name="connsiteY111" fmla="*/ 822741 h 1255269"/>
                <a:gd name="connsiteX112" fmla="*/ 902665 w 1629088"/>
                <a:gd name="connsiteY112" fmla="*/ 977887 h 1255269"/>
                <a:gd name="connsiteX113" fmla="*/ 1057811 w 1629088"/>
                <a:gd name="connsiteY113" fmla="*/ 822741 h 1255269"/>
                <a:gd name="connsiteX114" fmla="*/ 902665 w 1629088"/>
                <a:gd name="connsiteY114" fmla="*/ 667596 h 1255269"/>
                <a:gd name="connsiteX115" fmla="*/ 1629088 w 1629088"/>
                <a:gd name="connsiteY115" fmla="*/ 0 h 1255269"/>
                <a:gd name="connsiteX116" fmla="*/ 0 w 1629088"/>
                <a:gd name="connsiteY116" fmla="*/ 822741 h 1255269"/>
                <a:gd name="connsiteX117" fmla="*/ 1629088 w 1629088"/>
                <a:gd name="connsiteY117" fmla="*/ 0 h 1255269"/>
                <a:gd name="connsiteX0" fmla="*/ 513626 w 865055"/>
                <a:gd name="connsiteY0" fmla="*/ 865055 h 865055"/>
                <a:gd name="connsiteX1" fmla="*/ 351429 w 865055"/>
                <a:gd name="connsiteY1" fmla="*/ 865055 h 865055"/>
                <a:gd name="connsiteX2" fmla="*/ 330272 w 865055"/>
                <a:gd name="connsiteY2" fmla="*/ 843898 h 865055"/>
                <a:gd name="connsiteX3" fmla="*/ 330272 w 865055"/>
                <a:gd name="connsiteY3" fmla="*/ 751810 h 865055"/>
                <a:gd name="connsiteX4" fmla="*/ 279204 w 865055"/>
                <a:gd name="connsiteY4" fmla="*/ 730478 h 865055"/>
                <a:gd name="connsiteX5" fmla="*/ 213913 w 865055"/>
                <a:gd name="connsiteY5" fmla="*/ 795768 h 865055"/>
                <a:gd name="connsiteX6" fmla="*/ 198986 w 865055"/>
                <a:gd name="connsiteY6" fmla="*/ 801939 h 865055"/>
                <a:gd name="connsiteX7" fmla="*/ 198986 w 865055"/>
                <a:gd name="connsiteY7" fmla="*/ 801939 h 865055"/>
                <a:gd name="connsiteX8" fmla="*/ 184059 w 865055"/>
                <a:gd name="connsiteY8" fmla="*/ 795768 h 865055"/>
                <a:gd name="connsiteX9" fmla="*/ 69346 w 865055"/>
                <a:gd name="connsiteY9" fmla="*/ 681054 h 865055"/>
                <a:gd name="connsiteX10" fmla="*/ 69346 w 865055"/>
                <a:gd name="connsiteY10" fmla="*/ 651083 h 865055"/>
                <a:gd name="connsiteX11" fmla="*/ 134460 w 865055"/>
                <a:gd name="connsiteY11" fmla="*/ 586028 h 865055"/>
                <a:gd name="connsiteX12" fmla="*/ 113480 w 865055"/>
                <a:gd name="connsiteY12" fmla="*/ 534841 h 865055"/>
                <a:gd name="connsiteX13" fmla="*/ 21156 w 865055"/>
                <a:gd name="connsiteY13" fmla="*/ 534841 h 865055"/>
                <a:gd name="connsiteX14" fmla="*/ 0 w 865055"/>
                <a:gd name="connsiteY14" fmla="*/ 513685 h 865055"/>
                <a:gd name="connsiteX15" fmla="*/ 0 w 865055"/>
                <a:gd name="connsiteY15" fmla="*/ 351487 h 865055"/>
                <a:gd name="connsiteX16" fmla="*/ 21156 w 865055"/>
                <a:gd name="connsiteY16" fmla="*/ 330331 h 865055"/>
                <a:gd name="connsiteX17" fmla="*/ 113245 w 865055"/>
                <a:gd name="connsiteY17" fmla="*/ 330331 h 865055"/>
                <a:gd name="connsiteX18" fmla="*/ 134577 w 865055"/>
                <a:gd name="connsiteY18" fmla="*/ 279262 h 865055"/>
                <a:gd name="connsiteX19" fmla="*/ 69346 w 865055"/>
                <a:gd name="connsiteY19" fmla="*/ 213913 h 865055"/>
                <a:gd name="connsiteX20" fmla="*/ 69346 w 865055"/>
                <a:gd name="connsiteY20" fmla="*/ 184001 h 865055"/>
                <a:gd name="connsiteX21" fmla="*/ 184001 w 865055"/>
                <a:gd name="connsiteY21" fmla="*/ 69287 h 865055"/>
                <a:gd name="connsiteX22" fmla="*/ 213913 w 865055"/>
                <a:gd name="connsiteY22" fmla="*/ 69287 h 865055"/>
                <a:gd name="connsiteX23" fmla="*/ 279027 w 865055"/>
                <a:gd name="connsiteY23" fmla="*/ 134460 h 865055"/>
                <a:gd name="connsiteX24" fmla="*/ 330272 w 865055"/>
                <a:gd name="connsiteY24" fmla="*/ 113480 h 865055"/>
                <a:gd name="connsiteX25" fmla="*/ 330272 w 865055"/>
                <a:gd name="connsiteY25" fmla="*/ 21156 h 865055"/>
                <a:gd name="connsiteX26" fmla="*/ 351429 w 865055"/>
                <a:gd name="connsiteY26" fmla="*/ 0 h 865055"/>
                <a:gd name="connsiteX27" fmla="*/ 513626 w 865055"/>
                <a:gd name="connsiteY27" fmla="*/ 0 h 865055"/>
                <a:gd name="connsiteX28" fmla="*/ 534783 w 865055"/>
                <a:gd name="connsiteY28" fmla="*/ 21156 h 865055"/>
                <a:gd name="connsiteX29" fmla="*/ 534783 w 865055"/>
                <a:gd name="connsiteY29" fmla="*/ 113245 h 865055"/>
                <a:gd name="connsiteX30" fmla="*/ 585793 w 865055"/>
                <a:gd name="connsiteY30" fmla="*/ 134577 h 865055"/>
                <a:gd name="connsiteX31" fmla="*/ 651024 w 865055"/>
                <a:gd name="connsiteY31" fmla="*/ 69287 h 865055"/>
                <a:gd name="connsiteX32" fmla="*/ 680996 w 865055"/>
                <a:gd name="connsiteY32" fmla="*/ 69287 h 865055"/>
                <a:gd name="connsiteX33" fmla="*/ 795709 w 865055"/>
                <a:gd name="connsiteY33" fmla="*/ 184001 h 865055"/>
                <a:gd name="connsiteX34" fmla="*/ 801880 w 865055"/>
                <a:gd name="connsiteY34" fmla="*/ 198928 h 865055"/>
                <a:gd name="connsiteX35" fmla="*/ 795709 w 865055"/>
                <a:gd name="connsiteY35" fmla="*/ 213854 h 865055"/>
                <a:gd name="connsiteX36" fmla="*/ 730536 w 865055"/>
                <a:gd name="connsiteY36" fmla="*/ 278969 h 865055"/>
                <a:gd name="connsiteX37" fmla="*/ 751516 w 865055"/>
                <a:gd name="connsiteY37" fmla="*/ 330214 h 865055"/>
                <a:gd name="connsiteX38" fmla="*/ 843898 w 865055"/>
                <a:gd name="connsiteY38" fmla="*/ 330214 h 865055"/>
                <a:gd name="connsiteX39" fmla="*/ 865055 w 865055"/>
                <a:gd name="connsiteY39" fmla="*/ 351370 h 865055"/>
                <a:gd name="connsiteX40" fmla="*/ 865055 w 865055"/>
                <a:gd name="connsiteY40" fmla="*/ 513568 h 865055"/>
                <a:gd name="connsiteX41" fmla="*/ 843898 w 865055"/>
                <a:gd name="connsiteY41" fmla="*/ 534724 h 865055"/>
                <a:gd name="connsiteX42" fmla="*/ 751810 w 865055"/>
                <a:gd name="connsiteY42" fmla="*/ 534724 h 865055"/>
                <a:gd name="connsiteX43" fmla="*/ 730478 w 865055"/>
                <a:gd name="connsiteY43" fmla="*/ 585734 h 865055"/>
                <a:gd name="connsiteX44" fmla="*/ 795768 w 865055"/>
                <a:gd name="connsiteY44" fmla="*/ 650965 h 865055"/>
                <a:gd name="connsiteX45" fmla="*/ 801939 w 865055"/>
                <a:gd name="connsiteY45" fmla="*/ 665951 h 865055"/>
                <a:gd name="connsiteX46" fmla="*/ 795768 w 865055"/>
                <a:gd name="connsiteY46" fmla="*/ 680937 h 865055"/>
                <a:gd name="connsiteX47" fmla="*/ 681054 w 865055"/>
                <a:gd name="connsiteY47" fmla="*/ 795651 h 865055"/>
                <a:gd name="connsiteX48" fmla="*/ 666069 w 865055"/>
                <a:gd name="connsiteY48" fmla="*/ 801821 h 865055"/>
                <a:gd name="connsiteX49" fmla="*/ 666069 w 865055"/>
                <a:gd name="connsiteY49" fmla="*/ 801821 h 865055"/>
                <a:gd name="connsiteX50" fmla="*/ 651083 w 865055"/>
                <a:gd name="connsiteY50" fmla="*/ 795651 h 865055"/>
                <a:gd name="connsiteX51" fmla="*/ 586028 w 865055"/>
                <a:gd name="connsiteY51" fmla="*/ 730478 h 865055"/>
                <a:gd name="connsiteX52" fmla="*/ 534841 w 865055"/>
                <a:gd name="connsiteY52" fmla="*/ 751458 h 865055"/>
                <a:gd name="connsiteX53" fmla="*/ 534841 w 865055"/>
                <a:gd name="connsiteY53" fmla="*/ 843898 h 865055"/>
                <a:gd name="connsiteX54" fmla="*/ 513626 w 865055"/>
                <a:gd name="connsiteY54" fmla="*/ 865055 h 865055"/>
                <a:gd name="connsiteX55" fmla="*/ 372585 w 865055"/>
                <a:gd name="connsiteY55" fmla="*/ 822742 h 865055"/>
                <a:gd name="connsiteX56" fmla="*/ 492470 w 865055"/>
                <a:gd name="connsiteY56" fmla="*/ 822742 h 865055"/>
                <a:gd name="connsiteX57" fmla="*/ 492470 w 865055"/>
                <a:gd name="connsiteY57" fmla="*/ 737412 h 865055"/>
                <a:gd name="connsiteX58" fmla="*/ 505634 w 865055"/>
                <a:gd name="connsiteY58" fmla="*/ 717843 h 865055"/>
                <a:gd name="connsiteX59" fmla="*/ 582972 w 865055"/>
                <a:gd name="connsiteY59" fmla="*/ 686108 h 865055"/>
                <a:gd name="connsiteX60" fmla="*/ 606008 w 865055"/>
                <a:gd name="connsiteY60" fmla="*/ 690692 h 865055"/>
                <a:gd name="connsiteX61" fmla="*/ 666069 w 865055"/>
                <a:gd name="connsiteY61" fmla="*/ 750870 h 865055"/>
                <a:gd name="connsiteX62" fmla="*/ 750870 w 865055"/>
                <a:gd name="connsiteY62" fmla="*/ 666069 h 865055"/>
                <a:gd name="connsiteX63" fmla="*/ 690457 w 865055"/>
                <a:gd name="connsiteY63" fmla="*/ 605773 h 865055"/>
                <a:gd name="connsiteX64" fmla="*/ 685932 w 865055"/>
                <a:gd name="connsiteY64" fmla="*/ 582619 h 865055"/>
                <a:gd name="connsiteX65" fmla="*/ 718254 w 865055"/>
                <a:gd name="connsiteY65" fmla="*/ 505516 h 865055"/>
                <a:gd name="connsiteX66" fmla="*/ 737765 w 865055"/>
                <a:gd name="connsiteY66" fmla="*/ 492470 h 865055"/>
                <a:gd name="connsiteX67" fmla="*/ 822742 w 865055"/>
                <a:gd name="connsiteY67" fmla="*/ 492470 h 865055"/>
                <a:gd name="connsiteX68" fmla="*/ 822742 w 865055"/>
                <a:gd name="connsiteY68" fmla="*/ 372585 h 865055"/>
                <a:gd name="connsiteX69" fmla="*/ 737412 w 865055"/>
                <a:gd name="connsiteY69" fmla="*/ 372585 h 865055"/>
                <a:gd name="connsiteX70" fmla="*/ 717843 w 865055"/>
                <a:gd name="connsiteY70" fmla="*/ 359480 h 865055"/>
                <a:gd name="connsiteX71" fmla="*/ 686108 w 865055"/>
                <a:gd name="connsiteY71" fmla="*/ 282142 h 865055"/>
                <a:gd name="connsiteX72" fmla="*/ 690692 w 865055"/>
                <a:gd name="connsiteY72" fmla="*/ 259164 h 865055"/>
                <a:gd name="connsiteX73" fmla="*/ 750870 w 865055"/>
                <a:gd name="connsiteY73" fmla="*/ 199045 h 865055"/>
                <a:gd name="connsiteX74" fmla="*/ 666069 w 865055"/>
                <a:gd name="connsiteY74" fmla="*/ 114244 h 865055"/>
                <a:gd name="connsiteX75" fmla="*/ 605773 w 865055"/>
                <a:gd name="connsiteY75" fmla="*/ 174598 h 865055"/>
                <a:gd name="connsiteX76" fmla="*/ 582619 w 865055"/>
                <a:gd name="connsiteY76" fmla="*/ 179182 h 865055"/>
                <a:gd name="connsiteX77" fmla="*/ 505516 w 865055"/>
                <a:gd name="connsiteY77" fmla="*/ 146919 h 865055"/>
                <a:gd name="connsiteX78" fmla="*/ 492470 w 865055"/>
                <a:gd name="connsiteY78" fmla="*/ 127408 h 865055"/>
                <a:gd name="connsiteX79" fmla="*/ 492470 w 865055"/>
                <a:gd name="connsiteY79" fmla="*/ 42313 h 865055"/>
                <a:gd name="connsiteX80" fmla="*/ 372585 w 865055"/>
                <a:gd name="connsiteY80" fmla="*/ 42313 h 865055"/>
                <a:gd name="connsiteX81" fmla="*/ 372585 w 865055"/>
                <a:gd name="connsiteY81" fmla="*/ 127643 h 865055"/>
                <a:gd name="connsiteX82" fmla="*/ 359480 w 865055"/>
                <a:gd name="connsiteY82" fmla="*/ 147212 h 865055"/>
                <a:gd name="connsiteX83" fmla="*/ 282142 w 865055"/>
                <a:gd name="connsiteY83" fmla="*/ 178947 h 865055"/>
                <a:gd name="connsiteX84" fmla="*/ 259164 w 865055"/>
                <a:gd name="connsiteY84" fmla="*/ 174304 h 865055"/>
                <a:gd name="connsiteX85" fmla="*/ 199045 w 865055"/>
                <a:gd name="connsiteY85" fmla="*/ 114185 h 865055"/>
                <a:gd name="connsiteX86" fmla="*/ 114303 w 865055"/>
                <a:gd name="connsiteY86" fmla="*/ 198986 h 865055"/>
                <a:gd name="connsiteX87" fmla="*/ 174657 w 865055"/>
                <a:gd name="connsiteY87" fmla="*/ 259399 h 865055"/>
                <a:gd name="connsiteX88" fmla="*/ 179182 w 865055"/>
                <a:gd name="connsiteY88" fmla="*/ 282553 h 865055"/>
                <a:gd name="connsiteX89" fmla="*/ 146919 w 865055"/>
                <a:gd name="connsiteY89" fmla="*/ 359656 h 865055"/>
                <a:gd name="connsiteX90" fmla="*/ 127408 w 865055"/>
                <a:gd name="connsiteY90" fmla="*/ 372644 h 865055"/>
                <a:gd name="connsiteX91" fmla="*/ 42313 w 865055"/>
                <a:gd name="connsiteY91" fmla="*/ 372644 h 865055"/>
                <a:gd name="connsiteX92" fmla="*/ 42313 w 865055"/>
                <a:gd name="connsiteY92" fmla="*/ 492529 h 865055"/>
                <a:gd name="connsiteX93" fmla="*/ 127643 w 865055"/>
                <a:gd name="connsiteY93" fmla="*/ 492529 h 865055"/>
                <a:gd name="connsiteX94" fmla="*/ 147212 w 865055"/>
                <a:gd name="connsiteY94" fmla="*/ 505693 h 865055"/>
                <a:gd name="connsiteX95" fmla="*/ 178947 w 865055"/>
                <a:gd name="connsiteY95" fmla="*/ 583031 h 865055"/>
                <a:gd name="connsiteX96" fmla="*/ 174304 w 865055"/>
                <a:gd name="connsiteY96" fmla="*/ 606067 h 865055"/>
                <a:gd name="connsiteX97" fmla="*/ 114244 w 865055"/>
                <a:gd name="connsiteY97" fmla="*/ 666127 h 865055"/>
                <a:gd name="connsiteX98" fmla="*/ 198986 w 865055"/>
                <a:gd name="connsiteY98" fmla="*/ 750929 h 865055"/>
                <a:gd name="connsiteX99" fmla="*/ 259399 w 865055"/>
                <a:gd name="connsiteY99" fmla="*/ 690516 h 865055"/>
                <a:gd name="connsiteX100" fmla="*/ 282553 w 865055"/>
                <a:gd name="connsiteY100" fmla="*/ 685991 h 865055"/>
                <a:gd name="connsiteX101" fmla="*/ 359656 w 865055"/>
                <a:gd name="connsiteY101" fmla="*/ 718313 h 865055"/>
                <a:gd name="connsiteX102" fmla="*/ 372644 w 865055"/>
                <a:gd name="connsiteY102" fmla="*/ 737824 h 865055"/>
                <a:gd name="connsiteX103" fmla="*/ 372585 w 865055"/>
                <a:gd name="connsiteY103" fmla="*/ 822742 h 865055"/>
                <a:gd name="connsiteX104" fmla="*/ 372585 w 865055"/>
                <a:gd name="connsiteY104" fmla="*/ 822742 h 865055"/>
                <a:gd name="connsiteX105" fmla="*/ 432527 w 865055"/>
                <a:gd name="connsiteY105" fmla="*/ 629986 h 865055"/>
                <a:gd name="connsiteX106" fmla="*/ 235069 w 865055"/>
                <a:gd name="connsiteY106" fmla="*/ 432527 h 865055"/>
                <a:gd name="connsiteX107" fmla="*/ 432527 w 865055"/>
                <a:gd name="connsiteY107" fmla="*/ 235069 h 865055"/>
                <a:gd name="connsiteX108" fmla="*/ 629986 w 865055"/>
                <a:gd name="connsiteY108" fmla="*/ 432527 h 865055"/>
                <a:gd name="connsiteX109" fmla="*/ 432527 w 865055"/>
                <a:gd name="connsiteY109" fmla="*/ 629986 h 865055"/>
                <a:gd name="connsiteX110" fmla="*/ 432527 w 865055"/>
                <a:gd name="connsiteY110" fmla="*/ 277382 h 865055"/>
                <a:gd name="connsiteX111" fmla="*/ 277382 w 865055"/>
                <a:gd name="connsiteY111" fmla="*/ 432527 h 865055"/>
                <a:gd name="connsiteX112" fmla="*/ 432527 w 865055"/>
                <a:gd name="connsiteY112" fmla="*/ 587673 h 865055"/>
                <a:gd name="connsiteX113" fmla="*/ 587673 w 865055"/>
                <a:gd name="connsiteY113" fmla="*/ 432527 h 865055"/>
                <a:gd name="connsiteX114" fmla="*/ 432527 w 865055"/>
                <a:gd name="connsiteY114" fmla="*/ 277382 h 86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865055" h="865055">
                  <a:moveTo>
                    <a:pt x="513626" y="865055"/>
                  </a:moveTo>
                  <a:lnTo>
                    <a:pt x="351429" y="865055"/>
                  </a:lnTo>
                  <a:cubicBezTo>
                    <a:pt x="339734" y="865055"/>
                    <a:pt x="330272" y="855593"/>
                    <a:pt x="330272" y="843898"/>
                  </a:cubicBezTo>
                  <a:lnTo>
                    <a:pt x="330272" y="751810"/>
                  </a:lnTo>
                  <a:lnTo>
                    <a:pt x="279204" y="730478"/>
                  </a:lnTo>
                  <a:lnTo>
                    <a:pt x="213913" y="795768"/>
                  </a:lnTo>
                  <a:cubicBezTo>
                    <a:pt x="209976" y="799705"/>
                    <a:pt x="204569" y="801939"/>
                    <a:pt x="198986" y="801939"/>
                  </a:cubicBezTo>
                  <a:lnTo>
                    <a:pt x="198986" y="801939"/>
                  </a:lnTo>
                  <a:cubicBezTo>
                    <a:pt x="193345" y="801939"/>
                    <a:pt x="187997" y="799705"/>
                    <a:pt x="184059" y="795768"/>
                  </a:cubicBezTo>
                  <a:lnTo>
                    <a:pt x="69346" y="681054"/>
                  </a:lnTo>
                  <a:cubicBezTo>
                    <a:pt x="61059" y="672768"/>
                    <a:pt x="61059" y="659369"/>
                    <a:pt x="69346" y="651083"/>
                  </a:cubicBezTo>
                  <a:lnTo>
                    <a:pt x="134460" y="586028"/>
                  </a:lnTo>
                  <a:lnTo>
                    <a:pt x="113480" y="534841"/>
                  </a:lnTo>
                  <a:lnTo>
                    <a:pt x="21156" y="534841"/>
                  </a:lnTo>
                  <a:cubicBezTo>
                    <a:pt x="9462" y="534841"/>
                    <a:pt x="0" y="525380"/>
                    <a:pt x="0" y="513685"/>
                  </a:cubicBezTo>
                  <a:lnTo>
                    <a:pt x="0" y="351487"/>
                  </a:lnTo>
                  <a:cubicBezTo>
                    <a:pt x="0" y="339793"/>
                    <a:pt x="9462" y="330331"/>
                    <a:pt x="21156" y="330331"/>
                  </a:cubicBezTo>
                  <a:lnTo>
                    <a:pt x="113245" y="330331"/>
                  </a:lnTo>
                  <a:lnTo>
                    <a:pt x="134577" y="279262"/>
                  </a:lnTo>
                  <a:lnTo>
                    <a:pt x="69346" y="213913"/>
                  </a:lnTo>
                  <a:cubicBezTo>
                    <a:pt x="61118" y="205627"/>
                    <a:pt x="61118" y="192287"/>
                    <a:pt x="69346" y="184001"/>
                  </a:cubicBezTo>
                  <a:lnTo>
                    <a:pt x="184001" y="69287"/>
                  </a:lnTo>
                  <a:cubicBezTo>
                    <a:pt x="191934" y="61295"/>
                    <a:pt x="205980" y="61295"/>
                    <a:pt x="213913" y="69287"/>
                  </a:cubicBezTo>
                  <a:lnTo>
                    <a:pt x="279027" y="134460"/>
                  </a:lnTo>
                  <a:lnTo>
                    <a:pt x="330272" y="113480"/>
                  </a:lnTo>
                  <a:lnTo>
                    <a:pt x="330272" y="21156"/>
                  </a:lnTo>
                  <a:cubicBezTo>
                    <a:pt x="330272" y="9462"/>
                    <a:pt x="339734" y="0"/>
                    <a:pt x="351429" y="0"/>
                  </a:cubicBezTo>
                  <a:lnTo>
                    <a:pt x="513626" y="0"/>
                  </a:lnTo>
                  <a:cubicBezTo>
                    <a:pt x="525321" y="0"/>
                    <a:pt x="534783" y="9462"/>
                    <a:pt x="534783" y="21156"/>
                  </a:cubicBezTo>
                  <a:lnTo>
                    <a:pt x="534783" y="113245"/>
                  </a:lnTo>
                  <a:lnTo>
                    <a:pt x="585793" y="134577"/>
                  </a:lnTo>
                  <a:lnTo>
                    <a:pt x="651024" y="69287"/>
                  </a:lnTo>
                  <a:cubicBezTo>
                    <a:pt x="658958" y="61353"/>
                    <a:pt x="673062" y="61295"/>
                    <a:pt x="680996" y="69287"/>
                  </a:cubicBezTo>
                  <a:lnTo>
                    <a:pt x="795709" y="184001"/>
                  </a:lnTo>
                  <a:cubicBezTo>
                    <a:pt x="799647" y="187938"/>
                    <a:pt x="801880" y="193345"/>
                    <a:pt x="801880" y="198928"/>
                  </a:cubicBezTo>
                  <a:cubicBezTo>
                    <a:pt x="801880" y="204569"/>
                    <a:pt x="799647" y="209917"/>
                    <a:pt x="795709" y="213854"/>
                  </a:cubicBezTo>
                  <a:lnTo>
                    <a:pt x="730536" y="278969"/>
                  </a:lnTo>
                  <a:lnTo>
                    <a:pt x="751516" y="330214"/>
                  </a:lnTo>
                  <a:lnTo>
                    <a:pt x="843898" y="330214"/>
                  </a:lnTo>
                  <a:cubicBezTo>
                    <a:pt x="855593" y="330214"/>
                    <a:pt x="865055" y="339675"/>
                    <a:pt x="865055" y="351370"/>
                  </a:cubicBezTo>
                  <a:lnTo>
                    <a:pt x="865055" y="513568"/>
                  </a:lnTo>
                  <a:cubicBezTo>
                    <a:pt x="865055" y="525262"/>
                    <a:pt x="855593" y="534724"/>
                    <a:pt x="843898" y="534724"/>
                  </a:cubicBezTo>
                  <a:lnTo>
                    <a:pt x="751810" y="534724"/>
                  </a:lnTo>
                  <a:lnTo>
                    <a:pt x="730478" y="585734"/>
                  </a:lnTo>
                  <a:lnTo>
                    <a:pt x="795768" y="650965"/>
                  </a:lnTo>
                  <a:cubicBezTo>
                    <a:pt x="799705" y="654903"/>
                    <a:pt x="801939" y="660309"/>
                    <a:pt x="801939" y="665951"/>
                  </a:cubicBezTo>
                  <a:cubicBezTo>
                    <a:pt x="801939" y="671593"/>
                    <a:pt x="799705" y="676999"/>
                    <a:pt x="795768" y="680937"/>
                  </a:cubicBezTo>
                  <a:lnTo>
                    <a:pt x="681054" y="795651"/>
                  </a:lnTo>
                  <a:cubicBezTo>
                    <a:pt x="677117" y="799588"/>
                    <a:pt x="671710" y="801821"/>
                    <a:pt x="666069" y="801821"/>
                  </a:cubicBezTo>
                  <a:lnTo>
                    <a:pt x="666069" y="801821"/>
                  </a:lnTo>
                  <a:cubicBezTo>
                    <a:pt x="660427" y="801821"/>
                    <a:pt x="655020" y="799588"/>
                    <a:pt x="651083" y="795651"/>
                  </a:cubicBezTo>
                  <a:lnTo>
                    <a:pt x="586028" y="730478"/>
                  </a:lnTo>
                  <a:lnTo>
                    <a:pt x="534841" y="751458"/>
                  </a:lnTo>
                  <a:lnTo>
                    <a:pt x="534841" y="843898"/>
                  </a:lnTo>
                  <a:cubicBezTo>
                    <a:pt x="534783" y="855593"/>
                    <a:pt x="525321" y="865055"/>
                    <a:pt x="513626" y="865055"/>
                  </a:cubicBezTo>
                  <a:close/>
                  <a:moveTo>
                    <a:pt x="372585" y="822742"/>
                  </a:moveTo>
                  <a:lnTo>
                    <a:pt x="492470" y="822742"/>
                  </a:lnTo>
                  <a:lnTo>
                    <a:pt x="492470" y="737412"/>
                  </a:lnTo>
                  <a:cubicBezTo>
                    <a:pt x="492470" y="728832"/>
                    <a:pt x="497700" y="721134"/>
                    <a:pt x="505634" y="717843"/>
                  </a:cubicBezTo>
                  <a:lnTo>
                    <a:pt x="582972" y="686108"/>
                  </a:lnTo>
                  <a:cubicBezTo>
                    <a:pt x="590847" y="682759"/>
                    <a:pt x="599897" y="684698"/>
                    <a:pt x="606008" y="690692"/>
                  </a:cubicBezTo>
                  <a:lnTo>
                    <a:pt x="666069" y="750870"/>
                  </a:lnTo>
                  <a:lnTo>
                    <a:pt x="750870" y="666069"/>
                  </a:lnTo>
                  <a:lnTo>
                    <a:pt x="690457" y="605773"/>
                  </a:lnTo>
                  <a:cubicBezTo>
                    <a:pt x="684404" y="599662"/>
                    <a:pt x="682582" y="590553"/>
                    <a:pt x="685932" y="582619"/>
                  </a:cubicBezTo>
                  <a:lnTo>
                    <a:pt x="718254" y="505516"/>
                  </a:lnTo>
                  <a:cubicBezTo>
                    <a:pt x="721545" y="497642"/>
                    <a:pt x="729243" y="492470"/>
                    <a:pt x="737765" y="492470"/>
                  </a:cubicBezTo>
                  <a:lnTo>
                    <a:pt x="822742" y="492470"/>
                  </a:lnTo>
                  <a:lnTo>
                    <a:pt x="822742" y="372585"/>
                  </a:lnTo>
                  <a:lnTo>
                    <a:pt x="737412" y="372585"/>
                  </a:lnTo>
                  <a:cubicBezTo>
                    <a:pt x="728832" y="372585"/>
                    <a:pt x="721134" y="367413"/>
                    <a:pt x="717843" y="359480"/>
                  </a:cubicBezTo>
                  <a:lnTo>
                    <a:pt x="686108" y="282142"/>
                  </a:lnTo>
                  <a:cubicBezTo>
                    <a:pt x="682876" y="274267"/>
                    <a:pt x="684698" y="265158"/>
                    <a:pt x="690692" y="259164"/>
                  </a:cubicBezTo>
                  <a:lnTo>
                    <a:pt x="750870" y="199045"/>
                  </a:lnTo>
                  <a:lnTo>
                    <a:pt x="666069" y="114244"/>
                  </a:lnTo>
                  <a:lnTo>
                    <a:pt x="605773" y="174598"/>
                  </a:lnTo>
                  <a:cubicBezTo>
                    <a:pt x="599662" y="180651"/>
                    <a:pt x="590553" y="182531"/>
                    <a:pt x="582619" y="179182"/>
                  </a:cubicBezTo>
                  <a:lnTo>
                    <a:pt x="505516" y="146919"/>
                  </a:lnTo>
                  <a:cubicBezTo>
                    <a:pt x="497642" y="143627"/>
                    <a:pt x="492470" y="135929"/>
                    <a:pt x="492470" y="127408"/>
                  </a:cubicBezTo>
                  <a:lnTo>
                    <a:pt x="492470" y="42313"/>
                  </a:lnTo>
                  <a:lnTo>
                    <a:pt x="372585" y="42313"/>
                  </a:lnTo>
                  <a:lnTo>
                    <a:pt x="372585" y="127643"/>
                  </a:lnTo>
                  <a:cubicBezTo>
                    <a:pt x="372585" y="136223"/>
                    <a:pt x="367413" y="143980"/>
                    <a:pt x="359480" y="147212"/>
                  </a:cubicBezTo>
                  <a:lnTo>
                    <a:pt x="282142" y="178947"/>
                  </a:lnTo>
                  <a:cubicBezTo>
                    <a:pt x="274208" y="182120"/>
                    <a:pt x="265217" y="180357"/>
                    <a:pt x="259164" y="174304"/>
                  </a:cubicBezTo>
                  <a:lnTo>
                    <a:pt x="199045" y="114185"/>
                  </a:lnTo>
                  <a:lnTo>
                    <a:pt x="114303" y="198986"/>
                  </a:lnTo>
                  <a:lnTo>
                    <a:pt x="174657" y="259399"/>
                  </a:lnTo>
                  <a:cubicBezTo>
                    <a:pt x="180710" y="265452"/>
                    <a:pt x="182531" y="274620"/>
                    <a:pt x="179182" y="282553"/>
                  </a:cubicBezTo>
                  <a:lnTo>
                    <a:pt x="146919" y="359656"/>
                  </a:lnTo>
                  <a:cubicBezTo>
                    <a:pt x="143627" y="367531"/>
                    <a:pt x="135929" y="372644"/>
                    <a:pt x="127408" y="372644"/>
                  </a:cubicBezTo>
                  <a:lnTo>
                    <a:pt x="42313" y="372644"/>
                  </a:lnTo>
                  <a:lnTo>
                    <a:pt x="42313" y="492529"/>
                  </a:lnTo>
                  <a:lnTo>
                    <a:pt x="127643" y="492529"/>
                  </a:lnTo>
                  <a:cubicBezTo>
                    <a:pt x="136223" y="492529"/>
                    <a:pt x="143980" y="497759"/>
                    <a:pt x="147212" y="505693"/>
                  </a:cubicBezTo>
                  <a:lnTo>
                    <a:pt x="178947" y="583031"/>
                  </a:lnTo>
                  <a:cubicBezTo>
                    <a:pt x="182179" y="590964"/>
                    <a:pt x="180357" y="600014"/>
                    <a:pt x="174304" y="606067"/>
                  </a:cubicBezTo>
                  <a:lnTo>
                    <a:pt x="114244" y="666127"/>
                  </a:lnTo>
                  <a:lnTo>
                    <a:pt x="198986" y="750929"/>
                  </a:lnTo>
                  <a:lnTo>
                    <a:pt x="259399" y="690516"/>
                  </a:lnTo>
                  <a:cubicBezTo>
                    <a:pt x="265511" y="684404"/>
                    <a:pt x="274620" y="682700"/>
                    <a:pt x="282553" y="685991"/>
                  </a:cubicBezTo>
                  <a:lnTo>
                    <a:pt x="359656" y="718313"/>
                  </a:lnTo>
                  <a:cubicBezTo>
                    <a:pt x="367531" y="721604"/>
                    <a:pt x="372644" y="729302"/>
                    <a:pt x="372644" y="737824"/>
                  </a:cubicBezTo>
                  <a:cubicBezTo>
                    <a:pt x="372624" y="766130"/>
                    <a:pt x="372605" y="794436"/>
                    <a:pt x="372585" y="822742"/>
                  </a:cubicBezTo>
                  <a:lnTo>
                    <a:pt x="372585" y="822742"/>
                  </a:lnTo>
                  <a:close/>
                  <a:moveTo>
                    <a:pt x="432527" y="629986"/>
                  </a:moveTo>
                  <a:cubicBezTo>
                    <a:pt x="323632" y="629986"/>
                    <a:pt x="235069" y="541364"/>
                    <a:pt x="235069" y="432527"/>
                  </a:cubicBezTo>
                  <a:cubicBezTo>
                    <a:pt x="235069" y="323690"/>
                    <a:pt x="323632" y="235069"/>
                    <a:pt x="432527" y="235069"/>
                  </a:cubicBezTo>
                  <a:cubicBezTo>
                    <a:pt x="541423" y="235069"/>
                    <a:pt x="629986" y="323632"/>
                    <a:pt x="629986" y="432527"/>
                  </a:cubicBezTo>
                  <a:cubicBezTo>
                    <a:pt x="629986" y="541423"/>
                    <a:pt x="541423" y="629986"/>
                    <a:pt x="432527" y="629986"/>
                  </a:cubicBezTo>
                  <a:close/>
                  <a:moveTo>
                    <a:pt x="432527" y="277382"/>
                  </a:moveTo>
                  <a:cubicBezTo>
                    <a:pt x="346962" y="277382"/>
                    <a:pt x="277382" y="347021"/>
                    <a:pt x="277382" y="432527"/>
                  </a:cubicBezTo>
                  <a:cubicBezTo>
                    <a:pt x="277382" y="518093"/>
                    <a:pt x="347021" y="587673"/>
                    <a:pt x="432527" y="587673"/>
                  </a:cubicBezTo>
                  <a:cubicBezTo>
                    <a:pt x="518093" y="587673"/>
                    <a:pt x="587673" y="518093"/>
                    <a:pt x="587673" y="432527"/>
                  </a:cubicBezTo>
                  <a:cubicBezTo>
                    <a:pt x="587673" y="346962"/>
                    <a:pt x="518093" y="277382"/>
                    <a:pt x="432527" y="277382"/>
                  </a:cubicBezTo>
                  <a:close/>
                </a:path>
              </a:pathLst>
            </a:custGeom>
            <a:solidFill>
              <a:srgbClr val="000000"/>
            </a:solidFill>
            <a:ln w="58638" cap="flat">
              <a:noFill/>
              <a:prstDash val="solid"/>
              <a:miter/>
            </a:ln>
          </p:spPr>
          <p:txBody>
            <a:bodyPr rtlCol="0" anchor="ctr"/>
            <a:lstStyle/>
            <a:p>
              <a:pPr marL="0" marR="0" lvl="0" indent="0" algn="l" defTabSz="91450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BM Plex Sans Light"/>
                <a:ea typeface="+mn-ea"/>
                <a:cs typeface="+mn-cs"/>
              </a:endParaRPr>
            </a:p>
          </p:txBody>
        </p:sp>
      </p:grpSp>
      <p:pic>
        <p:nvPicPr>
          <p:cNvPr id="9" name="Graphic 8">
            <a:extLst>
              <a:ext uri="{FF2B5EF4-FFF2-40B4-BE49-F238E27FC236}">
                <a16:creationId xmlns:a16="http://schemas.microsoft.com/office/drawing/2014/main" id="{13D2132A-7469-64B9-8F97-86C1BAC4A83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8007" y="1906722"/>
            <a:ext cx="768096" cy="768096"/>
          </a:xfrm>
          <a:prstGeom prst="rect">
            <a:avLst/>
          </a:prstGeom>
        </p:spPr>
      </p:pic>
      <p:pic>
        <p:nvPicPr>
          <p:cNvPr id="26" name="Picture 25">
            <a:extLst>
              <a:ext uri="{FF2B5EF4-FFF2-40B4-BE49-F238E27FC236}">
                <a16:creationId xmlns:a16="http://schemas.microsoft.com/office/drawing/2014/main" id="{651AC1DC-CE88-8B08-51F3-C4662AF745BE}"/>
              </a:ext>
            </a:extLst>
          </p:cNvPr>
          <p:cNvPicPr>
            <a:picLocks noChangeAspect="1"/>
          </p:cNvPicPr>
          <p:nvPr/>
        </p:nvPicPr>
        <p:blipFill>
          <a:blip r:embed="rId7"/>
          <a:srcRect/>
          <a:stretch/>
        </p:blipFill>
        <p:spPr>
          <a:xfrm>
            <a:off x="5463546" y="5233676"/>
            <a:ext cx="486918" cy="482237"/>
          </a:xfrm>
          <a:prstGeom prst="rect">
            <a:avLst/>
          </a:prstGeom>
        </p:spPr>
      </p:pic>
      <p:cxnSp>
        <p:nvCxnSpPr>
          <p:cNvPr id="27" name="Straight Connector 26">
            <a:extLst>
              <a:ext uri="{FF2B5EF4-FFF2-40B4-BE49-F238E27FC236}">
                <a16:creationId xmlns:a16="http://schemas.microsoft.com/office/drawing/2014/main" id="{F826CD58-06ED-8236-FAC7-897041B192CC}"/>
              </a:ext>
            </a:extLst>
          </p:cNvPr>
          <p:cNvCxnSpPr>
            <a:cxnSpLocks/>
          </p:cNvCxnSpPr>
          <p:nvPr/>
        </p:nvCxnSpPr>
        <p:spPr bwMode="auto">
          <a:xfrm>
            <a:off x="362507" y="6337406"/>
            <a:ext cx="11538226" cy="0"/>
          </a:xfrm>
          <a:prstGeom prst="line">
            <a:avLst/>
          </a:prstGeom>
          <a:ln w="12700">
            <a:solidFill>
              <a:schemeClr val="tx1"/>
            </a:solidFill>
            <a:headEnd type="none" w="med" len="med"/>
            <a:tailEnd type="arrow" w="lg" len="med"/>
          </a:ln>
          <a:effectLst/>
        </p:spPr>
        <p:style>
          <a:lnRef idx="1">
            <a:schemeClr val="dk1"/>
          </a:lnRef>
          <a:fillRef idx="0">
            <a:schemeClr val="dk1"/>
          </a:fillRef>
          <a:effectRef idx="0">
            <a:schemeClr val="dk1"/>
          </a:effectRef>
          <a:fontRef idx="minor">
            <a:schemeClr val="tx1"/>
          </a:fontRef>
        </p:style>
      </p:cxnSp>
      <p:sp>
        <p:nvSpPr>
          <p:cNvPr id="29" name="Flowchart: Connector 28">
            <a:extLst>
              <a:ext uri="{FF2B5EF4-FFF2-40B4-BE49-F238E27FC236}">
                <a16:creationId xmlns:a16="http://schemas.microsoft.com/office/drawing/2014/main" id="{E40BD012-FA9B-D21C-9A99-C32139E320C4}"/>
              </a:ext>
            </a:extLst>
          </p:cNvPr>
          <p:cNvSpPr/>
          <p:nvPr/>
        </p:nvSpPr>
        <p:spPr bwMode="auto">
          <a:xfrm>
            <a:off x="366883" y="6212563"/>
            <a:ext cx="228570" cy="228570"/>
          </a:xfrm>
          <a:prstGeom prst="flowChartConnector">
            <a:avLst/>
          </a:prstGeom>
          <a:solidFill>
            <a:schemeClr val="bg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163767" marR="0" lvl="0" indent="-163767" algn="l" defTabSz="457109"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0" name="Flowchart: Connector 29">
            <a:extLst>
              <a:ext uri="{FF2B5EF4-FFF2-40B4-BE49-F238E27FC236}">
                <a16:creationId xmlns:a16="http://schemas.microsoft.com/office/drawing/2014/main" id="{43518120-98E4-8248-E528-3661B0461C00}"/>
              </a:ext>
            </a:extLst>
          </p:cNvPr>
          <p:cNvSpPr/>
          <p:nvPr/>
        </p:nvSpPr>
        <p:spPr bwMode="auto">
          <a:xfrm>
            <a:off x="2253983" y="6223121"/>
            <a:ext cx="228570" cy="228570"/>
          </a:xfrm>
          <a:prstGeom prst="flowChartConnector">
            <a:avLst/>
          </a:prstGeom>
          <a:solidFill>
            <a:schemeClr val="bg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163767" marR="0" lvl="0" indent="-163767" algn="l" defTabSz="457109"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1" name="Flowchart: Connector 30">
            <a:extLst>
              <a:ext uri="{FF2B5EF4-FFF2-40B4-BE49-F238E27FC236}">
                <a16:creationId xmlns:a16="http://schemas.microsoft.com/office/drawing/2014/main" id="{6004EE0E-6552-240B-C677-719219C42C28}"/>
              </a:ext>
            </a:extLst>
          </p:cNvPr>
          <p:cNvSpPr/>
          <p:nvPr/>
        </p:nvSpPr>
        <p:spPr bwMode="auto">
          <a:xfrm>
            <a:off x="4339660" y="6212563"/>
            <a:ext cx="228570" cy="228570"/>
          </a:xfrm>
          <a:prstGeom prst="flowChartConnector">
            <a:avLst/>
          </a:prstGeom>
          <a:solidFill>
            <a:schemeClr val="bg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163767" marR="0" lvl="0" indent="-163767" algn="l" defTabSz="457109"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3" name="Flowchart: Connector 32">
            <a:extLst>
              <a:ext uri="{FF2B5EF4-FFF2-40B4-BE49-F238E27FC236}">
                <a16:creationId xmlns:a16="http://schemas.microsoft.com/office/drawing/2014/main" id="{49E24D2C-E332-E510-D970-F5A40B765847}"/>
              </a:ext>
            </a:extLst>
          </p:cNvPr>
          <p:cNvSpPr/>
          <p:nvPr/>
        </p:nvSpPr>
        <p:spPr bwMode="auto">
          <a:xfrm>
            <a:off x="6320473" y="6223121"/>
            <a:ext cx="228570" cy="228570"/>
          </a:xfrm>
          <a:prstGeom prst="flowChartConnector">
            <a:avLst/>
          </a:prstGeom>
          <a:solidFill>
            <a:schemeClr val="bg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163767" marR="0" lvl="0" indent="-163767" algn="l" defTabSz="457109"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4" name="TextBox 33">
            <a:extLst>
              <a:ext uri="{FF2B5EF4-FFF2-40B4-BE49-F238E27FC236}">
                <a16:creationId xmlns:a16="http://schemas.microsoft.com/office/drawing/2014/main" id="{B2223AEF-CCB6-5425-A25E-3CD59B69B732}"/>
              </a:ext>
            </a:extLst>
          </p:cNvPr>
          <p:cNvSpPr txBox="1"/>
          <p:nvPr/>
        </p:nvSpPr>
        <p:spPr>
          <a:xfrm>
            <a:off x="256457" y="6555418"/>
            <a:ext cx="609521" cy="27898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400" b="0" i="0" u="none" strike="noStrike" kern="1200" cap="none" spc="0" normalizeH="0" baseline="0" noProof="0" dirty="0">
                <a:ln>
                  <a:noFill/>
                </a:ln>
                <a:solidFill>
                  <a:srgbClr val="000000"/>
                </a:solidFill>
                <a:effectLst/>
                <a:uLnTx/>
                <a:uFillTx/>
                <a:latin typeface="IBM Plex Sans Light"/>
                <a:ea typeface="+mn-ea"/>
                <a:cs typeface="Arial" panose="020B0604020202020204" pitchFamily="34" charset="0"/>
              </a:rPr>
              <a:t>2017</a:t>
            </a:r>
          </a:p>
        </p:txBody>
      </p:sp>
      <p:sp>
        <p:nvSpPr>
          <p:cNvPr id="35" name="TextBox 34">
            <a:extLst>
              <a:ext uri="{FF2B5EF4-FFF2-40B4-BE49-F238E27FC236}">
                <a16:creationId xmlns:a16="http://schemas.microsoft.com/office/drawing/2014/main" id="{E249CB60-8A6D-4DEE-5873-BD96B26A2E02}"/>
              </a:ext>
            </a:extLst>
          </p:cNvPr>
          <p:cNvSpPr txBox="1"/>
          <p:nvPr/>
        </p:nvSpPr>
        <p:spPr>
          <a:xfrm>
            <a:off x="2109196" y="6568041"/>
            <a:ext cx="609521" cy="27898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400" b="0" i="0" u="none" strike="noStrike" kern="1200" cap="none" spc="0" normalizeH="0" baseline="0" noProof="0" dirty="0">
                <a:ln>
                  <a:noFill/>
                </a:ln>
                <a:solidFill>
                  <a:srgbClr val="000000"/>
                </a:solidFill>
                <a:effectLst/>
                <a:uLnTx/>
                <a:uFillTx/>
                <a:latin typeface="IBM Plex Sans Light"/>
                <a:ea typeface="+mn-ea"/>
                <a:cs typeface="Arial" panose="020B0604020202020204" pitchFamily="34" charset="0"/>
              </a:rPr>
              <a:t>2020</a:t>
            </a:r>
          </a:p>
        </p:txBody>
      </p:sp>
      <p:sp>
        <p:nvSpPr>
          <p:cNvPr id="36" name="TextBox 35">
            <a:extLst>
              <a:ext uri="{FF2B5EF4-FFF2-40B4-BE49-F238E27FC236}">
                <a16:creationId xmlns:a16="http://schemas.microsoft.com/office/drawing/2014/main" id="{4CC84F25-279F-C773-4C9C-E42C8AF3E021}"/>
              </a:ext>
            </a:extLst>
          </p:cNvPr>
          <p:cNvSpPr txBox="1"/>
          <p:nvPr/>
        </p:nvSpPr>
        <p:spPr>
          <a:xfrm>
            <a:off x="4208928" y="6567132"/>
            <a:ext cx="609521" cy="27898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400" b="0" i="0" u="none" strike="noStrike" kern="1200" cap="none" spc="0" normalizeH="0" baseline="0" noProof="0" dirty="0">
                <a:ln>
                  <a:noFill/>
                </a:ln>
                <a:solidFill>
                  <a:srgbClr val="000000"/>
                </a:solidFill>
                <a:effectLst/>
                <a:uLnTx/>
                <a:uFillTx/>
                <a:latin typeface="IBM Plex Sans Light"/>
                <a:ea typeface="+mn-ea"/>
                <a:cs typeface="Arial" panose="020B0604020202020204" pitchFamily="34" charset="0"/>
              </a:rPr>
              <a:t>2023</a:t>
            </a:r>
          </a:p>
        </p:txBody>
      </p:sp>
      <p:sp>
        <p:nvSpPr>
          <p:cNvPr id="37" name="TextBox 36">
            <a:extLst>
              <a:ext uri="{FF2B5EF4-FFF2-40B4-BE49-F238E27FC236}">
                <a16:creationId xmlns:a16="http://schemas.microsoft.com/office/drawing/2014/main" id="{B7BEB236-A6D0-5232-7C1F-CC9F3A8C314D}"/>
              </a:ext>
            </a:extLst>
          </p:cNvPr>
          <p:cNvSpPr txBox="1"/>
          <p:nvPr/>
        </p:nvSpPr>
        <p:spPr>
          <a:xfrm>
            <a:off x="6186122" y="6567132"/>
            <a:ext cx="609521" cy="27898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400" b="0" i="0" u="none" strike="noStrike" kern="1200" cap="none" spc="0" normalizeH="0" baseline="0" noProof="0" dirty="0">
                <a:ln>
                  <a:noFill/>
                </a:ln>
                <a:solidFill>
                  <a:srgbClr val="000000"/>
                </a:solidFill>
                <a:effectLst/>
                <a:uLnTx/>
                <a:uFillTx/>
                <a:latin typeface="IBM Plex Sans Light"/>
                <a:ea typeface="+mn-ea"/>
                <a:cs typeface="Arial" panose="020B0604020202020204" pitchFamily="34" charset="0"/>
              </a:rPr>
              <a:t>2024 →</a:t>
            </a:r>
          </a:p>
        </p:txBody>
      </p:sp>
      <p:sp>
        <p:nvSpPr>
          <p:cNvPr id="12" name="TextBox 11">
            <a:extLst>
              <a:ext uri="{FF2B5EF4-FFF2-40B4-BE49-F238E27FC236}">
                <a16:creationId xmlns:a16="http://schemas.microsoft.com/office/drawing/2014/main" id="{C396BAA8-710E-D254-A365-FE98EB68A3B9}"/>
              </a:ext>
            </a:extLst>
          </p:cNvPr>
          <p:cNvSpPr txBox="1"/>
          <p:nvPr/>
        </p:nvSpPr>
        <p:spPr>
          <a:xfrm>
            <a:off x="120965" y="249463"/>
            <a:ext cx="10957841" cy="48350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0" marR="0" lvl="0" indent="0" algn="l" defTabSz="2438400" rtl="0" eaLnBrk="1" fontAlgn="auto" latinLnBrk="0" hangingPunct="1">
              <a:lnSpc>
                <a:spcPct val="100000"/>
              </a:lnSpc>
              <a:spcBef>
                <a:spcPts val="0"/>
              </a:spcBef>
              <a:spcAft>
                <a:spcPts val="0"/>
              </a:spcAft>
              <a:buClrTx/>
              <a:buSzPct val="100000"/>
              <a:buFontTx/>
              <a:buNone/>
              <a:tabLst/>
              <a:defRPr/>
            </a:pPr>
            <a:r>
              <a:rPr kumimoji="0" lang="en-US" sz="2800" b="0" i="0" u="none" strike="noStrike" kern="1200" cap="none" spc="0" normalizeH="0" baseline="0" noProof="0" dirty="0">
                <a:ln>
                  <a:noFill/>
                </a:ln>
                <a:solidFill>
                  <a:srgbClr val="000000"/>
                </a:solidFill>
                <a:effectLst/>
                <a:uLnTx/>
                <a:uFillTx/>
                <a:latin typeface="IBM Plex Sans Light"/>
                <a:ea typeface="+mn-ea"/>
                <a:cs typeface="Arial" panose="020B0604020202020204" pitchFamily="34" charset="0"/>
              </a:rPr>
              <a:t>Our AskHR Transformation Story</a:t>
            </a:r>
            <a:endParaRPr kumimoji="0" lang="en-US" sz="1800" b="0" i="0" u="none" strike="noStrike" kern="1200" cap="none" spc="0" normalizeH="0" baseline="0" noProof="0" dirty="0">
              <a:ln>
                <a:noFill/>
              </a:ln>
              <a:solidFill>
                <a:srgbClr val="000000"/>
              </a:solidFill>
              <a:effectLst/>
              <a:uLnTx/>
              <a:uFillTx/>
              <a:latin typeface="IBM Plex Sans Light"/>
              <a:ea typeface="+mn-ea"/>
              <a:cs typeface="Arial" panose="020B0604020202020204" pitchFamily="34" charset="0"/>
            </a:endParaRPr>
          </a:p>
        </p:txBody>
      </p:sp>
      <p:sp>
        <p:nvSpPr>
          <p:cNvPr id="8" name="Footer Placeholder 3">
            <a:extLst>
              <a:ext uri="{FF2B5EF4-FFF2-40B4-BE49-F238E27FC236}">
                <a16:creationId xmlns:a16="http://schemas.microsoft.com/office/drawing/2014/main" id="{F713A390-16DE-D4B8-6E61-81DB292BB475}"/>
              </a:ext>
            </a:extLst>
          </p:cNvPr>
          <p:cNvSpPr txBox="1">
            <a:spLocks/>
          </p:cNvSpPr>
          <p:nvPr/>
        </p:nvSpPr>
        <p:spPr>
          <a:xfrm>
            <a:off x="11602542" y="6551532"/>
            <a:ext cx="5486313" cy="22224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IBM HR</a:t>
            </a:r>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Tree>
    <p:extLst>
      <p:ext uri="{BB962C8B-B14F-4D97-AF65-F5344CB8AC3E}">
        <p14:creationId xmlns:p14="http://schemas.microsoft.com/office/powerpoint/2010/main" val="4139776533"/>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4501146" y="673129"/>
            <a:ext cx="4442808" cy="4455426"/>
          </a:xfrm>
          <a:prstGeom prst="ellipse">
            <a:avLst/>
          </a:prstGeom>
          <a:solidFill>
            <a:srgbClr val="C6C6C6"/>
          </a:solidFill>
          <a:ln>
            <a:noFill/>
          </a:ln>
          <a:effectLst>
            <a:outerShdw blurRad="50800" dist="1270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540" tIns="228540" rIns="228540" bIns="228540" numCol="1" spcCol="0" rtlCol="0" fromWordArt="0" anchor="t" anchorCtr="0" forceAA="0" compatLnSpc="1">
            <a:prstTxWarp prst="textNoShape">
              <a:avLst/>
            </a:prstTxWarp>
            <a:noAutofit/>
          </a:bodyPr>
          <a:lstStyle/>
          <a:p>
            <a:pPr marL="0" marR="0" lvl="0" indent="0" algn="l" defTabSz="914026" rtl="0" eaLnBrk="0" fontAlgn="base" latinLnBrk="0" hangingPunct="0">
              <a:lnSpc>
                <a:spcPct val="100000"/>
              </a:lnSpc>
              <a:spcBef>
                <a:spcPct val="0"/>
              </a:spcBef>
              <a:spcAft>
                <a:spcPts val="1800"/>
              </a:spcAft>
              <a:buClrTx/>
              <a:buSzTx/>
              <a:buFontTx/>
              <a:buNone/>
              <a:tabLst/>
              <a:defRPr/>
            </a:pPr>
            <a:endParaRPr kumimoji="0" lang="en-US" sz="2000" b="0" i="0" u="none" strike="noStrike" kern="1200" cap="none" spc="0" normalizeH="0" baseline="0" noProof="0" dirty="0">
              <a:ln>
                <a:noFill/>
              </a:ln>
              <a:solidFill>
                <a:srgbClr val="161616"/>
              </a:solidFill>
              <a:effectLst/>
              <a:uLnTx/>
              <a:uFillTx/>
              <a:latin typeface="IBM Plex Sans" panose="020B0503050203000203" pitchFamily="34" charset="0"/>
              <a:ea typeface="+mn-ea"/>
              <a:cs typeface="Arial" panose="020B0604020202020204" pitchFamily="34" charset="0"/>
            </a:endParaRPr>
          </a:p>
        </p:txBody>
      </p:sp>
      <p:sp>
        <p:nvSpPr>
          <p:cNvPr id="10" name="Oval 9"/>
          <p:cNvSpPr>
            <a:spLocks noChangeAspect="1"/>
          </p:cNvSpPr>
          <p:nvPr/>
        </p:nvSpPr>
        <p:spPr>
          <a:xfrm>
            <a:off x="7094840" y="2123478"/>
            <a:ext cx="3724966" cy="3724966"/>
          </a:xfrm>
          <a:prstGeom prst="ellipse">
            <a:avLst/>
          </a:prstGeom>
          <a:solidFill>
            <a:srgbClr val="E0E0E0"/>
          </a:solidFill>
          <a:ln>
            <a:noFill/>
          </a:ln>
          <a:effectLst>
            <a:outerShdw blurRad="50800" dist="1905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540" tIns="228540" rIns="228540" bIns="228540" numCol="1" spcCol="0" rtlCol="0" fromWordArt="0" anchor="t" anchorCtr="0" forceAA="0" compatLnSpc="1">
            <a:prstTxWarp prst="textNoShape">
              <a:avLst/>
            </a:prstTxWarp>
            <a:noAutofit/>
          </a:bodyPr>
          <a:lstStyle/>
          <a:p>
            <a:pPr marL="0" marR="0" lvl="0" indent="0" algn="l" defTabSz="914026" rtl="0" eaLnBrk="0" fontAlgn="base" latinLnBrk="0" hangingPunct="0">
              <a:lnSpc>
                <a:spcPct val="100000"/>
              </a:lnSpc>
              <a:spcBef>
                <a:spcPct val="0"/>
              </a:spcBef>
              <a:spcAft>
                <a:spcPts val="1800"/>
              </a:spcAft>
              <a:buClrTx/>
              <a:buSzTx/>
              <a:buFontTx/>
              <a:buNone/>
              <a:tabLst/>
              <a:defRPr/>
            </a:pPr>
            <a:endParaRPr kumimoji="0" lang="en-US" sz="2000" b="0" i="0" u="none" strike="noStrike" kern="1200" cap="none" spc="0" normalizeH="0" baseline="0" noProof="0" dirty="0">
              <a:ln>
                <a:noFill/>
              </a:ln>
              <a:solidFill>
                <a:srgbClr val="161616"/>
              </a:solidFill>
              <a:effectLst/>
              <a:uLnTx/>
              <a:uFillTx/>
              <a:latin typeface="IBM Plex Sans" panose="020B0503050203000203" pitchFamily="34" charset="0"/>
              <a:ea typeface="+mn-ea"/>
              <a:cs typeface="Arial" panose="020B0604020202020204" pitchFamily="34" charset="0"/>
            </a:endParaRPr>
          </a:p>
        </p:txBody>
      </p:sp>
      <p:sp>
        <p:nvSpPr>
          <p:cNvPr id="6" name="TextBox 5"/>
          <p:cNvSpPr txBox="1"/>
          <p:nvPr/>
        </p:nvSpPr>
        <p:spPr>
          <a:xfrm>
            <a:off x="5781752" y="1419587"/>
            <a:ext cx="1938031" cy="246221"/>
          </a:xfrm>
          <a:prstGeom prst="rect">
            <a:avLst/>
          </a:prstGeom>
          <a:noFill/>
        </p:spPr>
        <p:txBody>
          <a:bodyPr wrap="none" lIns="0" tIns="0" rIns="0" bIns="0" rtlCol="0">
            <a:spAutoFit/>
          </a:bodyPr>
          <a:lstStyle/>
          <a:p>
            <a:pPr marL="0" marR="0" lvl="0" indent="0" algn="l" defTabSz="914026" rtl="0" eaLnBrk="0" fontAlgn="base" latinLnBrk="0" hangingPunct="0">
              <a:lnSpc>
                <a:spcPct val="100000"/>
              </a:lnSpc>
              <a:spcBef>
                <a:spcPct val="0"/>
              </a:spcBef>
              <a:spcAft>
                <a:spcPts val="1800"/>
              </a:spcAft>
              <a:buClrTx/>
              <a:buSzTx/>
              <a:buFontTx/>
              <a:buNone/>
              <a:tabLst/>
              <a:defRPr/>
            </a:pPr>
            <a:r>
              <a:rPr kumimoji="0" lang="en-US" sz="1600" b="1" i="0" u="none" strike="noStrike" kern="1200" cap="none" spc="0" normalizeH="0" baseline="0" noProof="0" dirty="0">
                <a:ln>
                  <a:noFill/>
                </a:ln>
                <a:solidFill>
                  <a:srgbClr val="0F62FE"/>
                </a:solidFill>
                <a:effectLst/>
                <a:uLnTx/>
                <a:uFillTx/>
                <a:latin typeface="IBM Plex Sans Light" panose="020B0403050203000203" pitchFamily="34" charset="0"/>
                <a:ea typeface="+mn-ea"/>
                <a:cs typeface="Arial" panose="020B0604020202020204" pitchFamily="34" charset="0"/>
              </a:rPr>
              <a:t>AskHR BOT (Level 0)</a:t>
            </a:r>
          </a:p>
        </p:txBody>
      </p:sp>
      <p:sp>
        <p:nvSpPr>
          <p:cNvPr id="29" name="Rectangle 28"/>
          <p:cNvSpPr/>
          <p:nvPr/>
        </p:nvSpPr>
        <p:spPr>
          <a:xfrm>
            <a:off x="4780914" y="1898889"/>
            <a:ext cx="2576640" cy="2636619"/>
          </a:xfrm>
          <a:prstGeom prst="rect">
            <a:avLst/>
          </a:prstGeom>
        </p:spPr>
        <p:txBody>
          <a:bodyPr wrap="square">
            <a:spAutoFit/>
          </a:bodyPr>
          <a:lstStyle/>
          <a:p>
            <a:pPr marL="285635" marR="0" lvl="0" indent="-285635" algn="l" defTabSz="914026" rtl="0" eaLnBrk="0" fontAlgn="base" latinLnBrk="0" hangingPunct="0">
              <a:lnSpc>
                <a:spcPct val="100000"/>
              </a:lnSpc>
              <a:spcBef>
                <a:spcPts val="80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IBM Plex Sans Light" panose="020B0403050203000203" pitchFamily="34" charset="0"/>
                <a:ea typeface="+mn-ea"/>
                <a:cs typeface="Arial" panose="020B0604020202020204" pitchFamily="34" charset="0"/>
              </a:rPr>
              <a:t>Integrated &amp; Intuitive</a:t>
            </a:r>
          </a:p>
          <a:p>
            <a:pPr marL="285635" marR="0" lvl="0" indent="-285635" algn="l" defTabSz="914026" rtl="0" eaLnBrk="0" fontAlgn="base" latinLnBrk="0" hangingPunct="0">
              <a:lnSpc>
                <a:spcPct val="100000"/>
              </a:lnSpc>
              <a:spcBef>
                <a:spcPts val="80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IBM Plex Sans Light" panose="020B0403050203000203" pitchFamily="34" charset="0"/>
                <a:ea typeface="+mn-ea"/>
                <a:cs typeface="Arial" panose="020B0604020202020204" pitchFamily="34" charset="0"/>
              </a:rPr>
              <a:t>Primary Source of Employee Issue resolution</a:t>
            </a:r>
          </a:p>
          <a:p>
            <a:pPr marL="285635" marR="0" lvl="0" indent="-285635" algn="l" defTabSz="914026" rtl="0" eaLnBrk="0" fontAlgn="base" latinLnBrk="0" hangingPunct="0">
              <a:lnSpc>
                <a:spcPct val="100000"/>
              </a:lnSpc>
              <a:spcBef>
                <a:spcPts val="80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IBM Plex Sans Light" panose="020B0403050203000203" pitchFamily="34" charset="0"/>
                <a:ea typeface="+mn-ea"/>
                <a:cs typeface="Arial" panose="020B0604020202020204" pitchFamily="34" charset="0"/>
              </a:rPr>
              <a:t>FAQ’s, Policy/HR Web</a:t>
            </a:r>
          </a:p>
          <a:p>
            <a:pPr marL="285635" marR="0" lvl="0" indent="-285635" algn="l" defTabSz="914026" rtl="0" eaLnBrk="0" fontAlgn="base" latinLnBrk="0" hangingPunct="0">
              <a:lnSpc>
                <a:spcPct val="100000"/>
              </a:lnSpc>
              <a:spcBef>
                <a:spcPts val="80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IBM Plex Sans Light" panose="020B0403050203000203" pitchFamily="34" charset="0"/>
                <a:ea typeface="+mn-ea"/>
                <a:cs typeface="Arial" panose="020B0604020202020204" pitchFamily="34" charset="0"/>
              </a:rPr>
              <a:t>Task Automation &amp; Simplification</a:t>
            </a:r>
          </a:p>
          <a:p>
            <a:pPr marL="285635" marR="0" lvl="0" indent="-285635" algn="l" defTabSz="914026" rtl="0" eaLnBrk="0" fontAlgn="base" latinLnBrk="0" hangingPunct="0">
              <a:lnSpc>
                <a:spcPct val="100000"/>
              </a:lnSpc>
              <a:spcBef>
                <a:spcPts val="80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IBM Plex Sans Light" panose="020B0403050203000203" pitchFamily="34" charset="0"/>
                <a:ea typeface="+mn-ea"/>
                <a:cs typeface="Arial" panose="020B0604020202020204" pitchFamily="34" charset="0"/>
              </a:rPr>
              <a:t>Digital Advisor: auto ticket creation, warm handover to Live Chat &amp; triage to human agent</a:t>
            </a:r>
            <a:endParaRPr kumimoji="0" lang="en-US" sz="1200" b="0" i="0" u="none" strike="noStrike" kern="1200" cap="none" spc="0" normalizeH="0" baseline="0" noProof="0" dirty="0">
              <a:ln>
                <a:noFill/>
              </a:ln>
              <a:solidFill>
                <a:srgbClr val="002060"/>
              </a:solidFill>
              <a:effectLst/>
              <a:uLnTx/>
              <a:uFillTx/>
              <a:latin typeface="IBM Plex Sans Light" panose="020B0403050203000203" pitchFamily="34" charset="0"/>
              <a:ea typeface="+mn-ea"/>
              <a:cs typeface="+mn-cs"/>
            </a:endParaRPr>
          </a:p>
          <a:p>
            <a:pPr marL="0" marR="0" lvl="0" indent="0" algn="l" defTabSz="914026" rtl="0" eaLnBrk="0" fontAlgn="base" latinLnBrk="0" hangingPunct="0">
              <a:lnSpc>
                <a:spcPct val="100000"/>
              </a:lnSpc>
              <a:spcBef>
                <a:spcPts val="800"/>
              </a:spcBef>
              <a:spcAft>
                <a:spcPct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IBM Plex Sans Light" panose="020B0403050203000203" pitchFamily="34" charset="0"/>
              <a:ea typeface="+mn-ea"/>
              <a:cs typeface="Arial" panose="020B0604020202020204" pitchFamily="34" charset="0"/>
            </a:endParaRPr>
          </a:p>
        </p:txBody>
      </p:sp>
      <p:sp>
        <p:nvSpPr>
          <p:cNvPr id="40" name="TextBox 39">
            <a:extLst>
              <a:ext uri="{FF2B5EF4-FFF2-40B4-BE49-F238E27FC236}">
                <a16:creationId xmlns:a16="http://schemas.microsoft.com/office/drawing/2014/main" id="{870D753A-8DE0-D24A-B542-ACDBF2509A2B}"/>
              </a:ext>
            </a:extLst>
          </p:cNvPr>
          <p:cNvSpPr txBox="1"/>
          <p:nvPr/>
        </p:nvSpPr>
        <p:spPr>
          <a:xfrm>
            <a:off x="6109569" y="1104159"/>
            <a:ext cx="1282402" cy="307777"/>
          </a:xfrm>
          <a:prstGeom prst="rect">
            <a:avLst/>
          </a:prstGeom>
          <a:noFill/>
        </p:spPr>
        <p:txBody>
          <a:bodyPr wrap="none" lIns="0" tIns="0" rIns="0" bIns="0" rtlCol="0">
            <a:spAutoFit/>
          </a:bodyPr>
          <a:lstStyle/>
          <a:p>
            <a:pPr marL="0" marR="0" lvl="0" indent="0" algn="l" defTabSz="914026" rtl="0" eaLnBrk="0" fontAlgn="base" latinLnBrk="0" hangingPunct="0">
              <a:lnSpc>
                <a:spcPct val="100000"/>
              </a:lnSpc>
              <a:spcBef>
                <a:spcPct val="0"/>
              </a:spcBef>
              <a:spcAft>
                <a:spcPts val="180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IBM Plex Sans Light" panose="020B0403050203000203" pitchFamily="34" charset="0"/>
                <a:ea typeface="+mn-ea"/>
                <a:cs typeface="Arial" panose="020B0604020202020204" pitchFamily="34" charset="0"/>
              </a:rPr>
              <a:t>Digital Tier </a:t>
            </a:r>
          </a:p>
        </p:txBody>
      </p:sp>
      <p:sp>
        <p:nvSpPr>
          <p:cNvPr id="15" name="TextBox 14"/>
          <p:cNvSpPr txBox="1"/>
          <p:nvPr/>
        </p:nvSpPr>
        <p:spPr>
          <a:xfrm>
            <a:off x="8349573" y="2535194"/>
            <a:ext cx="1388201" cy="307777"/>
          </a:xfrm>
          <a:prstGeom prst="rect">
            <a:avLst/>
          </a:prstGeom>
          <a:noFill/>
        </p:spPr>
        <p:txBody>
          <a:bodyPr wrap="none" lIns="0" tIns="0" rIns="0" bIns="0" rtlCol="0">
            <a:spAutoFit/>
          </a:bodyPr>
          <a:lstStyle/>
          <a:p>
            <a:pPr marL="0" marR="0" lvl="0" indent="0" algn="l" defTabSz="914026" rtl="0" eaLnBrk="0" fontAlgn="base" latinLnBrk="0" hangingPunct="0">
              <a:lnSpc>
                <a:spcPct val="100000"/>
              </a:lnSpc>
              <a:spcBef>
                <a:spcPct val="0"/>
              </a:spcBef>
              <a:spcAft>
                <a:spcPts val="180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IBM Plex Sans Light" panose="020B0403050203000203" pitchFamily="34" charset="0"/>
                <a:ea typeface="+mn-ea"/>
                <a:cs typeface="Arial" panose="020B0604020202020204" pitchFamily="34" charset="0"/>
              </a:rPr>
              <a:t>Human Tier </a:t>
            </a:r>
          </a:p>
        </p:txBody>
      </p:sp>
      <p:sp>
        <p:nvSpPr>
          <p:cNvPr id="52" name="Rectangle 51">
            <a:extLst>
              <a:ext uri="{FF2B5EF4-FFF2-40B4-BE49-F238E27FC236}">
                <a16:creationId xmlns:a16="http://schemas.microsoft.com/office/drawing/2014/main" id="{E32C63E2-6E0E-4052-B3E8-3FFA950D3389}"/>
              </a:ext>
            </a:extLst>
          </p:cNvPr>
          <p:cNvSpPr/>
          <p:nvPr/>
        </p:nvSpPr>
        <p:spPr>
          <a:xfrm>
            <a:off x="7409907" y="3378928"/>
            <a:ext cx="2706902" cy="1138773"/>
          </a:xfrm>
          <a:prstGeom prst="rect">
            <a:avLst/>
          </a:prstGeom>
        </p:spPr>
        <p:txBody>
          <a:bodyPr wrap="square">
            <a:spAutoFit/>
          </a:bodyPr>
          <a:lstStyle/>
          <a:p>
            <a:pPr marL="285635" marR="0" lvl="0" indent="-285635" algn="l" defTabSz="914026" rtl="0" eaLnBrk="0" fontAlgn="base" latinLnBrk="0" hangingPunct="0">
              <a:lnSpc>
                <a:spcPct val="100000"/>
              </a:lnSpc>
              <a:spcBef>
                <a:spcPts val="80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IBM Plex Sans Light" panose="020B0403050203000203" pitchFamily="34" charset="0"/>
                <a:ea typeface="+mn-ea"/>
                <a:cs typeface="+mn-cs"/>
              </a:rPr>
              <a:t>Live Chat  or Webex</a:t>
            </a:r>
          </a:p>
          <a:p>
            <a:pPr marL="285635" marR="0" lvl="0" indent="-285635" algn="l" defTabSz="914026" rtl="0" eaLnBrk="0" fontAlgn="base" latinLnBrk="0" hangingPunct="0">
              <a:lnSpc>
                <a:spcPct val="100000"/>
              </a:lnSpc>
              <a:spcBef>
                <a:spcPts val="80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IBM Plex Sans Light" panose="020B0403050203000203" pitchFamily="34" charset="0"/>
                <a:ea typeface="+mn-ea"/>
                <a:cs typeface="+mn-cs"/>
              </a:rPr>
              <a:t>Provide high touch support</a:t>
            </a:r>
          </a:p>
          <a:p>
            <a:pPr marL="285635" marR="0" lvl="0" indent="-285635" algn="l" defTabSz="914026" rtl="0" eaLnBrk="0" fontAlgn="base" latinLnBrk="0" hangingPunct="0">
              <a:lnSpc>
                <a:spcPct val="100000"/>
              </a:lnSpc>
              <a:spcBef>
                <a:spcPts val="80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IBM Plex Sans Light" panose="020B0403050203000203" pitchFamily="34" charset="0"/>
                <a:ea typeface="+mn-ea"/>
                <a:cs typeface="+mn-cs"/>
              </a:rPr>
              <a:t>Complex case resolution</a:t>
            </a:r>
          </a:p>
          <a:p>
            <a:pPr marL="285635" marR="0" lvl="0" indent="-285635" algn="l" defTabSz="914026" rtl="0" eaLnBrk="0" fontAlgn="base" latinLnBrk="0" hangingPunct="0">
              <a:lnSpc>
                <a:spcPct val="100000"/>
              </a:lnSpc>
              <a:spcBef>
                <a:spcPts val="80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IBM Plex Sans Light" panose="020B0403050203000203" pitchFamily="34" charset="0"/>
                <a:ea typeface="+mn-ea"/>
                <a:cs typeface="+mn-cs"/>
              </a:rPr>
              <a:t>Globalized squad structure</a:t>
            </a:r>
          </a:p>
        </p:txBody>
      </p:sp>
      <p:sp>
        <p:nvSpPr>
          <p:cNvPr id="30" name="Rectangle 29">
            <a:extLst>
              <a:ext uri="{FF2B5EF4-FFF2-40B4-BE49-F238E27FC236}">
                <a16:creationId xmlns:a16="http://schemas.microsoft.com/office/drawing/2014/main" id="{C2622FCC-8118-F54F-BA74-6BB7D95F0C25}"/>
              </a:ext>
            </a:extLst>
          </p:cNvPr>
          <p:cNvSpPr/>
          <p:nvPr/>
        </p:nvSpPr>
        <p:spPr>
          <a:xfrm>
            <a:off x="7610233" y="4706272"/>
            <a:ext cx="1944232" cy="461665"/>
          </a:xfrm>
          <a:prstGeom prst="rect">
            <a:avLst/>
          </a:prstGeom>
        </p:spPr>
        <p:txBody>
          <a:bodyPr wrap="square">
            <a:spAutoFit/>
          </a:bodyPr>
          <a:lstStyle/>
          <a:p>
            <a:pPr marL="0" marR="0" lvl="0" indent="0" algn="ctr" defTabSz="914026" rtl="0" eaLnBrk="0" fontAlgn="base" latinLnBrk="0" hangingPunct="0">
              <a:lnSpc>
                <a:spcPct val="100000"/>
              </a:lnSpc>
              <a:spcBef>
                <a:spcPct val="0"/>
              </a:spcBef>
              <a:spcAft>
                <a:spcPct val="0"/>
              </a:spcAft>
              <a:buClrTx/>
              <a:buSzTx/>
              <a:buFontTx/>
              <a:buNone/>
              <a:tabLst/>
              <a:defRPr/>
            </a:pPr>
            <a:r>
              <a:rPr kumimoji="0" lang="en-US" sz="1200" b="0" i="1" u="none" strike="noStrike" kern="1200" cap="none" spc="0" normalizeH="0" baseline="0" noProof="0" dirty="0">
                <a:ln>
                  <a:noFill/>
                </a:ln>
                <a:solidFill>
                  <a:srgbClr val="002060"/>
                </a:solidFill>
                <a:effectLst/>
                <a:uLnTx/>
                <a:uFillTx/>
                <a:latin typeface="IBM Plex Sans Light" panose="020B0403050203000203" pitchFamily="34" charset="0"/>
                <a:ea typeface="+mn-ea"/>
                <a:cs typeface="Arial" panose="020B0604020202020204" pitchFamily="34" charset="0"/>
              </a:rPr>
              <a:t>Sunset phone support – Modernized approach </a:t>
            </a:r>
          </a:p>
        </p:txBody>
      </p:sp>
      <p:sp>
        <p:nvSpPr>
          <p:cNvPr id="7" name="Rectangle 6">
            <a:extLst>
              <a:ext uri="{FF2B5EF4-FFF2-40B4-BE49-F238E27FC236}">
                <a16:creationId xmlns:a16="http://schemas.microsoft.com/office/drawing/2014/main" id="{CE3F922F-6836-184D-BA0C-945D656A583E}"/>
              </a:ext>
            </a:extLst>
          </p:cNvPr>
          <p:cNvSpPr/>
          <p:nvPr/>
        </p:nvSpPr>
        <p:spPr>
          <a:xfrm>
            <a:off x="366791" y="1861868"/>
            <a:ext cx="3935770" cy="4154984"/>
          </a:xfrm>
          <a:prstGeom prst="rect">
            <a:avLst/>
          </a:prstGeom>
        </p:spPr>
        <p:txBody>
          <a:bodyPr wrap="square">
            <a:spAutoFit/>
          </a:bodyPr>
          <a:lstStyle/>
          <a:p>
            <a:pPr marL="0" marR="0" lvl="0" indent="0" algn="l" defTabSz="914316" rtl="0" eaLnBrk="0" fontAlgn="base" latinLnBrk="0" hangingPunct="0">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Tiered support model with AskHR as the </a:t>
            </a:r>
            <a:r>
              <a:rPr kumimoji="0" lang="en-US" sz="2200" b="0"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rPr>
              <a:t>platform of experience and productivity </a:t>
            </a:r>
            <a:r>
              <a:rPr kumimoji="0" lang="en-US" sz="2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with a seamless handover to an AskHR advisor when necessary. </a:t>
            </a:r>
          </a:p>
          <a:p>
            <a:pPr marL="0" marR="0" lvl="0" indent="0" algn="l" defTabSz="914316" rtl="0" eaLnBrk="0" fontAlgn="base" latinLnBrk="0" hangingPunct="0">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endParaRPr>
          </a:p>
          <a:p>
            <a:pPr marL="0" marR="0" lvl="0" indent="0" algn="l" defTabSz="914316" rtl="0" eaLnBrk="0" fontAlgn="base" latinLnBrk="0" hangingPunct="0">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Increasing Tier 0 and Tier 1 containment rates </a:t>
            </a:r>
            <a:r>
              <a:rPr kumimoji="0" lang="en-US" sz="2200" b="0"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rPr>
              <a:t>allows SMEs to drive higher-value work </a:t>
            </a:r>
            <a:r>
              <a:rPr kumimoji="0" lang="en-US" sz="2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for HR offerings and business support. </a:t>
            </a:r>
          </a:p>
        </p:txBody>
      </p:sp>
      <p:sp>
        <p:nvSpPr>
          <p:cNvPr id="43" name="TextBox 42">
            <a:extLst>
              <a:ext uri="{FF2B5EF4-FFF2-40B4-BE49-F238E27FC236}">
                <a16:creationId xmlns:a16="http://schemas.microsoft.com/office/drawing/2014/main" id="{3273F4DB-DE4E-44C0-A35D-10140A2B03A0}"/>
              </a:ext>
            </a:extLst>
          </p:cNvPr>
          <p:cNvSpPr txBox="1"/>
          <p:nvPr/>
        </p:nvSpPr>
        <p:spPr>
          <a:xfrm>
            <a:off x="7922373" y="2854699"/>
            <a:ext cx="2242602" cy="246221"/>
          </a:xfrm>
          <a:prstGeom prst="rect">
            <a:avLst/>
          </a:prstGeom>
          <a:noFill/>
        </p:spPr>
        <p:txBody>
          <a:bodyPr wrap="none" lIns="0" tIns="0" rIns="0" bIns="0" rtlCol="0">
            <a:spAutoFit/>
          </a:bodyPr>
          <a:lstStyle/>
          <a:p>
            <a:pPr marL="0" marR="0" lvl="0" indent="0" algn="l" defTabSz="914026" rtl="0" eaLnBrk="0" fontAlgn="base" latinLnBrk="0" hangingPunct="0">
              <a:lnSpc>
                <a:spcPct val="100000"/>
              </a:lnSpc>
              <a:spcBef>
                <a:spcPct val="0"/>
              </a:spcBef>
              <a:spcAft>
                <a:spcPts val="1800"/>
              </a:spcAft>
              <a:buClrTx/>
              <a:buSzTx/>
              <a:buFontTx/>
              <a:buNone/>
              <a:tabLst/>
              <a:defRPr/>
            </a:pPr>
            <a:r>
              <a:rPr kumimoji="0" lang="en-US" sz="1600" b="1" i="0" u="none" strike="noStrike" kern="1200" cap="none" spc="0" normalizeH="0" baseline="0" noProof="0" dirty="0">
                <a:ln>
                  <a:noFill/>
                </a:ln>
                <a:solidFill>
                  <a:srgbClr val="0F62FE"/>
                </a:solidFill>
                <a:effectLst/>
                <a:uLnTx/>
                <a:uFillTx/>
                <a:latin typeface="IBM Plex Sans Light" panose="020B0403050203000203" pitchFamily="34" charset="0"/>
                <a:ea typeface="+mn-ea"/>
                <a:cs typeface="Arial" panose="020B0604020202020204" pitchFamily="34" charset="0"/>
              </a:rPr>
              <a:t>AskHR Advisor (Level 1)</a:t>
            </a:r>
          </a:p>
        </p:txBody>
      </p:sp>
      <p:sp>
        <p:nvSpPr>
          <p:cNvPr id="50" name="TextBox 49">
            <a:extLst>
              <a:ext uri="{FF2B5EF4-FFF2-40B4-BE49-F238E27FC236}">
                <a16:creationId xmlns:a16="http://schemas.microsoft.com/office/drawing/2014/main" id="{E590CE16-E762-4E57-9A70-C2731138780A}"/>
              </a:ext>
            </a:extLst>
          </p:cNvPr>
          <p:cNvSpPr txBox="1"/>
          <p:nvPr/>
        </p:nvSpPr>
        <p:spPr>
          <a:xfrm>
            <a:off x="268523" y="272307"/>
            <a:ext cx="4289064" cy="1076577"/>
          </a:xfrm>
          <a:prstGeom prst="rect">
            <a:avLst/>
          </a:prstGeom>
          <a:noFill/>
        </p:spPr>
        <p:txBody>
          <a:bodyPr wrap="square" rtlCol="0">
            <a:spAutoFit/>
          </a:bodyPr>
          <a:lstStyle/>
          <a:p>
            <a:pPr marL="0" marR="0" lvl="0" indent="0" algn="l" defTabSz="914293" rtl="0" eaLnBrk="0" fontAlgn="base" latinLnBrk="0" hangingPunct="0">
              <a:lnSpc>
                <a:spcPct val="100000"/>
              </a:lnSpc>
              <a:spcBef>
                <a:spcPct val="0"/>
              </a:spcBef>
              <a:spcAft>
                <a:spcPct val="0"/>
              </a:spcAft>
              <a:buClrTx/>
              <a:buSzTx/>
              <a:buFontTx/>
              <a:buNone/>
              <a:tabLst/>
              <a:defRPr/>
            </a:pPr>
            <a:r>
              <a:rPr kumimoji="0" lang="en-US" sz="3198" b="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rPr>
              <a:t>Reinventing the IBMer Support Model</a:t>
            </a:r>
          </a:p>
        </p:txBody>
      </p:sp>
      <p:grpSp>
        <p:nvGrpSpPr>
          <p:cNvPr id="4" name="Group 3">
            <a:extLst>
              <a:ext uri="{FF2B5EF4-FFF2-40B4-BE49-F238E27FC236}">
                <a16:creationId xmlns:a16="http://schemas.microsoft.com/office/drawing/2014/main" id="{84DC4192-4DEA-CB7D-C723-1689D1F681BF}"/>
              </a:ext>
            </a:extLst>
          </p:cNvPr>
          <p:cNvGrpSpPr/>
          <p:nvPr/>
        </p:nvGrpSpPr>
        <p:grpSpPr>
          <a:xfrm>
            <a:off x="5770271" y="4323486"/>
            <a:ext cx="1913776" cy="1905599"/>
            <a:chOff x="5195405" y="3472137"/>
            <a:chExt cx="1435706" cy="1429572"/>
          </a:xfrm>
        </p:grpSpPr>
        <p:pic>
          <p:nvPicPr>
            <p:cNvPr id="24" name="Picture 23">
              <a:extLst>
                <a:ext uri="{FF2B5EF4-FFF2-40B4-BE49-F238E27FC236}">
                  <a16:creationId xmlns:a16="http://schemas.microsoft.com/office/drawing/2014/main" id="{DD33A218-8083-42CF-9FB7-F1072F20EAC2}"/>
                </a:ext>
              </a:extLst>
            </p:cNvPr>
            <p:cNvPicPr>
              <a:picLocks noChangeAspect="1"/>
            </p:cNvPicPr>
            <p:nvPr/>
          </p:nvPicPr>
          <p:blipFill rotWithShape="1">
            <a:blip r:embed="rId3" cstate="email">
              <a:grayscl/>
              <a:extLst>
                <a:ext uri="{28A0092B-C50C-407E-A947-70E740481C1C}">
                  <a14:useLocalDpi xmlns:a14="http://schemas.microsoft.com/office/drawing/2010/main"/>
                </a:ext>
              </a:extLst>
            </a:blip>
            <a:srcRect/>
            <a:stretch/>
          </p:blipFill>
          <p:spPr>
            <a:xfrm>
              <a:off x="5195405" y="3477877"/>
              <a:ext cx="1435706" cy="1423832"/>
            </a:xfrm>
            <a:prstGeom prst="ellipse">
              <a:avLst/>
            </a:prstGeom>
          </p:spPr>
        </p:pic>
        <p:sp>
          <p:nvSpPr>
            <p:cNvPr id="2" name="Oval 1">
              <a:extLst>
                <a:ext uri="{FF2B5EF4-FFF2-40B4-BE49-F238E27FC236}">
                  <a16:creationId xmlns:a16="http://schemas.microsoft.com/office/drawing/2014/main" id="{A8185741-3FC7-54AE-7733-9EF7EE89E00A}"/>
                </a:ext>
              </a:extLst>
            </p:cNvPr>
            <p:cNvSpPr/>
            <p:nvPr/>
          </p:nvSpPr>
          <p:spPr>
            <a:xfrm>
              <a:off x="5201539" y="3472137"/>
              <a:ext cx="1429572" cy="1429572"/>
            </a:xfrm>
            <a:prstGeom prst="ellipse">
              <a:avLst/>
            </a:prstGeom>
            <a:gradFill>
              <a:gsLst>
                <a:gs pos="0">
                  <a:srgbClr val="0C6FE8">
                    <a:alpha val="60000"/>
                  </a:srgbClr>
                </a:gs>
                <a:gs pos="100000">
                  <a:srgbClr val="009E9A">
                    <a:alpha val="60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04720" tIns="304720" rIns="304720" bIns="304720" numCol="1" spcCol="0" rtlCol="0" fromWordArt="0" anchor="t" anchorCtr="0" forceAA="0" compatLnSpc="1">
              <a:prstTxWarp prst="textNoShape">
                <a:avLst/>
              </a:prstTxWarp>
              <a:noAutofit/>
            </a:bodyPr>
            <a:lstStyle/>
            <a:p>
              <a:pPr marL="0" marR="0" lvl="0" indent="0" algn="l" defTabSz="914316" rtl="0" eaLnBrk="0" fontAlgn="base" latinLnBrk="0" hangingPunct="0">
                <a:lnSpc>
                  <a:spcPct val="100000"/>
                </a:lnSpc>
                <a:spcBef>
                  <a:spcPct val="0"/>
                </a:spcBef>
                <a:spcAft>
                  <a:spcPts val="1600"/>
                </a:spcAft>
                <a:buClrTx/>
                <a:buSzTx/>
                <a:buFontTx/>
                <a:buNone/>
                <a:tabLst/>
                <a:defRPr/>
              </a:pPr>
              <a:endParaRPr kumimoji="0" lang="en-BR" sz="2400" b="1" i="0" u="none" strike="noStrike" kern="1200" cap="none" spc="0" normalizeH="0" baseline="0" noProof="0">
                <a:ln>
                  <a:noFill/>
                </a:ln>
                <a:solidFill>
                  <a:srgbClr val="000000"/>
                </a:solidFill>
                <a:effectLst/>
                <a:uLnTx/>
                <a:uFillTx/>
                <a:latin typeface="Arial"/>
                <a:ea typeface="+mn-ea"/>
                <a:cs typeface="+mn-cs"/>
              </a:endParaRPr>
            </a:p>
          </p:txBody>
        </p:sp>
      </p:grpSp>
      <p:pic>
        <p:nvPicPr>
          <p:cNvPr id="9" name="Picture 46" descr="A screen with numbers and letters on it&#10;&#10;Description automatically generated with low confidence">
            <a:extLst>
              <a:ext uri="{FF2B5EF4-FFF2-40B4-BE49-F238E27FC236}">
                <a16:creationId xmlns:a16="http://schemas.microsoft.com/office/drawing/2014/main" id="{7426F883-B66D-02AE-CC2E-8DD73BB1E3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034741" y="356112"/>
            <a:ext cx="1931370" cy="919971"/>
          </a:xfrm>
          <a:prstGeom prst="rect">
            <a:avLst/>
          </a:prstGeom>
          <a:noFill/>
        </p:spPr>
      </p:pic>
      <p:grpSp>
        <p:nvGrpSpPr>
          <p:cNvPr id="8" name="Group 7">
            <a:extLst>
              <a:ext uri="{FF2B5EF4-FFF2-40B4-BE49-F238E27FC236}">
                <a16:creationId xmlns:a16="http://schemas.microsoft.com/office/drawing/2014/main" id="{6DEA0C5C-C641-7AE5-4DC7-E0647F1C4F04}"/>
              </a:ext>
            </a:extLst>
          </p:cNvPr>
          <p:cNvGrpSpPr/>
          <p:nvPr/>
        </p:nvGrpSpPr>
        <p:grpSpPr>
          <a:xfrm>
            <a:off x="127777" y="6667080"/>
            <a:ext cx="2158719" cy="190474"/>
            <a:chOff x="914400" y="7899655"/>
            <a:chExt cx="2987670" cy="220571"/>
          </a:xfrm>
        </p:grpSpPr>
        <p:sp>
          <p:nvSpPr>
            <p:cNvPr id="11" name="Footer Placeholder 3">
              <a:extLst>
                <a:ext uri="{FF2B5EF4-FFF2-40B4-BE49-F238E27FC236}">
                  <a16:creationId xmlns:a16="http://schemas.microsoft.com/office/drawing/2014/main" id="{263D2F8F-6F7A-9DF8-4ECA-C9B78E284D1B}"/>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571397" rtl="0" eaLnBrk="1" fontAlgn="auto" latinLnBrk="0" hangingPunct="1">
                <a:lnSpc>
                  <a:spcPct val="100000"/>
                </a:lnSpc>
                <a:spcBef>
                  <a:spcPts val="0"/>
                </a:spcBef>
                <a:spcAft>
                  <a:spcPts val="1000"/>
                </a:spcAft>
                <a:buClrTx/>
                <a:buSzTx/>
                <a:buFontTx/>
                <a:buNone/>
                <a:tabLst/>
                <a:defRPr/>
              </a:pPr>
              <a:r>
                <a:rPr kumimoji="0" lang="en-US" sz="666" b="0" i="0" u="none" strike="noStrike" kern="1200" cap="none" spc="0" normalizeH="0" baseline="0" noProof="0" dirty="0">
                  <a:ln>
                    <a:noFill/>
                  </a:ln>
                  <a:solidFill>
                    <a:srgbClr val="001141"/>
                  </a:solidFill>
                  <a:effectLst/>
                  <a:uLnTx/>
                  <a:uFillTx/>
                  <a:latin typeface="IBM Plex Sans" charset="0"/>
                  <a:ea typeface="IBM Plex Sans" charset="0"/>
                  <a:cs typeface="IBM Plex Sans" charset="0"/>
                </a:rPr>
                <a:t>©</a:t>
              </a:r>
              <a:r>
                <a:rPr kumimoji="0" lang="en-US" sz="333" b="0" i="0" u="none" strike="noStrike" kern="1200" cap="none" spc="0" normalizeH="0" baseline="0" noProof="0" dirty="0">
                  <a:ln>
                    <a:noFill/>
                  </a:ln>
                  <a:solidFill>
                    <a:srgbClr val="001141"/>
                  </a:solidFill>
                  <a:effectLst/>
                  <a:uLnTx/>
                  <a:uFillTx/>
                  <a:latin typeface="IBM Plex Sans" charset="0"/>
                  <a:ea typeface="IBM Plex Sans" charset="0"/>
                  <a:cs typeface="IBM Plex Sans" charset="0"/>
                </a:rPr>
                <a:t> </a:t>
              </a:r>
              <a:r>
                <a:rPr kumimoji="0" lang="en-US" sz="666" b="0" i="0" u="none" strike="noStrike" kern="1200" cap="none" spc="0" normalizeH="0" baseline="0" noProof="0" dirty="0">
                  <a:ln>
                    <a:noFill/>
                  </a:ln>
                  <a:solidFill>
                    <a:srgbClr val="001141"/>
                  </a:solidFill>
                  <a:effectLst/>
                  <a:uLnTx/>
                  <a:uFillTx/>
                  <a:latin typeface="IBM Plex Sans" charset="0"/>
                  <a:ea typeface="IBM Plex Sans" charset="0"/>
                  <a:cs typeface="IBM Plex Sans" charset="0"/>
                </a:rPr>
                <a:t>2023 IBM Corporation               </a:t>
              </a:r>
            </a:p>
          </p:txBody>
        </p:sp>
        <p:sp>
          <p:nvSpPr>
            <p:cNvPr id="12" name="Date Placeholder 2">
              <a:extLst>
                <a:ext uri="{FF2B5EF4-FFF2-40B4-BE49-F238E27FC236}">
                  <a16:creationId xmlns:a16="http://schemas.microsoft.com/office/drawing/2014/main" id="{6BB5194E-A595-F159-A654-5D1434356B44}"/>
                </a:ext>
              </a:extLst>
            </p:cNvPr>
            <p:cNvSpPr txBox="1">
              <a:spLocks/>
            </p:cNvSpPr>
            <p:nvPr userDrawn="1"/>
          </p:nvSpPr>
          <p:spPr>
            <a:xfrm>
              <a:off x="2256150" y="7899655"/>
              <a:ext cx="164592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863" rtl="0" eaLnBrk="1" fontAlgn="auto" latinLnBrk="0" hangingPunct="1">
                <a:lnSpc>
                  <a:spcPct val="100000"/>
                </a:lnSpc>
                <a:spcBef>
                  <a:spcPts val="0"/>
                </a:spcBef>
                <a:spcAft>
                  <a:spcPts val="1000"/>
                </a:spcAft>
                <a:buClrTx/>
                <a:buSzTx/>
                <a:buFontTx/>
                <a:buNone/>
                <a:tabLst/>
                <a:defRPr/>
              </a:pPr>
              <a:r>
                <a:rPr kumimoji="0" lang="en-US" sz="666" b="0" i="0" u="none" strike="noStrike" kern="1200" cap="none" spc="0" normalizeH="0" baseline="0" noProof="0" dirty="0">
                  <a:ln>
                    <a:noFill/>
                  </a:ln>
                  <a:solidFill>
                    <a:srgbClr val="001141"/>
                  </a:solidFill>
                  <a:effectLst/>
                  <a:uLnTx/>
                  <a:uFillTx/>
                  <a:latin typeface="IBM Plex Sans" charset="0"/>
                  <a:ea typeface="IBM Plex Sans" charset="0"/>
                  <a:cs typeface="IBM Plex Sans" charset="0"/>
                </a:rPr>
                <a:t> IBM HR</a:t>
              </a:r>
            </a:p>
          </p:txBody>
        </p:sp>
      </p:grpSp>
      <p:sp>
        <p:nvSpPr>
          <p:cNvPr id="13" name="Oval 12">
            <a:extLst>
              <a:ext uri="{FF2B5EF4-FFF2-40B4-BE49-F238E27FC236}">
                <a16:creationId xmlns:a16="http://schemas.microsoft.com/office/drawing/2014/main" id="{7EC790D9-A3E5-7753-CC5F-19E8C61B7B44}"/>
              </a:ext>
            </a:extLst>
          </p:cNvPr>
          <p:cNvSpPr>
            <a:spLocks noChangeAspect="1"/>
          </p:cNvSpPr>
          <p:nvPr/>
        </p:nvSpPr>
        <p:spPr>
          <a:xfrm>
            <a:off x="9598390" y="3704432"/>
            <a:ext cx="2523870" cy="2523870"/>
          </a:xfrm>
          <a:prstGeom prst="ellipse">
            <a:avLst/>
          </a:prstGeom>
          <a:solidFill>
            <a:srgbClr val="F4F4F4"/>
          </a:solidFill>
          <a:ln>
            <a:noFill/>
          </a:ln>
          <a:effectLst>
            <a:outerShdw blurRad="50800" dist="1905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540" tIns="228540" rIns="228540" bIns="228540" numCol="1" spcCol="0" rtlCol="0" fromWordArt="0" anchor="t" anchorCtr="0" forceAA="0" compatLnSpc="1">
            <a:prstTxWarp prst="textNoShape">
              <a:avLst/>
            </a:prstTxWarp>
            <a:noAutofit/>
          </a:bodyPr>
          <a:lstStyle/>
          <a:p>
            <a:pPr marL="0" marR="0" lvl="0" indent="0" algn="l" defTabSz="914026" rtl="0" eaLnBrk="0" fontAlgn="base" latinLnBrk="0" hangingPunct="0">
              <a:lnSpc>
                <a:spcPct val="100000"/>
              </a:lnSpc>
              <a:spcBef>
                <a:spcPct val="0"/>
              </a:spcBef>
              <a:spcAft>
                <a:spcPts val="1800"/>
              </a:spcAft>
              <a:buClrTx/>
              <a:buSzTx/>
              <a:buFontTx/>
              <a:buNone/>
              <a:tabLst/>
              <a:defRPr/>
            </a:pPr>
            <a:endParaRPr kumimoji="0" lang="en-US" sz="2000" b="0" i="0" u="none" strike="noStrike" kern="1200" cap="none" spc="0" normalizeH="0" baseline="0" noProof="0" dirty="0">
              <a:ln>
                <a:noFill/>
              </a:ln>
              <a:solidFill>
                <a:srgbClr val="161616"/>
              </a:solidFill>
              <a:effectLst/>
              <a:uLnTx/>
              <a:uFillTx/>
              <a:latin typeface="IBM Plex Sans" panose="020B0503050203000203" pitchFamily="34" charset="0"/>
              <a:ea typeface="+mn-ea"/>
              <a:cs typeface="Arial" panose="020B0604020202020204" pitchFamily="34" charset="0"/>
            </a:endParaRPr>
          </a:p>
        </p:txBody>
      </p:sp>
      <p:grpSp>
        <p:nvGrpSpPr>
          <p:cNvPr id="3" name="Group 2">
            <a:extLst>
              <a:ext uri="{FF2B5EF4-FFF2-40B4-BE49-F238E27FC236}">
                <a16:creationId xmlns:a16="http://schemas.microsoft.com/office/drawing/2014/main" id="{2DCBA8C6-CE9F-4E6F-957C-786150FEDFEE}"/>
              </a:ext>
            </a:extLst>
          </p:cNvPr>
          <p:cNvGrpSpPr/>
          <p:nvPr/>
        </p:nvGrpSpPr>
        <p:grpSpPr>
          <a:xfrm>
            <a:off x="10249814" y="2045866"/>
            <a:ext cx="1912559" cy="1920641"/>
            <a:chOff x="6484935" y="430672"/>
            <a:chExt cx="1434793" cy="1440856"/>
          </a:xfrm>
        </p:grpSpPr>
        <p:pic>
          <p:nvPicPr>
            <p:cNvPr id="27" name="Picture 26">
              <a:extLst>
                <a:ext uri="{FF2B5EF4-FFF2-40B4-BE49-F238E27FC236}">
                  <a16:creationId xmlns:a16="http://schemas.microsoft.com/office/drawing/2014/main" id="{6DAE4FE4-1170-4D89-A601-4C55A2F6C90C}"/>
                </a:ext>
              </a:extLst>
            </p:cNvPr>
            <p:cNvPicPr>
              <a:picLocks noChangeAspect="1"/>
            </p:cNvPicPr>
            <p:nvPr/>
          </p:nvPicPr>
          <p:blipFill rotWithShape="1">
            <a:blip r:embed="rId5" cstate="email">
              <a:grayscl/>
              <a:extLst>
                <a:ext uri="{28A0092B-C50C-407E-A947-70E740481C1C}">
                  <a14:useLocalDpi xmlns:a14="http://schemas.microsoft.com/office/drawing/2010/main"/>
                </a:ext>
              </a:extLst>
            </a:blip>
            <a:srcRect/>
            <a:stretch/>
          </p:blipFill>
          <p:spPr>
            <a:xfrm>
              <a:off x="6495518" y="430672"/>
              <a:ext cx="1412338" cy="1440856"/>
            </a:xfrm>
            <a:prstGeom prst="ellipse">
              <a:avLst/>
            </a:prstGeom>
            <a:gradFill>
              <a:gsLst>
                <a:gs pos="0">
                  <a:srgbClr val="0C6FE8">
                    <a:alpha val="48014"/>
                  </a:srgbClr>
                </a:gs>
                <a:gs pos="100000">
                  <a:srgbClr val="009E9A">
                    <a:alpha val="48000"/>
                  </a:srgbClr>
                </a:gs>
              </a:gsLst>
              <a:lin ang="10800000" scaled="0"/>
            </a:gradFill>
          </p:spPr>
        </p:pic>
        <p:sp>
          <p:nvSpPr>
            <p:cNvPr id="21" name="Oval 20">
              <a:extLst>
                <a:ext uri="{FF2B5EF4-FFF2-40B4-BE49-F238E27FC236}">
                  <a16:creationId xmlns:a16="http://schemas.microsoft.com/office/drawing/2014/main" id="{451F8A78-34F5-DD1C-44CB-ED91351EB391}"/>
                </a:ext>
              </a:extLst>
            </p:cNvPr>
            <p:cNvSpPr/>
            <p:nvPr/>
          </p:nvSpPr>
          <p:spPr>
            <a:xfrm>
              <a:off x="6484935" y="430672"/>
              <a:ext cx="1434793" cy="1434793"/>
            </a:xfrm>
            <a:prstGeom prst="ellipse">
              <a:avLst/>
            </a:prstGeom>
            <a:gradFill>
              <a:gsLst>
                <a:gs pos="0">
                  <a:srgbClr val="0C6FE8">
                    <a:alpha val="60000"/>
                  </a:srgbClr>
                </a:gs>
                <a:gs pos="100000">
                  <a:srgbClr val="009E9A">
                    <a:alpha val="60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04720" tIns="304720" rIns="304720" bIns="304720" numCol="1" spcCol="0" rtlCol="0" fromWordArt="0" anchor="t" anchorCtr="0" forceAA="0" compatLnSpc="1">
              <a:prstTxWarp prst="textNoShape">
                <a:avLst/>
              </a:prstTxWarp>
              <a:noAutofit/>
            </a:bodyPr>
            <a:lstStyle/>
            <a:p>
              <a:pPr marL="0" marR="0" lvl="0" indent="0" algn="l" defTabSz="914316" rtl="0" eaLnBrk="0" fontAlgn="base" latinLnBrk="0" hangingPunct="0">
                <a:lnSpc>
                  <a:spcPct val="100000"/>
                </a:lnSpc>
                <a:spcBef>
                  <a:spcPct val="0"/>
                </a:spcBef>
                <a:spcAft>
                  <a:spcPts val="1600"/>
                </a:spcAft>
                <a:buClrTx/>
                <a:buSzTx/>
                <a:buFontTx/>
                <a:buNone/>
                <a:tabLst/>
                <a:defRPr/>
              </a:pPr>
              <a:endParaRPr kumimoji="0" lang="en-BR" sz="2400" b="1" i="0" u="none" strike="noStrike" kern="1200" cap="none" spc="0" normalizeH="0" baseline="0" noProof="0">
                <a:ln>
                  <a:noFill/>
                </a:ln>
                <a:solidFill>
                  <a:srgbClr val="000000"/>
                </a:solidFill>
                <a:effectLst/>
                <a:uLnTx/>
                <a:uFillTx/>
                <a:latin typeface="Arial"/>
                <a:ea typeface="+mn-ea"/>
                <a:cs typeface="+mn-cs"/>
              </a:endParaRPr>
            </a:p>
          </p:txBody>
        </p:sp>
      </p:grpSp>
      <p:sp>
        <p:nvSpPr>
          <p:cNvPr id="19" name="TextBox 18">
            <a:extLst>
              <a:ext uri="{FF2B5EF4-FFF2-40B4-BE49-F238E27FC236}">
                <a16:creationId xmlns:a16="http://schemas.microsoft.com/office/drawing/2014/main" id="{27A776BC-8936-EF3A-335A-27827E4F8AA9}"/>
              </a:ext>
            </a:extLst>
          </p:cNvPr>
          <p:cNvSpPr txBox="1"/>
          <p:nvPr/>
        </p:nvSpPr>
        <p:spPr>
          <a:xfrm>
            <a:off x="10235400" y="4142367"/>
            <a:ext cx="1388201" cy="307777"/>
          </a:xfrm>
          <a:prstGeom prst="rect">
            <a:avLst/>
          </a:prstGeom>
          <a:noFill/>
        </p:spPr>
        <p:txBody>
          <a:bodyPr wrap="none" lIns="0" tIns="0" rIns="0" bIns="0" rtlCol="0">
            <a:spAutoFit/>
          </a:bodyPr>
          <a:lstStyle/>
          <a:p>
            <a:pPr marL="0" marR="0" lvl="0" indent="0" algn="l" defTabSz="914026" rtl="0" eaLnBrk="0" fontAlgn="base" latinLnBrk="0" hangingPunct="0">
              <a:lnSpc>
                <a:spcPct val="100000"/>
              </a:lnSpc>
              <a:spcBef>
                <a:spcPct val="0"/>
              </a:spcBef>
              <a:spcAft>
                <a:spcPts val="180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IBM Plex Sans Light" panose="020B0403050203000203" pitchFamily="34" charset="0"/>
                <a:ea typeface="+mn-ea"/>
                <a:cs typeface="Arial" panose="020B0604020202020204" pitchFamily="34" charset="0"/>
              </a:rPr>
              <a:t>Human Tier </a:t>
            </a:r>
          </a:p>
        </p:txBody>
      </p:sp>
      <p:sp>
        <p:nvSpPr>
          <p:cNvPr id="20" name="TextBox 19">
            <a:extLst>
              <a:ext uri="{FF2B5EF4-FFF2-40B4-BE49-F238E27FC236}">
                <a16:creationId xmlns:a16="http://schemas.microsoft.com/office/drawing/2014/main" id="{2A24406D-2983-F41B-3116-906A74EBD6DD}"/>
              </a:ext>
            </a:extLst>
          </p:cNvPr>
          <p:cNvSpPr txBox="1"/>
          <p:nvPr/>
        </p:nvSpPr>
        <p:spPr>
          <a:xfrm>
            <a:off x="10285670" y="4467342"/>
            <a:ext cx="1373774" cy="246221"/>
          </a:xfrm>
          <a:prstGeom prst="rect">
            <a:avLst/>
          </a:prstGeom>
          <a:noFill/>
        </p:spPr>
        <p:txBody>
          <a:bodyPr wrap="none" lIns="0" tIns="0" rIns="0" bIns="0" rtlCol="0">
            <a:spAutoFit/>
          </a:bodyPr>
          <a:lstStyle/>
          <a:p>
            <a:pPr marL="0" marR="0" lvl="0" indent="0" algn="l" defTabSz="914026" rtl="0" eaLnBrk="0" fontAlgn="base" latinLnBrk="0" hangingPunct="0">
              <a:lnSpc>
                <a:spcPct val="100000"/>
              </a:lnSpc>
              <a:spcBef>
                <a:spcPct val="0"/>
              </a:spcBef>
              <a:spcAft>
                <a:spcPts val="1800"/>
              </a:spcAft>
              <a:buClrTx/>
              <a:buSzTx/>
              <a:buFontTx/>
              <a:buNone/>
              <a:tabLst/>
              <a:defRPr/>
            </a:pPr>
            <a:r>
              <a:rPr kumimoji="0" lang="en-US" sz="1600" b="1" i="0" u="none" strike="noStrike" kern="1200" cap="none" spc="0" normalizeH="0" baseline="0" noProof="0" dirty="0">
                <a:ln>
                  <a:noFill/>
                </a:ln>
                <a:solidFill>
                  <a:srgbClr val="0F62FE"/>
                </a:solidFill>
                <a:effectLst/>
                <a:uLnTx/>
                <a:uFillTx/>
                <a:latin typeface="IBM Plex Sans Light" panose="020B0403050203000203" pitchFamily="34" charset="0"/>
                <a:ea typeface="+mn-ea"/>
                <a:cs typeface="Arial" panose="020B0604020202020204" pitchFamily="34" charset="0"/>
              </a:rPr>
              <a:t>SMEs (Level 2)</a:t>
            </a:r>
          </a:p>
        </p:txBody>
      </p:sp>
      <p:sp>
        <p:nvSpPr>
          <p:cNvPr id="22" name="TextBox 21">
            <a:extLst>
              <a:ext uri="{FF2B5EF4-FFF2-40B4-BE49-F238E27FC236}">
                <a16:creationId xmlns:a16="http://schemas.microsoft.com/office/drawing/2014/main" id="{B08ACE0E-B3D7-C8EE-A5FB-9D01A5AF9197}"/>
              </a:ext>
            </a:extLst>
          </p:cNvPr>
          <p:cNvSpPr txBox="1"/>
          <p:nvPr/>
        </p:nvSpPr>
        <p:spPr>
          <a:xfrm>
            <a:off x="5913715" y="1685513"/>
            <a:ext cx="1635063" cy="184666"/>
          </a:xfrm>
          <a:prstGeom prst="rect">
            <a:avLst/>
          </a:prstGeom>
          <a:noFill/>
        </p:spPr>
        <p:txBody>
          <a:bodyPr wrap="none" lIns="0" tIns="0" rIns="0" bIns="0" rtlCol="0">
            <a:spAutoFit/>
          </a:bodyPr>
          <a:lstStyle/>
          <a:p>
            <a:pPr marL="0" marR="0" lvl="0" indent="0" algn="l" defTabSz="914026" rtl="0" eaLnBrk="0" fontAlgn="base" latinLnBrk="0" hangingPunct="0">
              <a:lnSpc>
                <a:spcPct val="100000"/>
              </a:lnSpc>
              <a:spcBef>
                <a:spcPct val="0"/>
              </a:spcBef>
              <a:spcAft>
                <a:spcPts val="1800"/>
              </a:spcAft>
              <a:buClrTx/>
              <a:buSzTx/>
              <a:buFontTx/>
              <a:buNone/>
              <a:tabLst/>
              <a:defRPr/>
            </a:pPr>
            <a:r>
              <a:rPr kumimoji="0" lang="en-US" sz="1200" b="0" i="0" u="none" strike="noStrike" kern="1200" cap="none" spc="0" normalizeH="0" baseline="0" noProof="0" dirty="0">
                <a:ln>
                  <a:noFill/>
                </a:ln>
                <a:solidFill>
                  <a:srgbClr val="0F62FE"/>
                </a:solidFill>
                <a:effectLst/>
                <a:uLnTx/>
                <a:uFillTx/>
                <a:latin typeface="IBM Plex Sans Light" panose="020B0403050203000203" pitchFamily="34" charset="0"/>
                <a:ea typeface="+mn-ea"/>
                <a:cs typeface="Arial" panose="020B0604020202020204" pitchFamily="34" charset="0"/>
              </a:rPr>
              <a:t>Containment Rate: 94%</a:t>
            </a:r>
          </a:p>
        </p:txBody>
      </p:sp>
      <p:sp>
        <p:nvSpPr>
          <p:cNvPr id="26" name="Rectangle 25">
            <a:extLst>
              <a:ext uri="{FF2B5EF4-FFF2-40B4-BE49-F238E27FC236}">
                <a16:creationId xmlns:a16="http://schemas.microsoft.com/office/drawing/2014/main" id="{12858137-CE0F-0AB2-D9DB-97A2C2BEAFC2}"/>
              </a:ext>
            </a:extLst>
          </p:cNvPr>
          <p:cNvSpPr/>
          <p:nvPr/>
        </p:nvSpPr>
        <p:spPr>
          <a:xfrm>
            <a:off x="9791142" y="4985467"/>
            <a:ext cx="2269617" cy="851515"/>
          </a:xfrm>
          <a:prstGeom prst="rect">
            <a:avLst/>
          </a:prstGeom>
        </p:spPr>
        <p:txBody>
          <a:bodyPr wrap="square">
            <a:spAutoFit/>
          </a:bodyPr>
          <a:lstStyle/>
          <a:p>
            <a:pPr marL="285635" marR="0" lvl="0" indent="-285635" algn="l" defTabSz="914026" rtl="0" eaLnBrk="0" fontAlgn="base" latinLnBrk="0" hangingPunct="0">
              <a:lnSpc>
                <a:spcPct val="100000"/>
              </a:lnSpc>
              <a:spcBef>
                <a:spcPts val="80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IBM Plex Sans Light" panose="020B0403050203000203" pitchFamily="34" charset="0"/>
                <a:ea typeface="+mn-ea"/>
                <a:cs typeface="+mn-cs"/>
              </a:rPr>
              <a:t>HR Function expertise</a:t>
            </a:r>
          </a:p>
          <a:p>
            <a:pPr marL="285635" marR="0" lvl="0" indent="-285635" algn="l" defTabSz="914026" rtl="0" eaLnBrk="0" fontAlgn="base" latinLnBrk="0" hangingPunct="0">
              <a:lnSpc>
                <a:spcPct val="100000"/>
              </a:lnSpc>
              <a:spcBef>
                <a:spcPts val="80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IBM Plex Sans Light" panose="020B0403050203000203" pitchFamily="34" charset="0"/>
                <a:ea typeface="+mn-ea"/>
                <a:cs typeface="+mn-cs"/>
              </a:rPr>
              <a:t>Upline manager support</a:t>
            </a:r>
          </a:p>
          <a:p>
            <a:pPr marL="285635" marR="0" lvl="0" indent="-285635" algn="l" defTabSz="914026" rtl="0" eaLnBrk="0" fontAlgn="base" latinLnBrk="0" hangingPunct="0">
              <a:lnSpc>
                <a:spcPct val="100000"/>
              </a:lnSpc>
              <a:spcBef>
                <a:spcPts val="80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2060"/>
              </a:solidFill>
              <a:effectLst/>
              <a:uLnTx/>
              <a:uFillTx/>
              <a:latin typeface="IBM Plex Sans Light" panose="020B0403050203000203" pitchFamily="34" charset="0"/>
              <a:ea typeface="+mn-ea"/>
              <a:cs typeface="+mn-cs"/>
            </a:endParaRPr>
          </a:p>
        </p:txBody>
      </p:sp>
    </p:spTree>
    <p:extLst>
      <p:ext uri="{BB962C8B-B14F-4D97-AF65-F5344CB8AC3E}">
        <p14:creationId xmlns:p14="http://schemas.microsoft.com/office/powerpoint/2010/main" val="13634766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33601A-AB9B-1D83-AEDC-CEE810F58373}"/>
              </a:ext>
            </a:extLst>
          </p:cNvPr>
          <p:cNvSpPr>
            <a:spLocks noGrp="1"/>
          </p:cNvSpPr>
          <p:nvPr>
            <p:ph type="title"/>
          </p:nvPr>
        </p:nvSpPr>
        <p:spPr>
          <a:xfrm>
            <a:off x="287999" y="192600"/>
            <a:ext cx="8953972" cy="763524"/>
          </a:xfrm>
        </p:spPr>
        <p:txBody>
          <a:bodyPr/>
          <a:lstStyle/>
          <a:p>
            <a:r>
              <a:rPr lang="en-US" sz="2400" b="1" dirty="0"/>
              <a:t>IBM AskHR</a:t>
            </a:r>
            <a:br>
              <a:rPr lang="en-US" dirty="0"/>
            </a:br>
            <a:r>
              <a:rPr lang="en-US" sz="1800" dirty="0"/>
              <a:t>An HR digital assistant driving a seamless experience for employees and empowering HR professionals to focus on higher value tasks </a:t>
            </a:r>
            <a:endParaRPr lang="en-US" dirty="0"/>
          </a:p>
        </p:txBody>
      </p:sp>
      <p:pic>
        <p:nvPicPr>
          <p:cNvPr id="6" name="Picture 3">
            <a:extLst>
              <a:ext uri="{FF2B5EF4-FFF2-40B4-BE49-F238E27FC236}">
                <a16:creationId xmlns:a16="http://schemas.microsoft.com/office/drawing/2014/main" id="{DAA743DB-D38F-1597-C620-031C2146431B}"/>
              </a:ext>
            </a:extLst>
          </p:cNvPr>
          <p:cNvPicPr>
            <a:picLocks noChangeAspect="1"/>
          </p:cNvPicPr>
          <p:nvPr/>
        </p:nvPicPr>
        <p:blipFill>
          <a:blip r:embed="rId3"/>
          <a:srcRect/>
          <a:stretch>
            <a:fillRect/>
          </a:stretch>
        </p:blipFill>
        <p:spPr>
          <a:xfrm>
            <a:off x="5098339" y="1403897"/>
            <a:ext cx="7211686" cy="4411149"/>
          </a:xfrm>
          <a:prstGeom prst="rect">
            <a:avLst/>
          </a:prstGeom>
        </p:spPr>
      </p:pic>
      <p:pic>
        <p:nvPicPr>
          <p:cNvPr id="4" name="Picture 3">
            <a:extLst>
              <a:ext uri="{FF2B5EF4-FFF2-40B4-BE49-F238E27FC236}">
                <a16:creationId xmlns:a16="http://schemas.microsoft.com/office/drawing/2014/main" id="{850A0BD9-9859-E17A-A752-2082E415DB8B}"/>
              </a:ext>
            </a:extLst>
          </p:cNvPr>
          <p:cNvPicPr>
            <a:picLocks noChangeAspect="1"/>
          </p:cNvPicPr>
          <p:nvPr/>
        </p:nvPicPr>
        <p:blipFill>
          <a:blip r:embed="rId4"/>
          <a:stretch>
            <a:fillRect/>
          </a:stretch>
        </p:blipFill>
        <p:spPr>
          <a:xfrm>
            <a:off x="5834204" y="1988831"/>
            <a:ext cx="5739955" cy="2880338"/>
          </a:xfrm>
          <a:prstGeom prst="rect">
            <a:avLst/>
          </a:prstGeom>
        </p:spPr>
      </p:pic>
      <p:sp>
        <p:nvSpPr>
          <p:cNvPr id="8" name="TextBox 7">
            <a:extLst>
              <a:ext uri="{FF2B5EF4-FFF2-40B4-BE49-F238E27FC236}">
                <a16:creationId xmlns:a16="http://schemas.microsoft.com/office/drawing/2014/main" id="{2D27B441-5FC0-04B7-933B-C5AC2BF27403}"/>
              </a:ext>
            </a:extLst>
          </p:cNvPr>
          <p:cNvSpPr txBox="1"/>
          <p:nvPr/>
        </p:nvSpPr>
        <p:spPr>
          <a:xfrm>
            <a:off x="584408" y="2320269"/>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endParaRPr kumimoji="0" lang="en-US" sz="36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11" name="TextBox 10">
            <a:extLst>
              <a:ext uri="{FF2B5EF4-FFF2-40B4-BE49-F238E27FC236}">
                <a16:creationId xmlns:a16="http://schemas.microsoft.com/office/drawing/2014/main" id="{59B2AF8F-65E9-E7AD-576F-0E979CDD0C29}"/>
              </a:ext>
            </a:extLst>
          </p:cNvPr>
          <p:cNvSpPr txBox="1"/>
          <p:nvPr/>
        </p:nvSpPr>
        <p:spPr>
          <a:xfrm>
            <a:off x="93779" y="2642196"/>
            <a:ext cx="1536971" cy="6793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r" defTabSz="2438400" rtl="0" eaLnBrk="1" fontAlgn="auto" latinLnBrk="0" hangingPunct="1">
              <a:lnSpc>
                <a:spcPct val="100000"/>
              </a:lnSpc>
              <a:spcBef>
                <a:spcPts val="2900"/>
              </a:spcBef>
              <a:spcAft>
                <a:spcPts val="0"/>
              </a:spcAft>
              <a:buClrTx/>
              <a:buSzPct val="100000"/>
              <a:buFontTx/>
              <a:buNone/>
              <a:tabLst/>
              <a:defRPr/>
            </a:pPr>
            <a:r>
              <a:rPr kumimoji="0" lang="en-US" sz="3600" b="0" i="0" u="none" strike="noStrike" kern="0" cap="none" spc="0" normalizeH="0" baseline="0" noProof="0" dirty="0">
                <a:ln>
                  <a:noFill/>
                </a:ln>
                <a:solidFill>
                  <a:srgbClr val="0F62FE"/>
                </a:solidFill>
                <a:effectLst/>
                <a:uLnTx/>
                <a:uFillTx/>
                <a:latin typeface="IBM Plex Sans Light"/>
                <a:ea typeface="+mn-ea"/>
                <a:cs typeface="+mn-cs"/>
                <a:sym typeface="IBM Plex Sans Light"/>
              </a:rPr>
              <a:t>40%</a:t>
            </a:r>
          </a:p>
        </p:txBody>
      </p:sp>
      <p:sp>
        <p:nvSpPr>
          <p:cNvPr id="12" name="Text Placeholder 4">
            <a:extLst>
              <a:ext uri="{FF2B5EF4-FFF2-40B4-BE49-F238E27FC236}">
                <a16:creationId xmlns:a16="http://schemas.microsoft.com/office/drawing/2014/main" id="{17046910-E6C5-5DA9-8A0B-E0718DF460E8}"/>
              </a:ext>
            </a:extLst>
          </p:cNvPr>
          <p:cNvSpPr txBox="1">
            <a:spLocks/>
          </p:cNvSpPr>
          <p:nvPr/>
        </p:nvSpPr>
        <p:spPr>
          <a:xfrm>
            <a:off x="1858970" y="2658114"/>
            <a:ext cx="3780920" cy="279981"/>
          </a:xfrm>
          <a:prstGeom prst="rect">
            <a:avLst/>
          </a:prstGeom>
        </p:spPr>
        <p:txBody>
          <a:bodyPr vert="horz" lIns="0" tIns="0" rIns="0" bIns="0" rtlCol="0">
            <a:noAutofit/>
          </a:bodyPr>
          <a:lstStyle>
            <a:lvl1pPr marL="0" indent="0" algn="l" defTabSz="457200" rtl="0" eaLnBrk="1" latinLnBrk="0" hangingPunct="1">
              <a:lnSpc>
                <a:spcPct val="100000"/>
              </a:lnSpc>
              <a:spcBef>
                <a:spcPts val="1100"/>
              </a:spcBef>
              <a:buFont typeface="Arial"/>
              <a:buNone/>
              <a:defRPr sz="16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95" rtl="0" eaLnBrk="1" fontAlgn="auto" latinLnBrk="0" hangingPunct="1">
              <a:lnSpc>
                <a:spcPct val="100000"/>
              </a:lnSpc>
              <a:spcBef>
                <a:spcPts val="1100"/>
              </a:spcBef>
              <a:spcAft>
                <a:spcPts val="0"/>
              </a:spcAft>
              <a:buClrTx/>
              <a:buSzTx/>
              <a:buFont typeface="Arial"/>
              <a:buNone/>
              <a:tabLst/>
              <a:defRPr/>
            </a:pPr>
            <a:r>
              <a:rPr kumimoji="0" lang="en-US" sz="1800" b="0" i="0" u="none" strike="noStrike" kern="1200" cap="none" spc="0" normalizeH="0" baseline="0" noProof="0" dirty="0">
                <a:ln>
                  <a:noFill/>
                </a:ln>
                <a:solidFill>
                  <a:srgbClr val="000000"/>
                </a:solidFill>
                <a:effectLst/>
                <a:uLnTx/>
                <a:uFillTx/>
                <a:latin typeface="IBM Plex Sans Light"/>
                <a:cs typeface="Arial" charset="0"/>
              </a:rPr>
              <a:t>Reduction in HR Operating Budget</a:t>
            </a:r>
          </a:p>
        </p:txBody>
      </p:sp>
      <p:sp>
        <p:nvSpPr>
          <p:cNvPr id="13" name="TextBox 12">
            <a:extLst>
              <a:ext uri="{FF2B5EF4-FFF2-40B4-BE49-F238E27FC236}">
                <a16:creationId xmlns:a16="http://schemas.microsoft.com/office/drawing/2014/main" id="{C45AB83B-3038-B7C7-3C13-F1DD3C458547}"/>
              </a:ext>
            </a:extLst>
          </p:cNvPr>
          <p:cNvSpPr txBox="1"/>
          <p:nvPr/>
        </p:nvSpPr>
        <p:spPr>
          <a:xfrm>
            <a:off x="617004" y="3306877"/>
            <a:ext cx="1013746" cy="6793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r" defTabSz="2438400" rtl="0" eaLnBrk="1" fontAlgn="auto" latinLnBrk="0" hangingPunct="1">
              <a:lnSpc>
                <a:spcPct val="100000"/>
              </a:lnSpc>
              <a:spcBef>
                <a:spcPts val="2900"/>
              </a:spcBef>
              <a:spcAft>
                <a:spcPts val="0"/>
              </a:spcAft>
              <a:buClrTx/>
              <a:buSzPct val="100000"/>
              <a:buFontTx/>
              <a:buNone/>
              <a:tabLst/>
              <a:defRPr/>
            </a:pPr>
            <a:r>
              <a:rPr kumimoji="0" lang="en-US" sz="3600" b="0" i="0" u="none" strike="noStrike" kern="0" cap="none" spc="0" normalizeH="0" baseline="0" noProof="0" dirty="0">
                <a:ln>
                  <a:noFill/>
                </a:ln>
                <a:solidFill>
                  <a:srgbClr val="0F62FE"/>
                </a:solidFill>
                <a:effectLst/>
                <a:uLnTx/>
                <a:uFillTx/>
                <a:latin typeface="IBM Plex Sans Light"/>
                <a:ea typeface="+mn-ea"/>
                <a:cs typeface="+mn-cs"/>
                <a:sym typeface="IBM Plex Sans Light"/>
              </a:rPr>
              <a:t>94%</a:t>
            </a:r>
          </a:p>
        </p:txBody>
      </p:sp>
      <p:sp>
        <p:nvSpPr>
          <p:cNvPr id="14" name="Text Placeholder 4">
            <a:extLst>
              <a:ext uri="{FF2B5EF4-FFF2-40B4-BE49-F238E27FC236}">
                <a16:creationId xmlns:a16="http://schemas.microsoft.com/office/drawing/2014/main" id="{F2CF9DF5-1C6D-8168-FADB-A7188218564E}"/>
              </a:ext>
            </a:extLst>
          </p:cNvPr>
          <p:cNvSpPr txBox="1">
            <a:spLocks/>
          </p:cNvSpPr>
          <p:nvPr/>
        </p:nvSpPr>
        <p:spPr>
          <a:xfrm>
            <a:off x="1858970" y="3194258"/>
            <a:ext cx="3780920" cy="841927"/>
          </a:xfrm>
          <a:prstGeom prst="rect">
            <a:avLst/>
          </a:prstGeom>
        </p:spPr>
        <p:txBody>
          <a:bodyPr vert="horz" lIns="0" tIns="0" rIns="0" bIns="0" rtlCol="0">
            <a:noAutofit/>
          </a:bodyPr>
          <a:lstStyle>
            <a:lvl1pPr marL="0" indent="0" algn="l" defTabSz="457200" rtl="0" eaLnBrk="1" latinLnBrk="0" hangingPunct="1">
              <a:lnSpc>
                <a:spcPct val="100000"/>
              </a:lnSpc>
              <a:spcBef>
                <a:spcPts val="1100"/>
              </a:spcBef>
              <a:buFont typeface="Arial"/>
              <a:buNone/>
              <a:defRPr sz="16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95" rtl="0" eaLnBrk="1" fontAlgn="auto" latinLnBrk="0" hangingPunct="1">
              <a:lnSpc>
                <a:spcPct val="100000"/>
              </a:lnSpc>
              <a:spcBef>
                <a:spcPts val="1100"/>
              </a:spcBef>
              <a:spcAft>
                <a:spcPts val="0"/>
              </a:spcAft>
              <a:buClrTx/>
              <a:buSzTx/>
              <a:buFont typeface="Arial"/>
              <a:buNone/>
              <a:tabLst/>
              <a:defRPr/>
            </a:pPr>
            <a:r>
              <a:rPr kumimoji="0" lang="en-US" sz="1800" b="0" i="0" u="none" strike="noStrike" kern="1200" cap="none" spc="0" normalizeH="0" baseline="0" noProof="0" dirty="0">
                <a:ln>
                  <a:noFill/>
                </a:ln>
                <a:solidFill>
                  <a:srgbClr val="000000"/>
                </a:solidFill>
                <a:effectLst/>
                <a:uLnTx/>
                <a:uFillTx/>
                <a:latin typeface="IBM Plex Sans Light"/>
                <a:cs typeface="Arial" charset="0"/>
              </a:rPr>
              <a:t>Employee inquiries handled by AskHR</a:t>
            </a:r>
          </a:p>
        </p:txBody>
      </p:sp>
      <p:sp>
        <p:nvSpPr>
          <p:cNvPr id="15" name="TextBox 14">
            <a:extLst>
              <a:ext uri="{FF2B5EF4-FFF2-40B4-BE49-F238E27FC236}">
                <a16:creationId xmlns:a16="http://schemas.microsoft.com/office/drawing/2014/main" id="{00928658-0EE5-3EAB-065F-1ED57E1908A2}"/>
              </a:ext>
            </a:extLst>
          </p:cNvPr>
          <p:cNvSpPr txBox="1"/>
          <p:nvPr/>
        </p:nvSpPr>
        <p:spPr>
          <a:xfrm>
            <a:off x="537165" y="3975413"/>
            <a:ext cx="1013746" cy="6793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r" defTabSz="2438400" rtl="0" eaLnBrk="1" fontAlgn="auto" latinLnBrk="0" hangingPunct="1">
              <a:lnSpc>
                <a:spcPct val="100000"/>
              </a:lnSpc>
              <a:spcBef>
                <a:spcPts val="2900"/>
              </a:spcBef>
              <a:spcAft>
                <a:spcPts val="0"/>
              </a:spcAft>
              <a:buClrTx/>
              <a:buSzPct val="100000"/>
              <a:buFontTx/>
              <a:buNone/>
              <a:tabLst/>
              <a:defRPr/>
            </a:pPr>
            <a:r>
              <a:rPr kumimoji="0" lang="en-US" sz="3600" b="0" i="0" u="none" strike="noStrike" kern="0" cap="none" spc="0" normalizeH="0" baseline="0" noProof="0" dirty="0">
                <a:ln>
                  <a:noFill/>
                </a:ln>
                <a:solidFill>
                  <a:srgbClr val="0F62FE"/>
                </a:solidFill>
                <a:effectLst/>
                <a:uLnTx/>
                <a:uFillTx/>
                <a:latin typeface="IBM Plex Sans Light"/>
                <a:ea typeface="+mn-ea"/>
                <a:cs typeface="+mn-cs"/>
                <a:sym typeface="IBM Plex Sans Light"/>
              </a:rPr>
              <a:t>+55</a:t>
            </a:r>
          </a:p>
        </p:txBody>
      </p:sp>
      <p:sp>
        <p:nvSpPr>
          <p:cNvPr id="16" name="Text Placeholder 4">
            <a:extLst>
              <a:ext uri="{FF2B5EF4-FFF2-40B4-BE49-F238E27FC236}">
                <a16:creationId xmlns:a16="http://schemas.microsoft.com/office/drawing/2014/main" id="{EC995AB6-2DEA-8170-B4EB-99E5DE6596C4}"/>
              </a:ext>
            </a:extLst>
          </p:cNvPr>
          <p:cNvSpPr txBox="1">
            <a:spLocks/>
          </p:cNvSpPr>
          <p:nvPr/>
        </p:nvSpPr>
        <p:spPr>
          <a:xfrm>
            <a:off x="1858970" y="3921496"/>
            <a:ext cx="3780920" cy="841927"/>
          </a:xfrm>
          <a:prstGeom prst="rect">
            <a:avLst/>
          </a:prstGeom>
        </p:spPr>
        <p:txBody>
          <a:bodyPr vert="horz" lIns="0" tIns="0" rIns="0" bIns="0" rtlCol="0">
            <a:noAutofit/>
          </a:bodyPr>
          <a:lstStyle>
            <a:lvl1pPr marL="0" indent="0" algn="l" defTabSz="457200" rtl="0" eaLnBrk="1" latinLnBrk="0" hangingPunct="1">
              <a:lnSpc>
                <a:spcPct val="100000"/>
              </a:lnSpc>
              <a:spcBef>
                <a:spcPts val="1100"/>
              </a:spcBef>
              <a:buFont typeface="Arial"/>
              <a:buNone/>
              <a:defRPr sz="16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95" rtl="0" eaLnBrk="1" fontAlgn="auto" latinLnBrk="0" hangingPunct="1">
              <a:lnSpc>
                <a:spcPct val="100000"/>
              </a:lnSpc>
              <a:spcBef>
                <a:spcPts val="1100"/>
              </a:spcBef>
              <a:spcAft>
                <a:spcPts val="0"/>
              </a:spcAft>
              <a:buClrTx/>
              <a:buSzTx/>
              <a:buFont typeface="Arial"/>
              <a:buNone/>
              <a:tabLst/>
              <a:defRPr/>
            </a:pPr>
            <a:r>
              <a:rPr kumimoji="0" lang="en-US" sz="1800" b="0" i="0" u="none" strike="noStrike" kern="1200" cap="none" spc="0" normalizeH="0" baseline="0" noProof="0" dirty="0">
                <a:ln>
                  <a:noFill/>
                </a:ln>
                <a:solidFill>
                  <a:srgbClr val="000000"/>
                </a:solidFill>
                <a:effectLst/>
                <a:uLnTx/>
                <a:uFillTx/>
                <a:latin typeface="IBM Plex Sans Light"/>
                <a:cs typeface="Arial" charset="0"/>
              </a:rPr>
              <a:t>Improvement of HR NPS score from +19 </a:t>
            </a:r>
            <a:r>
              <a:rPr kumimoji="0" lang="en-US" sz="1800" b="0" i="0" u="none" strike="noStrike" kern="1200" cap="none" spc="0" normalizeH="0" baseline="0" noProof="0" dirty="0">
                <a:ln>
                  <a:noFill/>
                </a:ln>
                <a:solidFill>
                  <a:srgbClr val="000000"/>
                </a:solidFill>
                <a:effectLst/>
                <a:uLnTx/>
                <a:uFillTx/>
                <a:latin typeface="IBM Plex Sans Light"/>
                <a:cs typeface="Arial" charset="0"/>
                <a:sym typeface="Wingdings" pitchFamily="2" charset="2"/>
              </a:rPr>
              <a:t> +74</a:t>
            </a:r>
            <a:endParaRPr kumimoji="0" lang="en-US" sz="1800" b="0" i="0" u="none" strike="noStrike" kern="1200" cap="none" spc="0" normalizeH="0" baseline="0" noProof="0" dirty="0">
              <a:ln>
                <a:noFill/>
              </a:ln>
              <a:solidFill>
                <a:srgbClr val="000000"/>
              </a:solidFill>
              <a:effectLst/>
              <a:uLnTx/>
              <a:uFillTx/>
              <a:latin typeface="IBM Plex Sans Light"/>
              <a:cs typeface="Arial" charset="0"/>
            </a:endParaRPr>
          </a:p>
        </p:txBody>
      </p:sp>
      <p:sp>
        <p:nvSpPr>
          <p:cNvPr id="17" name="TextBox 16">
            <a:extLst>
              <a:ext uri="{FF2B5EF4-FFF2-40B4-BE49-F238E27FC236}">
                <a16:creationId xmlns:a16="http://schemas.microsoft.com/office/drawing/2014/main" id="{ACC2911E-1724-7A76-B48D-171C3583131E}"/>
              </a:ext>
            </a:extLst>
          </p:cNvPr>
          <p:cNvSpPr txBox="1"/>
          <p:nvPr/>
        </p:nvSpPr>
        <p:spPr>
          <a:xfrm>
            <a:off x="93779" y="4619809"/>
            <a:ext cx="1536971" cy="6793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r" defTabSz="2438400" rtl="0" eaLnBrk="1" fontAlgn="auto" latinLnBrk="0" hangingPunct="1">
              <a:lnSpc>
                <a:spcPct val="100000"/>
              </a:lnSpc>
              <a:spcBef>
                <a:spcPts val="2900"/>
              </a:spcBef>
              <a:spcAft>
                <a:spcPts val="0"/>
              </a:spcAft>
              <a:buClrTx/>
              <a:buSzPct val="100000"/>
              <a:buFontTx/>
              <a:buNone/>
              <a:tabLst/>
              <a:defRPr/>
            </a:pPr>
            <a:r>
              <a:rPr kumimoji="0" lang="en-US" sz="3600" b="0" i="0" u="none" strike="noStrike" kern="0" cap="none" spc="0" normalizeH="0" baseline="0" noProof="0" dirty="0">
                <a:ln>
                  <a:noFill/>
                </a:ln>
                <a:solidFill>
                  <a:srgbClr val="0F62FE"/>
                </a:solidFill>
                <a:effectLst/>
                <a:uLnTx/>
                <a:uFillTx/>
                <a:latin typeface="IBM Plex Sans Light"/>
                <a:ea typeface="+mn-ea"/>
                <a:cs typeface="+mn-cs"/>
                <a:sym typeface="IBM Plex Sans Light"/>
              </a:rPr>
              <a:t>96%</a:t>
            </a:r>
          </a:p>
        </p:txBody>
      </p:sp>
      <p:sp>
        <p:nvSpPr>
          <p:cNvPr id="19" name="Text Placeholder 4">
            <a:extLst>
              <a:ext uri="{FF2B5EF4-FFF2-40B4-BE49-F238E27FC236}">
                <a16:creationId xmlns:a16="http://schemas.microsoft.com/office/drawing/2014/main" id="{527E99FC-1146-A847-F287-ACB56DEE328F}"/>
              </a:ext>
            </a:extLst>
          </p:cNvPr>
          <p:cNvSpPr txBox="1">
            <a:spLocks/>
          </p:cNvSpPr>
          <p:nvPr/>
        </p:nvSpPr>
        <p:spPr>
          <a:xfrm>
            <a:off x="1858969" y="4712094"/>
            <a:ext cx="3780920" cy="841927"/>
          </a:xfrm>
          <a:prstGeom prst="rect">
            <a:avLst/>
          </a:prstGeom>
        </p:spPr>
        <p:txBody>
          <a:bodyPr vert="horz" lIns="0" tIns="0" rIns="0" bIns="0" rtlCol="0">
            <a:noAutofit/>
          </a:bodyPr>
          <a:lstStyle>
            <a:lvl1pPr marL="0" indent="0" algn="l" defTabSz="457200" rtl="0" eaLnBrk="1" latinLnBrk="0" hangingPunct="1">
              <a:lnSpc>
                <a:spcPct val="100000"/>
              </a:lnSpc>
              <a:spcBef>
                <a:spcPts val="1100"/>
              </a:spcBef>
              <a:buFont typeface="Arial"/>
              <a:buNone/>
              <a:defRPr sz="16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95" rtl="0" eaLnBrk="1" fontAlgn="auto" latinLnBrk="0" hangingPunct="1">
              <a:lnSpc>
                <a:spcPct val="100000"/>
              </a:lnSpc>
              <a:spcBef>
                <a:spcPts val="1100"/>
              </a:spcBef>
              <a:spcAft>
                <a:spcPts val="0"/>
              </a:spcAft>
              <a:buClrTx/>
              <a:buSzTx/>
              <a:buFont typeface="Arial"/>
              <a:buNone/>
              <a:tabLst/>
              <a:defRPr/>
            </a:pPr>
            <a:r>
              <a:rPr kumimoji="0" lang="en-US" sz="1800" b="0" i="0" u="none" strike="noStrike" kern="1200" cap="none" spc="0" normalizeH="0" baseline="0" noProof="0" dirty="0">
                <a:ln>
                  <a:noFill/>
                </a:ln>
                <a:solidFill>
                  <a:srgbClr val="000000"/>
                </a:solidFill>
                <a:effectLst/>
                <a:uLnTx/>
                <a:uFillTx/>
                <a:latin typeface="IBM Plex Sans Light"/>
                <a:cs typeface="Arial" charset="0"/>
              </a:rPr>
              <a:t>Manager adoption</a:t>
            </a:r>
          </a:p>
        </p:txBody>
      </p:sp>
      <p:sp>
        <p:nvSpPr>
          <p:cNvPr id="3" name="TextBox 2">
            <a:extLst>
              <a:ext uri="{FF2B5EF4-FFF2-40B4-BE49-F238E27FC236}">
                <a16:creationId xmlns:a16="http://schemas.microsoft.com/office/drawing/2014/main" id="{2A6F2ABB-0026-4D65-1F99-50A8162DCD5E}"/>
              </a:ext>
            </a:extLst>
          </p:cNvPr>
          <p:cNvSpPr txBox="1"/>
          <p:nvPr/>
        </p:nvSpPr>
        <p:spPr>
          <a:xfrm>
            <a:off x="93778" y="5248100"/>
            <a:ext cx="1536971" cy="6793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r" defTabSz="2438400" rtl="0" eaLnBrk="1" fontAlgn="auto" latinLnBrk="0" hangingPunct="1">
              <a:lnSpc>
                <a:spcPct val="100000"/>
              </a:lnSpc>
              <a:spcBef>
                <a:spcPts val="2900"/>
              </a:spcBef>
              <a:spcAft>
                <a:spcPts val="0"/>
              </a:spcAft>
              <a:buClrTx/>
              <a:buSzPct val="100000"/>
              <a:buFontTx/>
              <a:buNone/>
              <a:tabLst/>
              <a:defRPr/>
            </a:pPr>
            <a:r>
              <a:rPr kumimoji="0" lang="en-US" sz="3600" b="0" i="0" u="none" strike="noStrike" kern="0" cap="none" spc="0" normalizeH="0" baseline="0" noProof="0" dirty="0">
                <a:ln>
                  <a:noFill/>
                </a:ln>
                <a:solidFill>
                  <a:srgbClr val="0F62FE"/>
                </a:solidFill>
                <a:effectLst/>
                <a:uLnTx/>
                <a:uFillTx/>
                <a:latin typeface="IBM Plex Sans Light"/>
                <a:ea typeface="+mn-ea"/>
                <a:cs typeface="+mn-cs"/>
                <a:sym typeface="IBM Plex Sans Light"/>
              </a:rPr>
              <a:t>93%</a:t>
            </a:r>
          </a:p>
        </p:txBody>
      </p:sp>
      <p:sp>
        <p:nvSpPr>
          <p:cNvPr id="7" name="Text Placeholder 4">
            <a:extLst>
              <a:ext uri="{FF2B5EF4-FFF2-40B4-BE49-F238E27FC236}">
                <a16:creationId xmlns:a16="http://schemas.microsoft.com/office/drawing/2014/main" id="{3F507CB1-4F04-EFF0-D8BF-8AA5321DFC76}"/>
              </a:ext>
            </a:extLst>
          </p:cNvPr>
          <p:cNvSpPr txBox="1">
            <a:spLocks/>
          </p:cNvSpPr>
          <p:nvPr/>
        </p:nvSpPr>
        <p:spPr>
          <a:xfrm>
            <a:off x="1858968" y="5349747"/>
            <a:ext cx="3780920" cy="841927"/>
          </a:xfrm>
          <a:prstGeom prst="rect">
            <a:avLst/>
          </a:prstGeom>
        </p:spPr>
        <p:txBody>
          <a:bodyPr vert="horz" lIns="0" tIns="0" rIns="0" bIns="0" rtlCol="0">
            <a:noAutofit/>
          </a:bodyPr>
          <a:lstStyle>
            <a:lvl1pPr marL="0" indent="0" algn="l" defTabSz="457200" rtl="0" eaLnBrk="1" latinLnBrk="0" hangingPunct="1">
              <a:lnSpc>
                <a:spcPct val="100000"/>
              </a:lnSpc>
              <a:spcBef>
                <a:spcPts val="1100"/>
              </a:spcBef>
              <a:buFont typeface="Arial"/>
              <a:buNone/>
              <a:defRPr sz="16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95" rtl="0" eaLnBrk="1" fontAlgn="auto" latinLnBrk="0" hangingPunct="1">
              <a:lnSpc>
                <a:spcPct val="100000"/>
              </a:lnSpc>
              <a:spcBef>
                <a:spcPts val="1100"/>
              </a:spcBef>
              <a:spcAft>
                <a:spcPts val="0"/>
              </a:spcAft>
              <a:buClrTx/>
              <a:buSzTx/>
              <a:buFont typeface="Arial"/>
              <a:buNone/>
              <a:tabLst/>
              <a:defRPr/>
            </a:pPr>
            <a:r>
              <a:rPr kumimoji="0" lang="en-US" sz="1800" b="0" i="0" u="none" strike="noStrike" kern="1200" cap="none" spc="0" normalizeH="0" baseline="0" noProof="0" dirty="0">
                <a:ln>
                  <a:noFill/>
                </a:ln>
                <a:solidFill>
                  <a:srgbClr val="000000"/>
                </a:solidFill>
                <a:effectLst/>
                <a:uLnTx/>
                <a:uFillTx/>
                <a:latin typeface="IBM Plex Sans Light"/>
                <a:cs typeface="Arial" charset="0"/>
              </a:rPr>
              <a:t>Executive adoption</a:t>
            </a:r>
          </a:p>
        </p:txBody>
      </p:sp>
      <p:sp>
        <p:nvSpPr>
          <p:cNvPr id="10" name="Text Placeholder 4">
            <a:extLst>
              <a:ext uri="{FF2B5EF4-FFF2-40B4-BE49-F238E27FC236}">
                <a16:creationId xmlns:a16="http://schemas.microsoft.com/office/drawing/2014/main" id="{F4085EA7-8BDB-6355-1FC0-FEA9C299B6B5}"/>
              </a:ext>
            </a:extLst>
          </p:cNvPr>
          <p:cNvSpPr txBox="1">
            <a:spLocks/>
          </p:cNvSpPr>
          <p:nvPr/>
        </p:nvSpPr>
        <p:spPr>
          <a:xfrm>
            <a:off x="1858970" y="2166713"/>
            <a:ext cx="3780920" cy="274709"/>
          </a:xfrm>
          <a:prstGeom prst="rect">
            <a:avLst/>
          </a:prstGeom>
        </p:spPr>
        <p:txBody>
          <a:bodyPr vert="horz" lIns="0" tIns="0" rIns="0" bIns="0" rtlCol="0">
            <a:noAutofit/>
          </a:bodyPr>
          <a:lstStyle>
            <a:lvl1pPr marL="0" indent="0" algn="l" defTabSz="457200" rtl="0" eaLnBrk="1" latinLnBrk="0" hangingPunct="1">
              <a:lnSpc>
                <a:spcPct val="100000"/>
              </a:lnSpc>
              <a:spcBef>
                <a:spcPts val="1100"/>
              </a:spcBef>
              <a:buFont typeface="Arial"/>
              <a:buNone/>
              <a:defRPr sz="16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95" rtl="0" eaLnBrk="1" fontAlgn="auto" latinLnBrk="0" hangingPunct="1">
              <a:lnSpc>
                <a:spcPct val="100000"/>
              </a:lnSpc>
              <a:spcBef>
                <a:spcPts val="1100"/>
              </a:spcBef>
              <a:spcAft>
                <a:spcPts val="0"/>
              </a:spcAft>
              <a:buClrTx/>
              <a:buSzTx/>
              <a:buFont typeface="Arial"/>
              <a:buNone/>
              <a:tabLst/>
              <a:defRPr/>
            </a:pPr>
            <a:r>
              <a:rPr kumimoji="0" lang="en-US" sz="1800" b="0" i="0" u="none" strike="noStrike" kern="1200" cap="none" spc="0" normalizeH="0" baseline="0" noProof="0" dirty="0">
                <a:ln>
                  <a:noFill/>
                </a:ln>
                <a:solidFill>
                  <a:srgbClr val="000000"/>
                </a:solidFill>
                <a:effectLst/>
                <a:uLnTx/>
                <a:uFillTx/>
                <a:latin typeface="IBM Plex Sans Light"/>
                <a:cs typeface="Arial" charset="0"/>
              </a:rPr>
              <a:t>Automated Tasks</a:t>
            </a:r>
          </a:p>
        </p:txBody>
      </p:sp>
      <p:sp>
        <p:nvSpPr>
          <p:cNvPr id="18" name="TextBox 17">
            <a:extLst>
              <a:ext uri="{FF2B5EF4-FFF2-40B4-BE49-F238E27FC236}">
                <a16:creationId xmlns:a16="http://schemas.microsoft.com/office/drawing/2014/main" id="{920F0FA7-488C-EE80-1A9F-8C3B2F5A3340}"/>
              </a:ext>
            </a:extLst>
          </p:cNvPr>
          <p:cNvSpPr txBox="1"/>
          <p:nvPr/>
        </p:nvSpPr>
        <p:spPr>
          <a:xfrm>
            <a:off x="93780" y="2039650"/>
            <a:ext cx="1536971" cy="6793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r" defTabSz="2438400" rtl="0" eaLnBrk="1" fontAlgn="auto" latinLnBrk="0" hangingPunct="1">
              <a:lnSpc>
                <a:spcPct val="100000"/>
              </a:lnSpc>
              <a:spcBef>
                <a:spcPts val="2900"/>
              </a:spcBef>
              <a:spcAft>
                <a:spcPts val="0"/>
              </a:spcAft>
              <a:buClrTx/>
              <a:buSzPct val="100000"/>
              <a:buFontTx/>
              <a:buNone/>
              <a:tabLst/>
              <a:defRPr/>
            </a:pPr>
            <a:r>
              <a:rPr kumimoji="0" lang="en-US" sz="3600" b="0" i="0" u="none" strike="noStrike" kern="0" cap="none" spc="0" normalizeH="0" baseline="0" noProof="0" dirty="0">
                <a:ln>
                  <a:noFill/>
                </a:ln>
                <a:solidFill>
                  <a:srgbClr val="0F62FE"/>
                </a:solidFill>
                <a:effectLst/>
                <a:uLnTx/>
                <a:uFillTx/>
                <a:latin typeface="IBM Plex Sans Light"/>
                <a:ea typeface="+mn-ea"/>
                <a:cs typeface="+mn-cs"/>
                <a:sym typeface="IBM Plex Sans Light"/>
              </a:rPr>
              <a:t>765K</a:t>
            </a:r>
          </a:p>
        </p:txBody>
      </p:sp>
      <p:sp>
        <p:nvSpPr>
          <p:cNvPr id="20" name="Text Placeholder 4">
            <a:extLst>
              <a:ext uri="{FF2B5EF4-FFF2-40B4-BE49-F238E27FC236}">
                <a16:creationId xmlns:a16="http://schemas.microsoft.com/office/drawing/2014/main" id="{D17CC9B9-5136-0EC6-4C72-4D81226CB638}"/>
              </a:ext>
            </a:extLst>
          </p:cNvPr>
          <p:cNvSpPr txBox="1">
            <a:spLocks/>
          </p:cNvSpPr>
          <p:nvPr/>
        </p:nvSpPr>
        <p:spPr>
          <a:xfrm>
            <a:off x="1858970" y="1530960"/>
            <a:ext cx="3780920" cy="274709"/>
          </a:xfrm>
          <a:prstGeom prst="rect">
            <a:avLst/>
          </a:prstGeom>
        </p:spPr>
        <p:txBody>
          <a:bodyPr vert="horz" lIns="0" tIns="0" rIns="0" bIns="0" rtlCol="0">
            <a:noAutofit/>
          </a:bodyPr>
          <a:lstStyle>
            <a:lvl1pPr marL="0" indent="0" algn="l" defTabSz="457200" rtl="0" eaLnBrk="1" latinLnBrk="0" hangingPunct="1">
              <a:lnSpc>
                <a:spcPct val="100000"/>
              </a:lnSpc>
              <a:spcBef>
                <a:spcPts val="1100"/>
              </a:spcBef>
              <a:buFont typeface="Arial"/>
              <a:buNone/>
              <a:defRPr sz="16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95" rtl="0" eaLnBrk="1" fontAlgn="auto" latinLnBrk="0" hangingPunct="1">
              <a:lnSpc>
                <a:spcPct val="100000"/>
              </a:lnSpc>
              <a:spcBef>
                <a:spcPts val="1100"/>
              </a:spcBef>
              <a:spcAft>
                <a:spcPts val="0"/>
              </a:spcAft>
              <a:buClrTx/>
              <a:buSzTx/>
              <a:buFont typeface="Arial"/>
              <a:buNone/>
              <a:tabLst/>
              <a:defRPr/>
            </a:pPr>
            <a:r>
              <a:rPr kumimoji="0" lang="en-US" sz="1800" b="0" i="0" u="none" strike="noStrike" kern="1200" cap="none" spc="0" normalizeH="0" baseline="0" noProof="0" dirty="0">
                <a:ln>
                  <a:noFill/>
                </a:ln>
                <a:solidFill>
                  <a:srgbClr val="000000"/>
                </a:solidFill>
                <a:effectLst/>
                <a:uLnTx/>
                <a:uFillTx/>
                <a:latin typeface="IBM Plex Sans Light"/>
                <a:cs typeface="Arial" charset="0"/>
              </a:rPr>
              <a:t>Yearly </a:t>
            </a:r>
            <a:r>
              <a:rPr kumimoji="0" lang="en-US" sz="1800" b="0" i="0" u="none" strike="noStrike" kern="1200" cap="none" spc="0" normalizeH="0" baseline="0" noProof="0" dirty="0" err="1">
                <a:ln>
                  <a:noFill/>
                </a:ln>
                <a:solidFill>
                  <a:srgbClr val="000000"/>
                </a:solidFill>
                <a:effectLst/>
                <a:uLnTx/>
                <a:uFillTx/>
                <a:latin typeface="IBM Plex Sans Light"/>
                <a:cs typeface="Arial" charset="0"/>
              </a:rPr>
              <a:t>interactions</a:t>
            </a:r>
            <a:r>
              <a:rPr kumimoji="0" lang="en-US" sz="1800" b="0" i="0" u="none" strike="noStrike" kern="1200" cap="none" spc="0" normalizeH="0" baseline="0" noProof="0" dirty="0">
                <a:ln>
                  <a:noFill/>
                </a:ln>
                <a:solidFill>
                  <a:srgbClr val="000000"/>
                </a:solidFill>
                <a:effectLst/>
                <a:uLnTx/>
                <a:uFillTx/>
                <a:latin typeface="IBM Plex Sans Light"/>
                <a:cs typeface="Arial" charset="0"/>
              </a:rPr>
              <a:t> </a:t>
            </a:r>
          </a:p>
        </p:txBody>
      </p:sp>
      <p:sp>
        <p:nvSpPr>
          <p:cNvPr id="21" name="TextBox 20">
            <a:extLst>
              <a:ext uri="{FF2B5EF4-FFF2-40B4-BE49-F238E27FC236}">
                <a16:creationId xmlns:a16="http://schemas.microsoft.com/office/drawing/2014/main" id="{7E9DF72C-6014-6A1D-ACE0-193990695EB2}"/>
              </a:ext>
            </a:extLst>
          </p:cNvPr>
          <p:cNvSpPr txBox="1"/>
          <p:nvPr/>
        </p:nvSpPr>
        <p:spPr>
          <a:xfrm>
            <a:off x="93780" y="1403897"/>
            <a:ext cx="1536971" cy="6793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r" defTabSz="2438400" rtl="0" eaLnBrk="1" fontAlgn="auto" latinLnBrk="0" hangingPunct="1">
              <a:lnSpc>
                <a:spcPct val="100000"/>
              </a:lnSpc>
              <a:spcBef>
                <a:spcPts val="2900"/>
              </a:spcBef>
              <a:spcAft>
                <a:spcPts val="0"/>
              </a:spcAft>
              <a:buClrTx/>
              <a:buSzPct val="100000"/>
              <a:buFontTx/>
              <a:buNone/>
              <a:tabLst/>
              <a:defRPr/>
            </a:pPr>
            <a:r>
              <a:rPr kumimoji="0" lang="en-US" sz="3600" b="0" i="0" u="none" strike="noStrike" kern="0" cap="none" spc="0" normalizeH="0" baseline="0" noProof="0" dirty="0">
                <a:ln>
                  <a:noFill/>
                </a:ln>
                <a:solidFill>
                  <a:srgbClr val="0F62FE"/>
                </a:solidFill>
                <a:effectLst/>
                <a:uLnTx/>
                <a:uFillTx/>
                <a:latin typeface="IBM Plex Sans Light"/>
                <a:ea typeface="+mn-ea"/>
                <a:cs typeface="+mn-cs"/>
                <a:sym typeface="IBM Plex Sans Light"/>
              </a:rPr>
              <a:t>10.1M</a:t>
            </a:r>
          </a:p>
        </p:txBody>
      </p:sp>
      <p:sp>
        <p:nvSpPr>
          <p:cNvPr id="22" name="Text Placeholder 4">
            <a:extLst>
              <a:ext uri="{FF2B5EF4-FFF2-40B4-BE49-F238E27FC236}">
                <a16:creationId xmlns:a16="http://schemas.microsoft.com/office/drawing/2014/main" id="{C32388C9-80E7-E5B8-6D09-5C00A5512A1F}"/>
              </a:ext>
            </a:extLst>
          </p:cNvPr>
          <p:cNvSpPr txBox="1">
            <a:spLocks/>
          </p:cNvSpPr>
          <p:nvPr/>
        </p:nvSpPr>
        <p:spPr>
          <a:xfrm>
            <a:off x="1886316" y="5928690"/>
            <a:ext cx="3780920" cy="274709"/>
          </a:xfrm>
          <a:prstGeom prst="rect">
            <a:avLst/>
          </a:prstGeom>
        </p:spPr>
        <p:txBody>
          <a:bodyPr vert="horz" lIns="0" tIns="0" rIns="0" bIns="0" rtlCol="0">
            <a:noAutofit/>
          </a:bodyPr>
          <a:lstStyle>
            <a:lvl1pPr marL="0" indent="0" algn="l" defTabSz="457200" rtl="0" eaLnBrk="1" latinLnBrk="0" hangingPunct="1">
              <a:lnSpc>
                <a:spcPct val="100000"/>
              </a:lnSpc>
              <a:spcBef>
                <a:spcPts val="1100"/>
              </a:spcBef>
              <a:buFont typeface="Arial"/>
              <a:buNone/>
              <a:defRPr sz="16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95" rtl="0" eaLnBrk="1" fontAlgn="auto" latinLnBrk="0" hangingPunct="1">
              <a:lnSpc>
                <a:spcPct val="100000"/>
              </a:lnSpc>
              <a:spcBef>
                <a:spcPts val="1100"/>
              </a:spcBef>
              <a:spcAft>
                <a:spcPts val="0"/>
              </a:spcAft>
              <a:buClrTx/>
              <a:buSzTx/>
              <a:buFont typeface="Arial"/>
              <a:buNone/>
              <a:tabLst/>
              <a:defRPr/>
            </a:pPr>
            <a:r>
              <a:rPr kumimoji="0" lang="en-US" sz="1800" b="0" i="0" u="none" strike="noStrike" kern="1200" cap="none" spc="0" normalizeH="0" baseline="0" noProof="0" dirty="0">
                <a:ln>
                  <a:noFill/>
                </a:ln>
                <a:solidFill>
                  <a:srgbClr val="000000"/>
                </a:solidFill>
                <a:effectLst/>
                <a:uLnTx/>
                <a:uFillTx/>
                <a:latin typeface="IBM Plex Sans Light"/>
                <a:cs typeface="Arial" charset="0"/>
              </a:rPr>
              <a:t>Average increase in HR ‘level’</a:t>
            </a:r>
          </a:p>
        </p:txBody>
      </p:sp>
      <p:sp>
        <p:nvSpPr>
          <p:cNvPr id="23" name="TextBox 22">
            <a:extLst>
              <a:ext uri="{FF2B5EF4-FFF2-40B4-BE49-F238E27FC236}">
                <a16:creationId xmlns:a16="http://schemas.microsoft.com/office/drawing/2014/main" id="{7D441BDD-17C2-60EB-89DF-459DDB6CCF5D}"/>
              </a:ext>
            </a:extLst>
          </p:cNvPr>
          <p:cNvSpPr txBox="1"/>
          <p:nvPr/>
        </p:nvSpPr>
        <p:spPr>
          <a:xfrm>
            <a:off x="121126" y="5801627"/>
            <a:ext cx="1536971" cy="6793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r" defTabSz="2438400" rtl="0" eaLnBrk="1" fontAlgn="auto" latinLnBrk="0" hangingPunct="1">
              <a:lnSpc>
                <a:spcPct val="100000"/>
              </a:lnSpc>
              <a:spcBef>
                <a:spcPts val="2900"/>
              </a:spcBef>
              <a:spcAft>
                <a:spcPts val="0"/>
              </a:spcAft>
              <a:buClrTx/>
              <a:buSzPct val="100000"/>
              <a:buFontTx/>
              <a:buNone/>
              <a:tabLst/>
              <a:defRPr/>
            </a:pPr>
            <a:r>
              <a:rPr kumimoji="0" lang="en-US" sz="3200" b="0" i="0" u="none" strike="noStrike" kern="0" cap="none" spc="0" normalizeH="0" baseline="0" noProof="0" dirty="0">
                <a:ln>
                  <a:noFill/>
                </a:ln>
                <a:solidFill>
                  <a:srgbClr val="0F62FE"/>
                </a:solidFill>
                <a:effectLst/>
                <a:uLnTx/>
                <a:uFillTx/>
                <a:latin typeface="IBM Plex Sans Light"/>
                <a:ea typeface="+mn-ea"/>
                <a:cs typeface="+mn-cs"/>
                <a:sym typeface="IBM Plex Sans Light"/>
              </a:rPr>
              <a:t>2 Bands</a:t>
            </a:r>
          </a:p>
        </p:txBody>
      </p:sp>
      <p:sp>
        <p:nvSpPr>
          <p:cNvPr id="5" name="TextBox 4">
            <a:extLst>
              <a:ext uri="{FF2B5EF4-FFF2-40B4-BE49-F238E27FC236}">
                <a16:creationId xmlns:a16="http://schemas.microsoft.com/office/drawing/2014/main" id="{78CD1C2E-A271-2B25-C9ED-04B021B87766}"/>
              </a:ext>
            </a:extLst>
          </p:cNvPr>
          <p:cNvSpPr txBox="1"/>
          <p:nvPr/>
        </p:nvSpPr>
        <p:spPr>
          <a:xfrm>
            <a:off x="21247" y="6489513"/>
            <a:ext cx="26289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IBM| 2024</a:t>
            </a:r>
          </a:p>
        </p:txBody>
      </p:sp>
    </p:spTree>
    <p:extLst>
      <p:ext uri="{BB962C8B-B14F-4D97-AF65-F5344CB8AC3E}">
        <p14:creationId xmlns:p14="http://schemas.microsoft.com/office/powerpoint/2010/main" val="3866255764"/>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F624FA1-7CA4-AA81-4048-307A043DA068}"/>
              </a:ext>
            </a:extLst>
          </p:cNvPr>
          <p:cNvSpPr>
            <a:spLocks noGrp="1"/>
          </p:cNvSpPr>
          <p:nvPr>
            <p:ph type="title"/>
          </p:nvPr>
        </p:nvSpPr>
        <p:spPr/>
        <p:txBody>
          <a:bodyPr/>
          <a:lstStyle/>
          <a:p>
            <a:r>
              <a:rPr lang="en-US" dirty="0"/>
              <a:t>watsonx Orchestrate:</a:t>
            </a:r>
            <a:br>
              <a:rPr lang="en-US" dirty="0"/>
            </a:br>
            <a:r>
              <a:rPr lang="en-US" dirty="0"/>
              <a:t>AI for HR</a:t>
            </a:r>
          </a:p>
        </p:txBody>
      </p:sp>
      <p:pic>
        <p:nvPicPr>
          <p:cNvPr id="4" name="Picture Placeholder 5" descr="Illustration of cyan arrows flowing to the upper right corner of slide">
            <a:extLst>
              <a:ext uri="{FF2B5EF4-FFF2-40B4-BE49-F238E27FC236}">
                <a16:creationId xmlns:a16="http://schemas.microsoft.com/office/drawing/2014/main" id="{0FD5756D-0908-CCCA-029F-582ECB549DD2}"/>
              </a:ext>
            </a:extLst>
          </p:cNvPr>
          <p:cNvPicPr>
            <a:picLocks noGrp="1" noChangeAspect="1"/>
          </p:cNvPicPr>
          <p:nvPr>
            <p:ph type="pic" sz="quarter" idx="12"/>
          </p:nvPr>
        </p:nvPicPr>
        <p:blipFill rotWithShape="1">
          <a:blip r:embed="rId2" cstate="screen">
            <a:extLst>
              <a:ext uri="{28A0092B-C50C-407E-A947-70E740481C1C}">
                <a14:useLocalDpi xmlns:a14="http://schemas.microsoft.com/office/drawing/2010/main"/>
              </a:ext>
            </a:extLst>
          </a:blip>
          <a:srcRect/>
          <a:stretch/>
        </p:blipFill>
        <p:spPr>
          <a:xfrm>
            <a:off x="6380919" y="284957"/>
            <a:ext cx="5523781" cy="6287294"/>
          </a:xfrm>
        </p:spPr>
      </p:pic>
    </p:spTree>
    <p:extLst>
      <p:ext uri="{BB962C8B-B14F-4D97-AF65-F5344CB8AC3E}">
        <p14:creationId xmlns:p14="http://schemas.microsoft.com/office/powerpoint/2010/main" val="2618470007"/>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BM presentation enablement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kumimoji="0" sz="20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algn="l" defTabSz="2438400">
          <a:buSzPct val="100000"/>
          <a:defRPr sz="2400" dirty="0" smtClean="0">
            <a:cs typeface="Arial" panose="020B0604020202020204" pitchFamily="34"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461DE280-6773-3240-A149-7E3C0A49F9FC}" vid="{119F70B9-3B70-5545-8722-9A4DAAA12CBF}"/>
    </a:ext>
  </a:extLst>
</a:theme>
</file>

<file path=ppt/theme/theme10.xml><?xml version="1.0" encoding="utf-8"?>
<a:theme xmlns:a="http://schemas.openxmlformats.org/drawingml/2006/main" name="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CD0C5817-EB6A-6C46-8403-24AD582CFD03}" vid="{BF9B21BA-71C2-5045-909D-55899A1DBA68}"/>
    </a:ext>
  </a:extLst>
</a:theme>
</file>

<file path=ppt/theme/theme11.xml><?xml version="1.0" encoding="utf-8"?>
<a:theme xmlns:a="http://schemas.openxmlformats.org/drawingml/2006/main" name="5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7_Plex" id="{95415CFD-B8C5-A64E-9B33-327FB66EA919}" vid="{53F516D8-807B-3648-BBAC-1A335BDA2B4F}"/>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4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230309_IBM_presentation_sample_layouts_v_1_4_Plex_LS" id="{3E7A50B4-F9CE-5A46-A742-02DC46899AE3}" vid="{BB6DAD99-7B0D-5D4D-A04C-82EBAB824FB9}"/>
    </a:ext>
  </a:extLst>
</a:theme>
</file>

<file path=ppt/theme/theme3.xml><?xml version="1.0" encoding="utf-8"?>
<a:theme xmlns:a="http://schemas.openxmlformats.org/drawingml/2006/main" name="2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230309_IBM_presentation_sample_layouts_v_1_4_Plex_LS" id="{3E7A50B4-F9CE-5A46-A742-02DC46899AE3}" vid="{BB6DAD99-7B0D-5D4D-A04C-82EBAB824FB9}"/>
    </a:ext>
  </a:extLst>
</a:theme>
</file>

<file path=ppt/theme/theme4.xml><?xml version="1.0" encoding="utf-8"?>
<a:theme xmlns:a="http://schemas.openxmlformats.org/drawingml/2006/main" name="7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EP Presentation Template v5" id="{0C139E2C-24BF-2F4E-991D-6947312803CD}" vid="{125096B4-B049-5145-A382-A0D1732DF3AF}"/>
    </a:ext>
  </a:extLst>
</a:theme>
</file>

<file path=ppt/theme/theme5.xml><?xml version="1.0" encoding="utf-8"?>
<a:theme xmlns:a="http://schemas.openxmlformats.org/drawingml/2006/main" name="4_Covers and end slides (no footers)">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1192E8"/>
        </a:solidFill>
        <a:ln w="19050">
          <a:no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0" tIns="0" rIns="0" bIns="0" rtlCol="0">
        <a:spAutoFit/>
      </a:bodyPr>
      <a:lstStyle>
        <a:defPPr algn="l">
          <a:lnSpc>
            <a:spcPct val="110000"/>
          </a:lnSpc>
          <a:spcBef>
            <a:spcPts val="1800"/>
          </a:spcBef>
          <a:defRPr sz="18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 id="{4C35AED2-0956-0D40-B36D-C06D62725AA8}" vid="{C4BA05BF-74B1-4B4C-B175-992815DE89C6}"/>
    </a:ext>
  </a:extLst>
</a:theme>
</file>

<file path=ppt/theme/theme6.xml><?xml version="1.0" encoding="utf-8"?>
<a:theme xmlns:a="http://schemas.openxmlformats.org/drawingml/2006/main" name="1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Presentation11" id="{DA958CBB-069C-DA4C-BE33-30B6329E0230}" vid="{3198DFCD-DB52-8B47-AF9A-19B292ECCB5F}"/>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8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 id="{4C35AED2-0956-0D40-B36D-C06D62725AA8}" vid="{C4BA05BF-74B1-4B4C-B175-992815DE89C6}"/>
    </a:ext>
  </a:extLst>
</a:theme>
</file>

<file path=ppt/theme/theme9.xml><?xml version="1.0" encoding="utf-8"?>
<a:theme xmlns:a="http://schemas.openxmlformats.org/drawingml/2006/main" name="3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sample_layouts_v_1_4_Plex" id="{115A30C3-E065-8E43-B7D6-72947135D216}" vid="{50B1988C-34F2-D745-88FF-4764791EF0E3}"/>
    </a:ext>
  </a:extLst>
</a:theme>
</file>

<file path=docProps/app.xml><?xml version="1.0" encoding="utf-8"?>
<Properties xmlns="http://schemas.openxmlformats.org/officeDocument/2006/extended-properties" xmlns:vt="http://schemas.openxmlformats.org/officeDocument/2006/docPropsVTypes">
  <TotalTime>2845</TotalTime>
  <Words>4335</Words>
  <Application>Microsoft Macintosh PowerPoint</Application>
  <PresentationFormat>Widescreen</PresentationFormat>
  <Paragraphs>866</Paragraphs>
  <Slides>30</Slides>
  <Notes>18</Notes>
  <HiddenSlides>1</HiddenSlides>
  <MMClips>0</MMClips>
  <ScaleCrop>false</ScaleCrop>
  <HeadingPairs>
    <vt:vector size="8" baseType="variant">
      <vt:variant>
        <vt:lpstr>Fonts Used</vt:lpstr>
      </vt:variant>
      <vt:variant>
        <vt:i4>23</vt:i4>
      </vt:variant>
      <vt:variant>
        <vt:lpstr>Theme</vt:lpstr>
      </vt:variant>
      <vt:variant>
        <vt:i4>11</vt:i4>
      </vt:variant>
      <vt:variant>
        <vt:lpstr>Embedded OLE Servers</vt:lpstr>
      </vt:variant>
      <vt:variant>
        <vt:i4>1</vt:i4>
      </vt:variant>
      <vt:variant>
        <vt:lpstr>Slide Titles</vt:lpstr>
      </vt:variant>
      <vt:variant>
        <vt:i4>30</vt:i4>
      </vt:variant>
    </vt:vector>
  </HeadingPairs>
  <TitlesOfParts>
    <vt:vector size="65" baseType="lpstr">
      <vt:lpstr>Aptos</vt:lpstr>
      <vt:lpstr>Arial</vt:lpstr>
      <vt:lpstr>Arial Regular</vt:lpstr>
      <vt:lpstr>Arial,Sans-Serif</vt:lpstr>
      <vt:lpstr>Calibri</vt:lpstr>
      <vt:lpstr>Calibri Light</vt:lpstr>
      <vt:lpstr>Fonte do Sistema Regular</vt:lpstr>
      <vt:lpstr>Google Sans</vt:lpstr>
      <vt:lpstr>Helvetica</vt:lpstr>
      <vt:lpstr>Helvetica Neue Medium</vt:lpstr>
      <vt:lpstr>IBM Plex Sans</vt:lpstr>
      <vt:lpstr>IBM Plex Sans ExtLt</vt:lpstr>
      <vt:lpstr>IBM Plex Sans ExtraLight</vt:lpstr>
      <vt:lpstr>IBM Plex Sans Light</vt:lpstr>
      <vt:lpstr>IBM Plex Sans Medium</vt:lpstr>
      <vt:lpstr>IBM Plex Sans Medm</vt:lpstr>
      <vt:lpstr>IBM Plex Sans Regular</vt:lpstr>
      <vt:lpstr>IBM Plex Sans SmBld</vt:lpstr>
      <vt:lpstr>IBM Plex Sans Text</vt:lpstr>
      <vt:lpstr>Sinkin Sans 300 Light</vt:lpstr>
      <vt:lpstr>System Font Regular</vt:lpstr>
      <vt:lpstr>Wingdings</vt:lpstr>
      <vt:lpstr>Wingdings,Sans-Serif</vt:lpstr>
      <vt:lpstr>IBM presentation enablement template</vt:lpstr>
      <vt:lpstr>4_IBM presentation template</vt:lpstr>
      <vt:lpstr>2_IBM presentation template</vt:lpstr>
      <vt:lpstr>7_IBM Brand Template 2022</vt:lpstr>
      <vt:lpstr>4_Covers and end slides (no footers)</vt:lpstr>
      <vt:lpstr>1_IBM presentation template</vt:lpstr>
      <vt:lpstr>1_Office Theme</vt:lpstr>
      <vt:lpstr>18_IBM Brand Template 2022</vt:lpstr>
      <vt:lpstr>3_IBM presentation template</vt:lpstr>
      <vt:lpstr>IBM presentation template</vt:lpstr>
      <vt:lpstr>5_IBM presentation template</vt:lpstr>
      <vt:lpstr>think-cell Slide</vt:lpstr>
      <vt:lpstr>Transforming  IBM HR      </vt:lpstr>
      <vt:lpstr>$2.2B delivered in productivity with Automation &amp; AI</vt:lpstr>
      <vt:lpstr>Transformation Drivers</vt:lpstr>
      <vt:lpstr>Transformation is no longer episodic  Pragmatic and continuous improvement efforts are the catalyst for big transformational changes </vt:lpstr>
      <vt:lpstr>Technology as an enabler: The Persona Experience</vt:lpstr>
      <vt:lpstr>First Chatbot Launch Cost reduction and efficiency</vt:lpstr>
      <vt:lpstr>PowerPoint Presentation</vt:lpstr>
      <vt:lpstr>IBM AskHR An HR digital assistant driving a seamless experience for employees and empowering HR professionals to focus on higher value tasks </vt:lpstr>
      <vt:lpstr>watsonx Orchestrate: AI for HR</vt:lpstr>
      <vt:lpstr>PowerPoint Presentation</vt:lpstr>
      <vt:lpstr>PowerPoint Presentation</vt:lpstr>
      <vt:lpstr>AskHR</vt:lpstr>
      <vt:lpstr>PowerPoint Presentation</vt:lpstr>
      <vt:lpstr>Also at work in IBM HR:  Digital Labor</vt:lpstr>
      <vt:lpstr>PowerPoint Presentation</vt:lpstr>
      <vt:lpstr>PowerPoint Presentation</vt:lpstr>
      <vt:lpstr>Talent Acquisition Digital Labor</vt:lpstr>
      <vt:lpstr>PowerPoint Presentation</vt:lpstr>
      <vt:lpstr>Assessing  Gen AI  Readiness</vt:lpstr>
      <vt:lpstr>PowerPoint Presentation</vt:lpstr>
      <vt:lpstr>LLM Functionality in AskHR AI Assistant </vt:lpstr>
      <vt:lpstr>AI Ethics</vt:lpstr>
      <vt:lpstr>watsonx Orchestrate’s Assistant for HR</vt:lpstr>
      <vt:lpstr>Taxonomy for domain specific Assistants</vt:lpstr>
      <vt:lpstr>PowerPoint Presentation</vt:lpstr>
      <vt:lpstr>PowerPoint Presentation</vt:lpstr>
      <vt:lpstr>PowerPoint Presentation</vt:lpstr>
      <vt:lpstr>Pre-built skills continue to grow</vt:lpstr>
      <vt:lpstr>Going beyond skills and introducing skill flow templates</vt:lpstr>
      <vt:lpstr>Lendyr AskHR Demo</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teve Moss</dc:creator>
  <cp:lastModifiedBy>Steve Moss</cp:lastModifiedBy>
  <cp:revision>2</cp:revision>
  <dcterms:created xsi:type="dcterms:W3CDTF">2024-09-06T02:53:16Z</dcterms:created>
  <dcterms:modified xsi:type="dcterms:W3CDTF">2024-09-08T02:18:49Z</dcterms:modified>
</cp:coreProperties>
</file>